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x-e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32"/>
  </p:notesMasterIdLst>
  <p:handoutMasterIdLst>
    <p:handoutMasterId r:id="rId33"/>
  </p:handoutMasterIdLst>
  <p:sldIdLst>
    <p:sldId id="815" r:id="rId5"/>
    <p:sldId id="853" r:id="rId6"/>
    <p:sldId id="822" r:id="rId7"/>
    <p:sldId id="823" r:id="rId8"/>
    <p:sldId id="824" r:id="rId9"/>
    <p:sldId id="833" r:id="rId10"/>
    <p:sldId id="834" r:id="rId11"/>
    <p:sldId id="835" r:id="rId12"/>
    <p:sldId id="825" r:id="rId13"/>
    <p:sldId id="836" r:id="rId14"/>
    <p:sldId id="464" r:id="rId15"/>
    <p:sldId id="840" r:id="rId16"/>
    <p:sldId id="832" r:id="rId17"/>
    <p:sldId id="837" r:id="rId18"/>
    <p:sldId id="838" r:id="rId19"/>
    <p:sldId id="827" r:id="rId20"/>
    <p:sldId id="830" r:id="rId21"/>
    <p:sldId id="831" r:id="rId22"/>
    <p:sldId id="841" r:id="rId23"/>
    <p:sldId id="845" r:id="rId24"/>
    <p:sldId id="851" r:id="rId25"/>
    <p:sldId id="628" r:id="rId26"/>
    <p:sldId id="2147375009" r:id="rId27"/>
    <p:sldId id="2147375011" r:id="rId28"/>
    <p:sldId id="852" r:id="rId29"/>
    <p:sldId id="2147375002" r:id="rId30"/>
    <p:sldId id="2147374924" r:id="rId31"/>
  </p:sldIdLst>
  <p:sldSz cx="12192000" cy="6858000"/>
  <p:notesSz cx="6858000" cy="9875838"/>
  <p:custDataLst>
    <p:tags r:id="rId34"/>
  </p:custDataLst>
  <p:defaultTextStyle>
    <a:defPPr>
      <a:defRPr lang="de-DE"/>
    </a:defPPr>
    <a:lvl1pPr marL="0" marR="0" indent="0" algn="l" defTabSz="1038977" rtl="0" eaLnBrk="1" fontAlgn="base" latinLnBrk="0" hangingPunct="1">
      <a:lnSpc>
        <a:spcPct val="100000"/>
      </a:lnSpc>
      <a:spcBef>
        <a:spcPts val="409"/>
      </a:spcBef>
      <a:spcAft>
        <a:spcPts val="409"/>
      </a:spcAft>
      <a:buClr>
        <a:schemeClr val="tx2"/>
      </a:buClr>
      <a:buSzTx/>
      <a:buFont typeface="Wingdings" panose="05000000000000000000" pitchFamily="2" charset="2"/>
      <a:buNone/>
      <a:tabLst>
        <a:tab pos="203827" algn="l"/>
      </a:tabLst>
      <a:defRPr sz="1333" baseline="0">
        <a:solidFill>
          <a:schemeClr val="tx1"/>
        </a:solidFill>
        <a:latin typeface="Arial" panose="020B0604020202020204" pitchFamily="34" charset="0"/>
        <a:ea typeface="+mn-ea"/>
        <a:cs typeface="+mn-cs"/>
      </a:defRPr>
    </a:lvl1pPr>
    <a:lvl2pPr marL="194808" marR="0" indent="-194808" algn="l" defTabSz="1038977" rtl="0" eaLnBrk="1" fontAlgn="base" latinLnBrk="0" hangingPunct="1">
      <a:lnSpc>
        <a:spcPct val="100000"/>
      </a:lnSpc>
      <a:spcBef>
        <a:spcPts val="409"/>
      </a:spcBef>
      <a:spcAft>
        <a:spcPts val="409"/>
      </a:spcAft>
      <a:buClr>
        <a:schemeClr val="tx2"/>
      </a:buClr>
      <a:buSzTx/>
      <a:buFont typeface="Wingdings" panose="05000000000000000000" pitchFamily="2" charset="2"/>
      <a:buChar char="§"/>
      <a:tabLst>
        <a:tab pos="203827" algn="l"/>
      </a:tabLst>
      <a:defRPr sz="1333" baseline="0">
        <a:solidFill>
          <a:schemeClr val="tx1"/>
        </a:solidFill>
        <a:latin typeface="Arial" panose="020B0604020202020204" pitchFamily="34" charset="0"/>
        <a:ea typeface="+mn-ea"/>
        <a:cs typeface="+mn-cs"/>
      </a:defRPr>
    </a:lvl2pPr>
    <a:lvl3pPr marL="404046" indent="-194808" algn="l" rtl="0" eaLnBrk="1" fontAlgn="base" hangingPunct="1">
      <a:lnSpc>
        <a:spcPct val="100000"/>
      </a:lnSpc>
      <a:spcBef>
        <a:spcPts val="409"/>
      </a:spcBef>
      <a:spcAft>
        <a:spcPts val="409"/>
      </a:spcAft>
      <a:buClr>
        <a:schemeClr val="tx2"/>
      </a:buClr>
      <a:buFont typeface="Arial" panose="020B0604020202020204" pitchFamily="34" charset="0"/>
      <a:buChar char="-"/>
      <a:tabLst>
        <a:tab pos="207435" algn="l"/>
      </a:tabLst>
      <a:defRPr sz="1333" baseline="0">
        <a:solidFill>
          <a:schemeClr val="tx1"/>
        </a:solidFill>
        <a:latin typeface="Arial" panose="020B0604020202020204" pitchFamily="34" charset="0"/>
      </a:defRPr>
    </a:lvl3pPr>
    <a:lvl4pPr marL="604265" indent="-194808" algn="l" rtl="0" eaLnBrk="1" fontAlgn="base" hangingPunct="1">
      <a:lnSpc>
        <a:spcPct val="100000"/>
      </a:lnSpc>
      <a:spcBef>
        <a:spcPts val="409"/>
      </a:spcBef>
      <a:spcAft>
        <a:spcPts val="409"/>
      </a:spcAft>
      <a:buClr>
        <a:schemeClr val="tx2"/>
      </a:buClr>
      <a:buFont typeface="Arial" panose="020B0604020202020204" pitchFamily="34" charset="0"/>
      <a:buChar char="-"/>
      <a:tabLst>
        <a:tab pos="207435" algn="l"/>
      </a:tabLst>
      <a:defRPr sz="1333" baseline="0">
        <a:solidFill>
          <a:schemeClr val="tx1"/>
        </a:solidFill>
        <a:latin typeface="Arial" panose="020B0604020202020204" pitchFamily="34" charset="0"/>
      </a:defRPr>
    </a:lvl4pPr>
    <a:lvl5pPr marL="808093" indent="-194808" algn="l" rtl="0" eaLnBrk="1" fontAlgn="base" hangingPunct="1">
      <a:lnSpc>
        <a:spcPct val="100000"/>
      </a:lnSpc>
      <a:spcBef>
        <a:spcPts val="409"/>
      </a:spcBef>
      <a:spcAft>
        <a:spcPts val="409"/>
      </a:spcAft>
      <a:buClr>
        <a:schemeClr val="tx2"/>
      </a:buClr>
      <a:buFont typeface="Arial" panose="020B0604020202020204" pitchFamily="34" charset="0"/>
      <a:buChar char="-"/>
      <a:tabLst>
        <a:tab pos="207435" algn="l"/>
      </a:tabLst>
      <a:defRPr sz="1333" baseline="0">
        <a:solidFill>
          <a:schemeClr val="tx1"/>
        </a:solidFill>
        <a:latin typeface="Arial" panose="020B0604020202020204" pitchFamily="34" charset="0"/>
      </a:defRPr>
    </a:lvl5pPr>
    <a:lvl6pPr marL="1022742" indent="-203827" algn="l" rtl="0" eaLnBrk="1" fontAlgn="base" hangingPunct="1">
      <a:lnSpc>
        <a:spcPct val="100000"/>
      </a:lnSpc>
      <a:spcBef>
        <a:spcPts val="409"/>
      </a:spcBef>
      <a:spcAft>
        <a:spcPts val="409"/>
      </a:spcAft>
      <a:buClr>
        <a:schemeClr val="tx2"/>
      </a:buClr>
      <a:buFont typeface="Arial" panose="020B0604020202020204" pitchFamily="34" charset="0"/>
      <a:buChar char="-"/>
      <a:tabLst>
        <a:tab pos="207435" algn="l"/>
      </a:tabLst>
      <a:defRPr sz="1333" baseline="0">
        <a:solidFill>
          <a:schemeClr val="tx1"/>
        </a:solidFill>
        <a:latin typeface="Arial" panose="020B0604020202020204" pitchFamily="34" charset="0"/>
      </a:defRPr>
    </a:lvl6pPr>
    <a:lvl7pPr marL="1289702"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7pPr>
    <a:lvl8pPr marL="1809191"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8pPr>
    <a:lvl9pPr marL="2328678"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9pPr>
  </p:defaultTextStyle>
  <p:extLst>
    <p:ext uri="{EFAFB233-063F-42B5-8137-9DF3F51BA10A}">
      <p15:sldGuideLst xmlns:p15="http://schemas.microsoft.com/office/powerpoint/2012/main">
        <p15:guide id="1" pos="246" userDrawn="1">
          <p15:clr>
            <a:srgbClr val="A4A3A4"/>
          </p15:clr>
        </p15:guide>
        <p15:guide id="2" orient="horz" pos="396" userDrawn="1">
          <p15:clr>
            <a:srgbClr val="A4A3A4"/>
          </p15:clr>
        </p15:guide>
        <p15:guide id="3" pos="7417" userDrawn="1">
          <p15:clr>
            <a:srgbClr val="A4A3A4"/>
          </p15:clr>
        </p15:guide>
        <p15:guide id="4" orient="horz" pos="1004" userDrawn="1">
          <p15:clr>
            <a:srgbClr val="A4A3A4"/>
          </p15:clr>
        </p15:guide>
        <p15:guide id="6" orient="horz" pos="3888" userDrawn="1">
          <p15:clr>
            <a:srgbClr val="A4A3A4"/>
          </p15:clr>
        </p15:guide>
        <p15:guide id="7" orient="horz" pos="1490" userDrawn="1">
          <p15:clr>
            <a:srgbClr val="A4A3A4"/>
          </p15:clr>
        </p15:guide>
        <p15:guide id="8" orient="horz" pos="2160" userDrawn="1">
          <p15:clr>
            <a:srgbClr val="A4A3A4"/>
          </p15:clr>
        </p15:guide>
        <p15:guide id="9" pos="3840" userDrawn="1">
          <p15:clr>
            <a:srgbClr val="A4A3A4"/>
          </p15:clr>
        </p15:guide>
      </p15:sldGuideLst>
    </p:ext>
    <p:ext uri="{2D200454-40CA-4A62-9FC3-DE9A4176ACB9}">
      <p15:notesGuideLst xmlns:p15="http://schemas.microsoft.com/office/powerpoint/2012/main">
        <p15:guide id="1" orient="horz" pos="3111"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703BB2-826F-C23E-4F3C-EDEAD6164904}" name="Okoli, Christina (AllianzGI - External)" initials="OC(E" userId="S::Ext.Christina.Okoli@allianzgi.com::7621d984-9a54-473d-8090-b2b563c0f64a" providerId="AD"/>
  <p188:author id="{2EB51CCE-E9C5-0D21-53C9-49E840BD2A56}" name="Siepmann, Michael (AllianzGI)" initials="SM(" userId="S::Michael.Siepmann@allianzgi.com::e0dca319-4258-49cc-9de7-6eb8cb71160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nja Metzger" initials="AM" lastIdx="2" clrIdx="0">
    <p:extLst>
      <p:ext uri="{19B8F6BF-5375-455C-9EA6-DF929625EA0E}">
        <p15:presenceInfo xmlns:p15="http://schemas.microsoft.com/office/powerpoint/2012/main" userId="d3c3dd0b633afeb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A0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F1C513-6B68-6F4B-46F6-483468E27596}">
  <a:tblStyle styleId="{69F1C513-6B68-6F4B-46F6-483468E27596}" styleName="AllianzGI Table">
    <a:wholeTbl>
      <a:tcTxStyle>
        <a:fontRef idx="minor">
          <a:scrgbClr r="0" g="0" b="0"/>
        </a:fontRef>
        <a:schemeClr val="dk2"/>
      </a:tcTxStyle>
      <a:tcStyle>
        <a:tcBdr>
          <a:left>
            <a:ln>
              <a:noFill/>
            </a:ln>
          </a:left>
          <a:right>
            <a:ln>
              <a:noFill/>
            </a:ln>
          </a:right>
          <a:top>
            <a:ln w="12700" cmpd="sng">
              <a:solidFill>
                <a:srgbClr val="122B54"/>
              </a:solidFill>
            </a:ln>
          </a:top>
          <a:bottom>
            <a:ln w="12700" cmpd="sng">
              <a:solidFill>
                <a:srgbClr val="122B54"/>
              </a:solidFill>
            </a:ln>
          </a:bottom>
          <a:insideH>
            <a:ln>
              <a:noFill/>
            </a:ln>
          </a:insideH>
          <a:insideV>
            <a:ln>
              <a:noFill/>
            </a:ln>
          </a:insideV>
        </a:tcBdr>
        <a:fill>
          <a:noFill/>
        </a:fill>
      </a:tcStyle>
    </a:wholeTbl>
    <a:band1H>
      <a:tcStyle>
        <a:tcBdr/>
        <a:fill>
          <a:solidFill>
            <a:srgbClr val="DFEFF2"/>
          </a:solidFill>
        </a:fill>
      </a:tcStyle>
    </a:band1H>
    <a:band2H>
      <a:tcStyle>
        <a:tcBdr/>
      </a:tcStyle>
    </a:band2H>
    <a:band1V>
      <a:tcStyle>
        <a:tcBdr/>
        <a:fill>
          <a:solidFill>
            <a:srgbClr val="DFEFF2"/>
          </a:solidFill>
        </a:fill>
      </a:tcStyle>
    </a:band1V>
    <a:lastCol>
      <a:tcTxStyle b="on"/>
      <a:tcStyle>
        <a:tcBdr/>
      </a:tcStyle>
    </a:lastCol>
    <a:firstCol>
      <a:tcTxStyle b="on"/>
      <a:tcStyle>
        <a:tcBdr/>
      </a:tcStyle>
    </a:firstCol>
    <a:lastRow>
      <a:tcTxStyle b="on"/>
      <a:tcStyle>
        <a:tcBdr>
          <a:top>
            <a:ln w="12700" cmpd="sng">
              <a:solidFill>
                <a:srgbClr val="122B54"/>
              </a:solidFill>
            </a:ln>
          </a:top>
        </a:tcBdr>
        <a:fill>
          <a:noFill/>
        </a:fill>
      </a:tcStyle>
    </a:lastRow>
    <a:firstRow>
      <a:tcTxStyle b="on"/>
      <a:tcStyle>
        <a:tcBdr>
          <a:bottom>
            <a:ln w="12700" cmpd="sng">
              <a:solidFill>
                <a:srgbClr val="122B54"/>
              </a:solidFill>
            </a:ln>
          </a:bottom>
        </a:tcBdr>
        <a:fill>
          <a:noFill/>
        </a:fill>
      </a:tcStyle>
    </a:firstRow>
  </a:tblStyle>
  <a:tblStyle styleId="{C3C2A5F6-27B5-FBE2-D6F4-1C13041A20FC}" styleName="AllianzGI Table alternative">
    <a:wholeTbl>
      <a:tcTxStyle>
        <a:fontRef idx="minor">
          <a:scrgbClr r="0" g="0" b="0"/>
        </a:fontRef>
        <a:schemeClr val="dk2"/>
      </a:tcTxStyle>
      <a:tcStyle>
        <a:tcBdr>
          <a:left>
            <a:ln>
              <a:noFill/>
            </a:ln>
          </a:left>
          <a:right>
            <a:ln>
              <a:noFill/>
            </a:ln>
          </a:right>
          <a:top>
            <a:ln w="12700" cmpd="sng">
              <a:solidFill>
                <a:srgbClr val="122B54"/>
              </a:solidFill>
            </a:ln>
          </a:top>
          <a:bottom>
            <a:ln w="12700" cmpd="sng">
              <a:solidFill>
                <a:srgbClr val="122B54"/>
              </a:solidFill>
            </a:ln>
          </a:bottom>
          <a:insideH>
            <a:ln w="6350" cmpd="sng">
              <a:solidFill>
                <a:srgbClr val="122B54"/>
              </a:solidFill>
            </a:ln>
          </a:insideH>
          <a:insideV>
            <a:ln>
              <a:noFill/>
            </a:ln>
          </a:insideV>
        </a:tcBdr>
        <a:fill>
          <a:noFill/>
        </a:fill>
      </a:tcStyle>
    </a:wholeTbl>
    <a:band1H>
      <a:tcStyle>
        <a:tcBdr/>
        <a:fill>
          <a:noFill/>
        </a:fill>
      </a:tcStyle>
    </a:band1H>
    <a:band1V>
      <a:tcStyle>
        <a:tcBdr/>
        <a:fill>
          <a:noFill/>
        </a:fill>
      </a:tcStyle>
    </a:band1V>
    <a:lastCol>
      <a:tcTxStyle b="on"/>
      <a:tcStyle>
        <a:tcBdr/>
      </a:tcStyle>
    </a:lastCol>
    <a:firstCol>
      <a:tcTxStyle b="on"/>
      <a:tcStyle>
        <a:tcBdr/>
      </a:tcStyle>
    </a:firstCol>
    <a:lastRow>
      <a:tcTxStyle b="on">
        <a:fontRef idx="minor">
          <a:scrgbClr r="0" g="0" b="0"/>
        </a:fontRef>
        <a:schemeClr val="dk2"/>
      </a:tcTxStyle>
      <a:tcStyle>
        <a:tcBdr>
          <a:top>
            <a:ln w="12700" cmpd="sng">
              <a:solidFill>
                <a:srgbClr val="122B54"/>
              </a:solidFill>
            </a:ln>
          </a:top>
        </a:tcBdr>
        <a:fill>
          <a:noFill/>
        </a:fill>
      </a:tcStyle>
    </a:lastRow>
    <a:firstRow>
      <a:tcTxStyle b="on">
        <a:fontRef idx="minor">
          <a:scrgbClr r="0" g="0" b="0"/>
        </a:fontRef>
        <a:schemeClr val="dk2"/>
      </a:tcTxStyle>
      <a:tcStyle>
        <a:tcBdr>
          <a:bottom>
            <a:ln w="12700" cmpd="sng">
              <a:solidFill>
                <a:srgbClr val="122B54"/>
              </a:solidFill>
            </a:ln>
          </a:bottom>
        </a:tcBdr>
        <a:fill>
          <a:noFill/>
        </a:fill>
      </a:tcStyle>
    </a:firstRow>
  </a:tblStyle>
  <a:tblStyle styleId="{C083E6E3-FA7D-4D7B-A595-EF9225AFEA82}" styleName="Styl jasny 1 — Ak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19" autoAdjust="0"/>
    <p:restoredTop sz="93792" autoAdjust="0"/>
  </p:normalViewPr>
  <p:slideViewPr>
    <p:cSldViewPr snapToGrid="0" snapToObjects="1">
      <p:cViewPr varScale="1">
        <p:scale>
          <a:sx n="67" d="100"/>
          <a:sy n="67" d="100"/>
        </p:scale>
        <p:origin x="684" y="44"/>
      </p:cViewPr>
      <p:guideLst>
        <p:guide pos="246"/>
        <p:guide orient="horz" pos="396"/>
        <p:guide pos="7417"/>
        <p:guide orient="horz" pos="1004"/>
        <p:guide orient="horz" pos="3888"/>
        <p:guide orient="horz" pos="1490"/>
        <p:guide orient="horz" pos="2160"/>
        <p:guide pos="3840"/>
      </p:guideLst>
    </p:cSldViewPr>
  </p:slideViewPr>
  <p:outlineViewPr>
    <p:cViewPr>
      <p:scale>
        <a:sx n="33" d="100"/>
        <a:sy n="33" d="100"/>
      </p:scale>
      <p:origin x="0" y="-21072"/>
    </p:cViewPr>
    <p:sldLst>
      <p:sld r:id="rId1" collapse="1"/>
      <p:sld r:id="rId2" collapse="1"/>
      <p:sld r:id="rId3" collapse="1"/>
      <p:sld r:id="rId4" collapse="1"/>
    </p:sldLst>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4092" y="54"/>
      </p:cViewPr>
      <p:guideLst>
        <p:guide orient="horz" pos="3111"/>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_rels/viewProps.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10.xml"/><Relationship Id="rId1" Type="http://schemas.openxmlformats.org/officeDocument/2006/relationships/slide" Target="slides/slide9.xml"/><Relationship Id="rId4" Type="http://schemas.openxmlformats.org/officeDocument/2006/relationships/slide" Target="slides/slide14.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mm_cluster\DIT_ResearchEuS\GCMTR\Publikationen\Multi%20Asset%20und%20Risikomanagement\MultiAssetBack\Drawdown%20Multi%20Asset.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mm_cluster\DIT_ResearchEuS\GCMTR\Publikationen\Multi%20Asset%20und%20Risikomanagement\MultiAssetBack\Drawdown%20Multi%20Asse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ndard"/>
        <c:varyColors val="0"/>
        <c:ser>
          <c:idx val="0"/>
          <c:order val="0"/>
          <c:tx>
            <c:strRef>
              <c:f>'Portfolio 70-30'!$D$1</c:f>
              <c:strCache>
                <c:ptCount val="1"/>
                <c:pt idx="0">
                  <c:v>Wypłata</c:v>
                </c:pt>
              </c:strCache>
            </c:strRef>
          </c:tx>
          <c:spPr>
            <a:solidFill>
              <a:srgbClr val="FF0000">
                <a:alpha val="43137"/>
              </a:srgbClr>
            </a:solidFill>
            <a:ln w="12700">
              <a:solidFill>
                <a:srgbClr val="C00000"/>
              </a:solidFill>
            </a:ln>
            <a:effectLst/>
          </c:spPr>
          <c:cat>
            <c:numRef>
              <c:f>'Portfolio 70-30'!$A$2:$A$5221</c:f>
              <c:numCache>
                <c:formatCode>m/d/yyyy</c:formatCode>
                <c:ptCount val="5220"/>
                <c:pt idx="0">
                  <c:v>38005</c:v>
                </c:pt>
                <c:pt idx="1">
                  <c:v>38006</c:v>
                </c:pt>
                <c:pt idx="2">
                  <c:v>38007</c:v>
                </c:pt>
                <c:pt idx="3">
                  <c:v>38008</c:v>
                </c:pt>
                <c:pt idx="4">
                  <c:v>38009</c:v>
                </c:pt>
                <c:pt idx="5">
                  <c:v>38012</c:v>
                </c:pt>
                <c:pt idx="6">
                  <c:v>38013</c:v>
                </c:pt>
                <c:pt idx="7">
                  <c:v>38014</c:v>
                </c:pt>
                <c:pt idx="8">
                  <c:v>38015</c:v>
                </c:pt>
                <c:pt idx="9">
                  <c:v>38016</c:v>
                </c:pt>
                <c:pt idx="10">
                  <c:v>38019</c:v>
                </c:pt>
                <c:pt idx="11">
                  <c:v>38020</c:v>
                </c:pt>
                <c:pt idx="12">
                  <c:v>38021</c:v>
                </c:pt>
                <c:pt idx="13">
                  <c:v>38022</c:v>
                </c:pt>
                <c:pt idx="14">
                  <c:v>38023</c:v>
                </c:pt>
                <c:pt idx="15">
                  <c:v>38026</c:v>
                </c:pt>
                <c:pt idx="16">
                  <c:v>38027</c:v>
                </c:pt>
                <c:pt idx="17">
                  <c:v>38028</c:v>
                </c:pt>
                <c:pt idx="18">
                  <c:v>38029</c:v>
                </c:pt>
                <c:pt idx="19">
                  <c:v>38030</c:v>
                </c:pt>
                <c:pt idx="20">
                  <c:v>38033</c:v>
                </c:pt>
                <c:pt idx="21">
                  <c:v>38034</c:v>
                </c:pt>
                <c:pt idx="22">
                  <c:v>38035</c:v>
                </c:pt>
                <c:pt idx="23">
                  <c:v>38036</c:v>
                </c:pt>
                <c:pt idx="24">
                  <c:v>38037</c:v>
                </c:pt>
                <c:pt idx="25">
                  <c:v>38040</c:v>
                </c:pt>
                <c:pt idx="26">
                  <c:v>38041</c:v>
                </c:pt>
                <c:pt idx="27">
                  <c:v>38042</c:v>
                </c:pt>
                <c:pt idx="28">
                  <c:v>38043</c:v>
                </c:pt>
                <c:pt idx="29">
                  <c:v>38044</c:v>
                </c:pt>
                <c:pt idx="30">
                  <c:v>38047</c:v>
                </c:pt>
                <c:pt idx="31">
                  <c:v>38048</c:v>
                </c:pt>
                <c:pt idx="32">
                  <c:v>38049</c:v>
                </c:pt>
                <c:pt idx="33">
                  <c:v>38050</c:v>
                </c:pt>
                <c:pt idx="34">
                  <c:v>38051</c:v>
                </c:pt>
                <c:pt idx="35">
                  <c:v>38054</c:v>
                </c:pt>
                <c:pt idx="36">
                  <c:v>38055</c:v>
                </c:pt>
                <c:pt idx="37">
                  <c:v>38056</c:v>
                </c:pt>
                <c:pt idx="38">
                  <c:v>38057</c:v>
                </c:pt>
                <c:pt idx="39">
                  <c:v>38058</c:v>
                </c:pt>
                <c:pt idx="40">
                  <c:v>38061</c:v>
                </c:pt>
                <c:pt idx="41">
                  <c:v>38062</c:v>
                </c:pt>
                <c:pt idx="42">
                  <c:v>38063</c:v>
                </c:pt>
                <c:pt idx="43">
                  <c:v>38064</c:v>
                </c:pt>
                <c:pt idx="44">
                  <c:v>38065</c:v>
                </c:pt>
                <c:pt idx="45">
                  <c:v>38068</c:v>
                </c:pt>
                <c:pt idx="46">
                  <c:v>38069</c:v>
                </c:pt>
                <c:pt idx="47">
                  <c:v>38070</c:v>
                </c:pt>
                <c:pt idx="48">
                  <c:v>38071</c:v>
                </c:pt>
                <c:pt idx="49">
                  <c:v>38072</c:v>
                </c:pt>
                <c:pt idx="50">
                  <c:v>38075</c:v>
                </c:pt>
                <c:pt idx="51">
                  <c:v>38076</c:v>
                </c:pt>
                <c:pt idx="52">
                  <c:v>38077</c:v>
                </c:pt>
                <c:pt idx="53">
                  <c:v>38078</c:v>
                </c:pt>
                <c:pt idx="54">
                  <c:v>38079</c:v>
                </c:pt>
                <c:pt idx="55">
                  <c:v>38082</c:v>
                </c:pt>
                <c:pt idx="56">
                  <c:v>38083</c:v>
                </c:pt>
                <c:pt idx="57">
                  <c:v>38084</c:v>
                </c:pt>
                <c:pt idx="58">
                  <c:v>38085</c:v>
                </c:pt>
                <c:pt idx="59">
                  <c:v>38086</c:v>
                </c:pt>
                <c:pt idx="60">
                  <c:v>38089</c:v>
                </c:pt>
                <c:pt idx="61">
                  <c:v>38090</c:v>
                </c:pt>
                <c:pt idx="62">
                  <c:v>38091</c:v>
                </c:pt>
                <c:pt idx="63">
                  <c:v>38092</c:v>
                </c:pt>
                <c:pt idx="64">
                  <c:v>38093</c:v>
                </c:pt>
                <c:pt idx="65">
                  <c:v>38096</c:v>
                </c:pt>
                <c:pt idx="66">
                  <c:v>38097</c:v>
                </c:pt>
                <c:pt idx="67">
                  <c:v>38098</c:v>
                </c:pt>
                <c:pt idx="68">
                  <c:v>38099</c:v>
                </c:pt>
                <c:pt idx="69">
                  <c:v>38100</c:v>
                </c:pt>
                <c:pt idx="70">
                  <c:v>38103</c:v>
                </c:pt>
                <c:pt idx="71">
                  <c:v>38104</c:v>
                </c:pt>
                <c:pt idx="72">
                  <c:v>38105</c:v>
                </c:pt>
                <c:pt idx="73">
                  <c:v>38106</c:v>
                </c:pt>
                <c:pt idx="74">
                  <c:v>38107</c:v>
                </c:pt>
                <c:pt idx="75">
                  <c:v>38110</c:v>
                </c:pt>
                <c:pt idx="76">
                  <c:v>38111</c:v>
                </c:pt>
                <c:pt idx="77">
                  <c:v>38112</c:v>
                </c:pt>
                <c:pt idx="78">
                  <c:v>38113</c:v>
                </c:pt>
                <c:pt idx="79">
                  <c:v>38114</c:v>
                </c:pt>
                <c:pt idx="80">
                  <c:v>38117</c:v>
                </c:pt>
                <c:pt idx="81">
                  <c:v>38118</c:v>
                </c:pt>
                <c:pt idx="82">
                  <c:v>38119</c:v>
                </c:pt>
                <c:pt idx="83">
                  <c:v>38120</c:v>
                </c:pt>
                <c:pt idx="84">
                  <c:v>38121</c:v>
                </c:pt>
                <c:pt idx="85">
                  <c:v>38124</c:v>
                </c:pt>
                <c:pt idx="86">
                  <c:v>38125</c:v>
                </c:pt>
                <c:pt idx="87">
                  <c:v>38126</c:v>
                </c:pt>
                <c:pt idx="88">
                  <c:v>38127</c:v>
                </c:pt>
                <c:pt idx="89">
                  <c:v>38128</c:v>
                </c:pt>
                <c:pt idx="90">
                  <c:v>38131</c:v>
                </c:pt>
                <c:pt idx="91">
                  <c:v>38132</c:v>
                </c:pt>
                <c:pt idx="92">
                  <c:v>38133</c:v>
                </c:pt>
                <c:pt idx="93">
                  <c:v>38134</c:v>
                </c:pt>
                <c:pt idx="94">
                  <c:v>38135</c:v>
                </c:pt>
                <c:pt idx="95">
                  <c:v>38138</c:v>
                </c:pt>
                <c:pt idx="96">
                  <c:v>38139</c:v>
                </c:pt>
                <c:pt idx="97">
                  <c:v>38140</c:v>
                </c:pt>
                <c:pt idx="98">
                  <c:v>38141</c:v>
                </c:pt>
                <c:pt idx="99">
                  <c:v>38142</c:v>
                </c:pt>
                <c:pt idx="100">
                  <c:v>38145</c:v>
                </c:pt>
                <c:pt idx="101">
                  <c:v>38146</c:v>
                </c:pt>
                <c:pt idx="102">
                  <c:v>38147</c:v>
                </c:pt>
                <c:pt idx="103">
                  <c:v>38148</c:v>
                </c:pt>
                <c:pt idx="104">
                  <c:v>38149</c:v>
                </c:pt>
                <c:pt idx="105">
                  <c:v>38152</c:v>
                </c:pt>
                <c:pt idx="106">
                  <c:v>38153</c:v>
                </c:pt>
                <c:pt idx="107">
                  <c:v>38154</c:v>
                </c:pt>
                <c:pt idx="108">
                  <c:v>38155</c:v>
                </c:pt>
                <c:pt idx="109">
                  <c:v>38156</c:v>
                </c:pt>
                <c:pt idx="110">
                  <c:v>38159</c:v>
                </c:pt>
                <c:pt idx="111">
                  <c:v>38160</c:v>
                </c:pt>
                <c:pt idx="112">
                  <c:v>38161</c:v>
                </c:pt>
                <c:pt idx="113">
                  <c:v>38162</c:v>
                </c:pt>
                <c:pt idx="114">
                  <c:v>38163</c:v>
                </c:pt>
                <c:pt idx="115">
                  <c:v>38166</c:v>
                </c:pt>
                <c:pt idx="116">
                  <c:v>38167</c:v>
                </c:pt>
                <c:pt idx="117">
                  <c:v>38168</c:v>
                </c:pt>
                <c:pt idx="118">
                  <c:v>38169</c:v>
                </c:pt>
                <c:pt idx="119">
                  <c:v>38170</c:v>
                </c:pt>
                <c:pt idx="120">
                  <c:v>38173</c:v>
                </c:pt>
                <c:pt idx="121">
                  <c:v>38174</c:v>
                </c:pt>
                <c:pt idx="122">
                  <c:v>38175</c:v>
                </c:pt>
                <c:pt idx="123">
                  <c:v>38176</c:v>
                </c:pt>
                <c:pt idx="124">
                  <c:v>38177</c:v>
                </c:pt>
                <c:pt idx="125">
                  <c:v>38180</c:v>
                </c:pt>
                <c:pt idx="126">
                  <c:v>38181</c:v>
                </c:pt>
                <c:pt idx="127">
                  <c:v>38182</c:v>
                </c:pt>
                <c:pt idx="128">
                  <c:v>38183</c:v>
                </c:pt>
                <c:pt idx="129">
                  <c:v>38184</c:v>
                </c:pt>
                <c:pt idx="130">
                  <c:v>38187</c:v>
                </c:pt>
                <c:pt idx="131">
                  <c:v>38188</c:v>
                </c:pt>
                <c:pt idx="132">
                  <c:v>38189</c:v>
                </c:pt>
                <c:pt idx="133">
                  <c:v>38190</c:v>
                </c:pt>
                <c:pt idx="134">
                  <c:v>38191</c:v>
                </c:pt>
                <c:pt idx="135">
                  <c:v>38194</c:v>
                </c:pt>
                <c:pt idx="136">
                  <c:v>38195</c:v>
                </c:pt>
                <c:pt idx="137">
                  <c:v>38196</c:v>
                </c:pt>
                <c:pt idx="138">
                  <c:v>38197</c:v>
                </c:pt>
                <c:pt idx="139">
                  <c:v>38198</c:v>
                </c:pt>
                <c:pt idx="140">
                  <c:v>38201</c:v>
                </c:pt>
                <c:pt idx="141">
                  <c:v>38202</c:v>
                </c:pt>
                <c:pt idx="142">
                  <c:v>38203</c:v>
                </c:pt>
                <c:pt idx="143">
                  <c:v>38204</c:v>
                </c:pt>
                <c:pt idx="144">
                  <c:v>38205</c:v>
                </c:pt>
                <c:pt idx="145">
                  <c:v>38208</c:v>
                </c:pt>
                <c:pt idx="146">
                  <c:v>38209</c:v>
                </c:pt>
                <c:pt idx="147">
                  <c:v>38210</c:v>
                </c:pt>
                <c:pt idx="148">
                  <c:v>38211</c:v>
                </c:pt>
                <c:pt idx="149">
                  <c:v>38212</c:v>
                </c:pt>
                <c:pt idx="150">
                  <c:v>38215</c:v>
                </c:pt>
                <c:pt idx="151">
                  <c:v>38216</c:v>
                </c:pt>
                <c:pt idx="152">
                  <c:v>38217</c:v>
                </c:pt>
                <c:pt idx="153">
                  <c:v>38218</c:v>
                </c:pt>
                <c:pt idx="154">
                  <c:v>38219</c:v>
                </c:pt>
                <c:pt idx="155">
                  <c:v>38222</c:v>
                </c:pt>
                <c:pt idx="156">
                  <c:v>38223</c:v>
                </c:pt>
                <c:pt idx="157">
                  <c:v>38224</c:v>
                </c:pt>
                <c:pt idx="158">
                  <c:v>38225</c:v>
                </c:pt>
                <c:pt idx="159">
                  <c:v>38226</c:v>
                </c:pt>
                <c:pt idx="160">
                  <c:v>38229</c:v>
                </c:pt>
                <c:pt idx="161">
                  <c:v>38230</c:v>
                </c:pt>
                <c:pt idx="162">
                  <c:v>38231</c:v>
                </c:pt>
                <c:pt idx="163">
                  <c:v>38232</c:v>
                </c:pt>
                <c:pt idx="164">
                  <c:v>38233</c:v>
                </c:pt>
                <c:pt idx="165">
                  <c:v>38236</c:v>
                </c:pt>
                <c:pt idx="166">
                  <c:v>38237</c:v>
                </c:pt>
                <c:pt idx="167">
                  <c:v>38238</c:v>
                </c:pt>
                <c:pt idx="168">
                  <c:v>38239</c:v>
                </c:pt>
                <c:pt idx="169">
                  <c:v>38240</c:v>
                </c:pt>
                <c:pt idx="170">
                  <c:v>38243</c:v>
                </c:pt>
                <c:pt idx="171">
                  <c:v>38244</c:v>
                </c:pt>
                <c:pt idx="172">
                  <c:v>38245</c:v>
                </c:pt>
                <c:pt idx="173">
                  <c:v>38246</c:v>
                </c:pt>
                <c:pt idx="174">
                  <c:v>38247</c:v>
                </c:pt>
                <c:pt idx="175">
                  <c:v>38250</c:v>
                </c:pt>
                <c:pt idx="176">
                  <c:v>38251</c:v>
                </c:pt>
                <c:pt idx="177">
                  <c:v>38252</c:v>
                </c:pt>
                <c:pt idx="178">
                  <c:v>38253</c:v>
                </c:pt>
                <c:pt idx="179">
                  <c:v>38254</c:v>
                </c:pt>
                <c:pt idx="180">
                  <c:v>38257</c:v>
                </c:pt>
                <c:pt idx="181">
                  <c:v>38258</c:v>
                </c:pt>
                <c:pt idx="182">
                  <c:v>38259</c:v>
                </c:pt>
                <c:pt idx="183">
                  <c:v>38260</c:v>
                </c:pt>
                <c:pt idx="184">
                  <c:v>38261</c:v>
                </c:pt>
                <c:pt idx="185">
                  <c:v>38264</c:v>
                </c:pt>
                <c:pt idx="186">
                  <c:v>38265</c:v>
                </c:pt>
                <c:pt idx="187">
                  <c:v>38266</c:v>
                </c:pt>
                <c:pt idx="188">
                  <c:v>38267</c:v>
                </c:pt>
                <c:pt idx="189">
                  <c:v>38268</c:v>
                </c:pt>
                <c:pt idx="190">
                  <c:v>38271</c:v>
                </c:pt>
                <c:pt idx="191">
                  <c:v>38272</c:v>
                </c:pt>
                <c:pt idx="192">
                  <c:v>38273</c:v>
                </c:pt>
                <c:pt idx="193">
                  <c:v>38274</c:v>
                </c:pt>
                <c:pt idx="194">
                  <c:v>38275</c:v>
                </c:pt>
                <c:pt idx="195">
                  <c:v>38278</c:v>
                </c:pt>
                <c:pt idx="196">
                  <c:v>38279</c:v>
                </c:pt>
                <c:pt idx="197">
                  <c:v>38280</c:v>
                </c:pt>
                <c:pt idx="198">
                  <c:v>38281</c:v>
                </c:pt>
                <c:pt idx="199">
                  <c:v>38282</c:v>
                </c:pt>
                <c:pt idx="200">
                  <c:v>38285</c:v>
                </c:pt>
                <c:pt idx="201">
                  <c:v>38286</c:v>
                </c:pt>
                <c:pt idx="202">
                  <c:v>38287</c:v>
                </c:pt>
                <c:pt idx="203">
                  <c:v>38288</c:v>
                </c:pt>
                <c:pt idx="204">
                  <c:v>38289</c:v>
                </c:pt>
                <c:pt idx="205">
                  <c:v>38292</c:v>
                </c:pt>
                <c:pt idx="206">
                  <c:v>38293</c:v>
                </c:pt>
                <c:pt idx="207">
                  <c:v>38294</c:v>
                </c:pt>
                <c:pt idx="208">
                  <c:v>38295</c:v>
                </c:pt>
                <c:pt idx="209">
                  <c:v>38296</c:v>
                </c:pt>
                <c:pt idx="210">
                  <c:v>38299</c:v>
                </c:pt>
                <c:pt idx="211">
                  <c:v>38300</c:v>
                </c:pt>
                <c:pt idx="212">
                  <c:v>38301</c:v>
                </c:pt>
                <c:pt idx="213">
                  <c:v>38302</c:v>
                </c:pt>
                <c:pt idx="214">
                  <c:v>38303</c:v>
                </c:pt>
                <c:pt idx="215">
                  <c:v>38306</c:v>
                </c:pt>
                <c:pt idx="216">
                  <c:v>38307</c:v>
                </c:pt>
                <c:pt idx="217">
                  <c:v>38308</c:v>
                </c:pt>
                <c:pt idx="218">
                  <c:v>38309</c:v>
                </c:pt>
                <c:pt idx="219">
                  <c:v>38310</c:v>
                </c:pt>
                <c:pt idx="220">
                  <c:v>38313</c:v>
                </c:pt>
                <c:pt idx="221">
                  <c:v>38314</c:v>
                </c:pt>
                <c:pt idx="222">
                  <c:v>38315</c:v>
                </c:pt>
                <c:pt idx="223">
                  <c:v>38316</c:v>
                </c:pt>
                <c:pt idx="224">
                  <c:v>38317</c:v>
                </c:pt>
                <c:pt idx="225">
                  <c:v>38320</c:v>
                </c:pt>
                <c:pt idx="226">
                  <c:v>38321</c:v>
                </c:pt>
                <c:pt idx="227">
                  <c:v>38322</c:v>
                </c:pt>
                <c:pt idx="228">
                  <c:v>38323</c:v>
                </c:pt>
                <c:pt idx="229">
                  <c:v>38324</c:v>
                </c:pt>
                <c:pt idx="230">
                  <c:v>38327</c:v>
                </c:pt>
                <c:pt idx="231">
                  <c:v>38328</c:v>
                </c:pt>
                <c:pt idx="232">
                  <c:v>38329</c:v>
                </c:pt>
                <c:pt idx="233">
                  <c:v>38330</c:v>
                </c:pt>
                <c:pt idx="234">
                  <c:v>38331</c:v>
                </c:pt>
                <c:pt idx="235">
                  <c:v>38334</c:v>
                </c:pt>
                <c:pt idx="236">
                  <c:v>38335</c:v>
                </c:pt>
                <c:pt idx="237">
                  <c:v>38336</c:v>
                </c:pt>
                <c:pt idx="238">
                  <c:v>38337</c:v>
                </c:pt>
                <c:pt idx="239">
                  <c:v>38338</c:v>
                </c:pt>
                <c:pt idx="240">
                  <c:v>38341</c:v>
                </c:pt>
                <c:pt idx="241">
                  <c:v>38342</c:v>
                </c:pt>
                <c:pt idx="242">
                  <c:v>38343</c:v>
                </c:pt>
                <c:pt idx="243">
                  <c:v>38344</c:v>
                </c:pt>
                <c:pt idx="244">
                  <c:v>38345</c:v>
                </c:pt>
                <c:pt idx="245">
                  <c:v>38348</c:v>
                </c:pt>
                <c:pt idx="246">
                  <c:v>38349</c:v>
                </c:pt>
                <c:pt idx="247">
                  <c:v>38350</c:v>
                </c:pt>
                <c:pt idx="248">
                  <c:v>38351</c:v>
                </c:pt>
                <c:pt idx="249">
                  <c:v>38352</c:v>
                </c:pt>
                <c:pt idx="250">
                  <c:v>38355</c:v>
                </c:pt>
                <c:pt idx="251">
                  <c:v>38356</c:v>
                </c:pt>
                <c:pt idx="252">
                  <c:v>38357</c:v>
                </c:pt>
                <c:pt idx="253">
                  <c:v>38358</c:v>
                </c:pt>
                <c:pt idx="254">
                  <c:v>38359</c:v>
                </c:pt>
                <c:pt idx="255">
                  <c:v>38362</c:v>
                </c:pt>
                <c:pt idx="256">
                  <c:v>38363</c:v>
                </c:pt>
                <c:pt idx="257">
                  <c:v>38364</c:v>
                </c:pt>
                <c:pt idx="258">
                  <c:v>38365</c:v>
                </c:pt>
                <c:pt idx="259">
                  <c:v>38366</c:v>
                </c:pt>
                <c:pt idx="260">
                  <c:v>38369</c:v>
                </c:pt>
                <c:pt idx="261">
                  <c:v>38370</c:v>
                </c:pt>
                <c:pt idx="262">
                  <c:v>38371</c:v>
                </c:pt>
                <c:pt idx="263">
                  <c:v>38372</c:v>
                </c:pt>
                <c:pt idx="264">
                  <c:v>38373</c:v>
                </c:pt>
                <c:pt idx="265">
                  <c:v>38376</c:v>
                </c:pt>
                <c:pt idx="266">
                  <c:v>38377</c:v>
                </c:pt>
                <c:pt idx="267">
                  <c:v>38378</c:v>
                </c:pt>
                <c:pt idx="268">
                  <c:v>38379</c:v>
                </c:pt>
                <c:pt idx="269">
                  <c:v>38380</c:v>
                </c:pt>
                <c:pt idx="270">
                  <c:v>38383</c:v>
                </c:pt>
                <c:pt idx="271">
                  <c:v>38384</c:v>
                </c:pt>
                <c:pt idx="272">
                  <c:v>38385</c:v>
                </c:pt>
                <c:pt idx="273">
                  <c:v>38386</c:v>
                </c:pt>
                <c:pt idx="274">
                  <c:v>38387</c:v>
                </c:pt>
                <c:pt idx="275">
                  <c:v>38390</c:v>
                </c:pt>
                <c:pt idx="276">
                  <c:v>38391</c:v>
                </c:pt>
                <c:pt idx="277">
                  <c:v>38392</c:v>
                </c:pt>
                <c:pt idx="278">
                  <c:v>38393</c:v>
                </c:pt>
                <c:pt idx="279">
                  <c:v>38394</c:v>
                </c:pt>
                <c:pt idx="280">
                  <c:v>38397</c:v>
                </c:pt>
                <c:pt idx="281">
                  <c:v>38398</c:v>
                </c:pt>
                <c:pt idx="282">
                  <c:v>38399</c:v>
                </c:pt>
                <c:pt idx="283">
                  <c:v>38400</c:v>
                </c:pt>
                <c:pt idx="284">
                  <c:v>38401</c:v>
                </c:pt>
                <c:pt idx="285">
                  <c:v>38404</c:v>
                </c:pt>
                <c:pt idx="286">
                  <c:v>38405</c:v>
                </c:pt>
                <c:pt idx="287">
                  <c:v>38406</c:v>
                </c:pt>
                <c:pt idx="288">
                  <c:v>38407</c:v>
                </c:pt>
                <c:pt idx="289">
                  <c:v>38408</c:v>
                </c:pt>
                <c:pt idx="290">
                  <c:v>38411</c:v>
                </c:pt>
                <c:pt idx="291">
                  <c:v>38412</c:v>
                </c:pt>
                <c:pt idx="292">
                  <c:v>38413</c:v>
                </c:pt>
                <c:pt idx="293">
                  <c:v>38414</c:v>
                </c:pt>
                <c:pt idx="294">
                  <c:v>38415</c:v>
                </c:pt>
                <c:pt idx="295">
                  <c:v>38418</c:v>
                </c:pt>
                <c:pt idx="296">
                  <c:v>38419</c:v>
                </c:pt>
                <c:pt idx="297">
                  <c:v>38420</c:v>
                </c:pt>
                <c:pt idx="298">
                  <c:v>38421</c:v>
                </c:pt>
                <c:pt idx="299">
                  <c:v>38422</c:v>
                </c:pt>
                <c:pt idx="300">
                  <c:v>38425</c:v>
                </c:pt>
                <c:pt idx="301">
                  <c:v>38426</c:v>
                </c:pt>
                <c:pt idx="302">
                  <c:v>38427</c:v>
                </c:pt>
                <c:pt idx="303">
                  <c:v>38428</c:v>
                </c:pt>
                <c:pt idx="304">
                  <c:v>38429</c:v>
                </c:pt>
                <c:pt idx="305">
                  <c:v>38432</c:v>
                </c:pt>
                <c:pt idx="306">
                  <c:v>38433</c:v>
                </c:pt>
                <c:pt idx="307">
                  <c:v>38434</c:v>
                </c:pt>
                <c:pt idx="308">
                  <c:v>38435</c:v>
                </c:pt>
                <c:pt idx="309">
                  <c:v>38436</c:v>
                </c:pt>
                <c:pt idx="310">
                  <c:v>38439</c:v>
                </c:pt>
                <c:pt idx="311">
                  <c:v>38440</c:v>
                </c:pt>
                <c:pt idx="312">
                  <c:v>38441</c:v>
                </c:pt>
                <c:pt idx="313">
                  <c:v>38442</c:v>
                </c:pt>
                <c:pt idx="314">
                  <c:v>38443</c:v>
                </c:pt>
                <c:pt idx="315">
                  <c:v>38446</c:v>
                </c:pt>
                <c:pt idx="316">
                  <c:v>38447</c:v>
                </c:pt>
                <c:pt idx="317">
                  <c:v>38448</c:v>
                </c:pt>
                <c:pt idx="318">
                  <c:v>38449</c:v>
                </c:pt>
                <c:pt idx="319">
                  <c:v>38450</c:v>
                </c:pt>
                <c:pt idx="320">
                  <c:v>38453</c:v>
                </c:pt>
                <c:pt idx="321">
                  <c:v>38454</c:v>
                </c:pt>
                <c:pt idx="322">
                  <c:v>38455</c:v>
                </c:pt>
                <c:pt idx="323">
                  <c:v>38456</c:v>
                </c:pt>
                <c:pt idx="324">
                  <c:v>38457</c:v>
                </c:pt>
                <c:pt idx="325">
                  <c:v>38460</c:v>
                </c:pt>
                <c:pt idx="326">
                  <c:v>38461</c:v>
                </c:pt>
                <c:pt idx="327">
                  <c:v>38462</c:v>
                </c:pt>
                <c:pt idx="328">
                  <c:v>38463</c:v>
                </c:pt>
                <c:pt idx="329">
                  <c:v>38464</c:v>
                </c:pt>
                <c:pt idx="330">
                  <c:v>38467</c:v>
                </c:pt>
                <c:pt idx="331">
                  <c:v>38468</c:v>
                </c:pt>
                <c:pt idx="332">
                  <c:v>38469</c:v>
                </c:pt>
                <c:pt idx="333">
                  <c:v>38470</c:v>
                </c:pt>
                <c:pt idx="334">
                  <c:v>38471</c:v>
                </c:pt>
                <c:pt idx="335">
                  <c:v>38474</c:v>
                </c:pt>
                <c:pt idx="336">
                  <c:v>38475</c:v>
                </c:pt>
                <c:pt idx="337">
                  <c:v>38476</c:v>
                </c:pt>
                <c:pt idx="338">
                  <c:v>38477</c:v>
                </c:pt>
                <c:pt idx="339">
                  <c:v>38478</c:v>
                </c:pt>
                <c:pt idx="340">
                  <c:v>38481</c:v>
                </c:pt>
                <c:pt idx="341">
                  <c:v>38482</c:v>
                </c:pt>
                <c:pt idx="342">
                  <c:v>38483</c:v>
                </c:pt>
                <c:pt idx="343">
                  <c:v>38484</c:v>
                </c:pt>
                <c:pt idx="344">
                  <c:v>38485</c:v>
                </c:pt>
                <c:pt idx="345">
                  <c:v>38488</c:v>
                </c:pt>
                <c:pt idx="346">
                  <c:v>38489</c:v>
                </c:pt>
                <c:pt idx="347">
                  <c:v>38490</c:v>
                </c:pt>
                <c:pt idx="348">
                  <c:v>38491</c:v>
                </c:pt>
                <c:pt idx="349">
                  <c:v>38492</c:v>
                </c:pt>
                <c:pt idx="350">
                  <c:v>38495</c:v>
                </c:pt>
                <c:pt idx="351">
                  <c:v>38496</c:v>
                </c:pt>
                <c:pt idx="352">
                  <c:v>38497</c:v>
                </c:pt>
                <c:pt idx="353">
                  <c:v>38498</c:v>
                </c:pt>
                <c:pt idx="354">
                  <c:v>38499</c:v>
                </c:pt>
                <c:pt idx="355">
                  <c:v>38502</c:v>
                </c:pt>
                <c:pt idx="356">
                  <c:v>38503</c:v>
                </c:pt>
                <c:pt idx="357">
                  <c:v>38504</c:v>
                </c:pt>
                <c:pt idx="358">
                  <c:v>38505</c:v>
                </c:pt>
                <c:pt idx="359">
                  <c:v>38506</c:v>
                </c:pt>
                <c:pt idx="360">
                  <c:v>38509</c:v>
                </c:pt>
                <c:pt idx="361">
                  <c:v>38510</c:v>
                </c:pt>
                <c:pt idx="362">
                  <c:v>38511</c:v>
                </c:pt>
                <c:pt idx="363">
                  <c:v>38512</c:v>
                </c:pt>
                <c:pt idx="364">
                  <c:v>38513</c:v>
                </c:pt>
                <c:pt idx="365">
                  <c:v>38516</c:v>
                </c:pt>
                <c:pt idx="366">
                  <c:v>38517</c:v>
                </c:pt>
                <c:pt idx="367">
                  <c:v>38518</c:v>
                </c:pt>
                <c:pt idx="368">
                  <c:v>38519</c:v>
                </c:pt>
                <c:pt idx="369">
                  <c:v>38520</c:v>
                </c:pt>
                <c:pt idx="370">
                  <c:v>38523</c:v>
                </c:pt>
                <c:pt idx="371">
                  <c:v>38524</c:v>
                </c:pt>
                <c:pt idx="372">
                  <c:v>38525</c:v>
                </c:pt>
                <c:pt idx="373">
                  <c:v>38526</c:v>
                </c:pt>
                <c:pt idx="374">
                  <c:v>38527</c:v>
                </c:pt>
                <c:pt idx="375">
                  <c:v>38530</c:v>
                </c:pt>
                <c:pt idx="376">
                  <c:v>38531</c:v>
                </c:pt>
                <c:pt idx="377">
                  <c:v>38532</c:v>
                </c:pt>
                <c:pt idx="378">
                  <c:v>38533</c:v>
                </c:pt>
                <c:pt idx="379">
                  <c:v>38534</c:v>
                </c:pt>
                <c:pt idx="380">
                  <c:v>38537</c:v>
                </c:pt>
                <c:pt idx="381">
                  <c:v>38538</c:v>
                </c:pt>
                <c:pt idx="382">
                  <c:v>38539</c:v>
                </c:pt>
                <c:pt idx="383">
                  <c:v>38540</c:v>
                </c:pt>
                <c:pt idx="384">
                  <c:v>38541</c:v>
                </c:pt>
                <c:pt idx="385">
                  <c:v>38544</c:v>
                </c:pt>
                <c:pt idx="386">
                  <c:v>38545</c:v>
                </c:pt>
                <c:pt idx="387">
                  <c:v>38546</c:v>
                </c:pt>
                <c:pt idx="388">
                  <c:v>38547</c:v>
                </c:pt>
                <c:pt idx="389">
                  <c:v>38548</c:v>
                </c:pt>
                <c:pt idx="390">
                  <c:v>38551</c:v>
                </c:pt>
                <c:pt idx="391">
                  <c:v>38552</c:v>
                </c:pt>
                <c:pt idx="392">
                  <c:v>38553</c:v>
                </c:pt>
                <c:pt idx="393">
                  <c:v>38554</c:v>
                </c:pt>
                <c:pt idx="394">
                  <c:v>38555</c:v>
                </c:pt>
                <c:pt idx="395">
                  <c:v>38558</c:v>
                </c:pt>
                <c:pt idx="396">
                  <c:v>38559</c:v>
                </c:pt>
                <c:pt idx="397">
                  <c:v>38560</c:v>
                </c:pt>
                <c:pt idx="398">
                  <c:v>38561</c:v>
                </c:pt>
                <c:pt idx="399">
                  <c:v>38562</c:v>
                </c:pt>
                <c:pt idx="400">
                  <c:v>38565</c:v>
                </c:pt>
                <c:pt idx="401">
                  <c:v>38566</c:v>
                </c:pt>
                <c:pt idx="402">
                  <c:v>38567</c:v>
                </c:pt>
                <c:pt idx="403">
                  <c:v>38568</c:v>
                </c:pt>
                <c:pt idx="404">
                  <c:v>38569</c:v>
                </c:pt>
                <c:pt idx="405">
                  <c:v>38572</c:v>
                </c:pt>
                <c:pt idx="406">
                  <c:v>38573</c:v>
                </c:pt>
                <c:pt idx="407">
                  <c:v>38574</c:v>
                </c:pt>
                <c:pt idx="408">
                  <c:v>38575</c:v>
                </c:pt>
                <c:pt idx="409">
                  <c:v>38576</c:v>
                </c:pt>
                <c:pt idx="410">
                  <c:v>38579</c:v>
                </c:pt>
                <c:pt idx="411">
                  <c:v>38580</c:v>
                </c:pt>
                <c:pt idx="412">
                  <c:v>38581</c:v>
                </c:pt>
                <c:pt idx="413">
                  <c:v>38582</c:v>
                </c:pt>
                <c:pt idx="414">
                  <c:v>38583</c:v>
                </c:pt>
                <c:pt idx="415">
                  <c:v>38586</c:v>
                </c:pt>
                <c:pt idx="416">
                  <c:v>38587</c:v>
                </c:pt>
                <c:pt idx="417">
                  <c:v>38588</c:v>
                </c:pt>
                <c:pt idx="418">
                  <c:v>38589</c:v>
                </c:pt>
                <c:pt idx="419">
                  <c:v>38590</c:v>
                </c:pt>
                <c:pt idx="420">
                  <c:v>38593</c:v>
                </c:pt>
                <c:pt idx="421">
                  <c:v>38594</c:v>
                </c:pt>
                <c:pt idx="422">
                  <c:v>38595</c:v>
                </c:pt>
                <c:pt idx="423">
                  <c:v>38596</c:v>
                </c:pt>
                <c:pt idx="424">
                  <c:v>38597</c:v>
                </c:pt>
                <c:pt idx="425">
                  <c:v>38600</c:v>
                </c:pt>
                <c:pt idx="426">
                  <c:v>38601</c:v>
                </c:pt>
                <c:pt idx="427">
                  <c:v>38602</c:v>
                </c:pt>
                <c:pt idx="428">
                  <c:v>38603</c:v>
                </c:pt>
                <c:pt idx="429">
                  <c:v>38604</c:v>
                </c:pt>
                <c:pt idx="430">
                  <c:v>38607</c:v>
                </c:pt>
                <c:pt idx="431">
                  <c:v>38608</c:v>
                </c:pt>
                <c:pt idx="432">
                  <c:v>38609</c:v>
                </c:pt>
                <c:pt idx="433">
                  <c:v>38610</c:v>
                </c:pt>
                <c:pt idx="434">
                  <c:v>38611</c:v>
                </c:pt>
                <c:pt idx="435">
                  <c:v>38614</c:v>
                </c:pt>
                <c:pt idx="436">
                  <c:v>38615</c:v>
                </c:pt>
                <c:pt idx="437">
                  <c:v>38616</c:v>
                </c:pt>
                <c:pt idx="438">
                  <c:v>38617</c:v>
                </c:pt>
                <c:pt idx="439">
                  <c:v>38618</c:v>
                </c:pt>
                <c:pt idx="440">
                  <c:v>38621</c:v>
                </c:pt>
                <c:pt idx="441">
                  <c:v>38622</c:v>
                </c:pt>
                <c:pt idx="442">
                  <c:v>38623</c:v>
                </c:pt>
                <c:pt idx="443">
                  <c:v>38624</c:v>
                </c:pt>
                <c:pt idx="444">
                  <c:v>38625</c:v>
                </c:pt>
                <c:pt idx="445">
                  <c:v>38628</c:v>
                </c:pt>
                <c:pt idx="446">
                  <c:v>38629</c:v>
                </c:pt>
                <c:pt idx="447">
                  <c:v>38630</c:v>
                </c:pt>
                <c:pt idx="448">
                  <c:v>38631</c:v>
                </c:pt>
                <c:pt idx="449">
                  <c:v>38632</c:v>
                </c:pt>
                <c:pt idx="450">
                  <c:v>38635</c:v>
                </c:pt>
                <c:pt idx="451">
                  <c:v>38636</c:v>
                </c:pt>
                <c:pt idx="452">
                  <c:v>38637</c:v>
                </c:pt>
                <c:pt idx="453">
                  <c:v>38638</c:v>
                </c:pt>
                <c:pt idx="454">
                  <c:v>38639</c:v>
                </c:pt>
                <c:pt idx="455">
                  <c:v>38642</c:v>
                </c:pt>
                <c:pt idx="456">
                  <c:v>38643</c:v>
                </c:pt>
                <c:pt idx="457">
                  <c:v>38644</c:v>
                </c:pt>
                <c:pt idx="458">
                  <c:v>38645</c:v>
                </c:pt>
                <c:pt idx="459">
                  <c:v>38646</c:v>
                </c:pt>
                <c:pt idx="460">
                  <c:v>38649</c:v>
                </c:pt>
                <c:pt idx="461">
                  <c:v>38650</c:v>
                </c:pt>
                <c:pt idx="462">
                  <c:v>38651</c:v>
                </c:pt>
                <c:pt idx="463">
                  <c:v>38652</c:v>
                </c:pt>
                <c:pt idx="464">
                  <c:v>38653</c:v>
                </c:pt>
                <c:pt idx="465">
                  <c:v>38656</c:v>
                </c:pt>
                <c:pt idx="466">
                  <c:v>38657</c:v>
                </c:pt>
                <c:pt idx="467">
                  <c:v>38658</c:v>
                </c:pt>
                <c:pt idx="468">
                  <c:v>38659</c:v>
                </c:pt>
                <c:pt idx="469">
                  <c:v>38660</c:v>
                </c:pt>
                <c:pt idx="470">
                  <c:v>38663</c:v>
                </c:pt>
                <c:pt idx="471">
                  <c:v>38664</c:v>
                </c:pt>
                <c:pt idx="472">
                  <c:v>38665</c:v>
                </c:pt>
                <c:pt idx="473">
                  <c:v>38666</c:v>
                </c:pt>
                <c:pt idx="474">
                  <c:v>38667</c:v>
                </c:pt>
                <c:pt idx="475">
                  <c:v>38670</c:v>
                </c:pt>
                <c:pt idx="476">
                  <c:v>38671</c:v>
                </c:pt>
                <c:pt idx="477">
                  <c:v>38672</c:v>
                </c:pt>
                <c:pt idx="478">
                  <c:v>38673</c:v>
                </c:pt>
                <c:pt idx="479">
                  <c:v>38674</c:v>
                </c:pt>
                <c:pt idx="480">
                  <c:v>38677</c:v>
                </c:pt>
                <c:pt idx="481">
                  <c:v>38678</c:v>
                </c:pt>
                <c:pt idx="482">
                  <c:v>38679</c:v>
                </c:pt>
                <c:pt idx="483">
                  <c:v>38680</c:v>
                </c:pt>
                <c:pt idx="484">
                  <c:v>38681</c:v>
                </c:pt>
                <c:pt idx="485">
                  <c:v>38684</c:v>
                </c:pt>
                <c:pt idx="486">
                  <c:v>38685</c:v>
                </c:pt>
                <c:pt idx="487">
                  <c:v>38686</c:v>
                </c:pt>
                <c:pt idx="488">
                  <c:v>38687</c:v>
                </c:pt>
                <c:pt idx="489">
                  <c:v>38688</c:v>
                </c:pt>
                <c:pt idx="490">
                  <c:v>38691</c:v>
                </c:pt>
                <c:pt idx="491">
                  <c:v>38692</c:v>
                </c:pt>
                <c:pt idx="492">
                  <c:v>38693</c:v>
                </c:pt>
                <c:pt idx="493">
                  <c:v>38694</c:v>
                </c:pt>
                <c:pt idx="494">
                  <c:v>38695</c:v>
                </c:pt>
                <c:pt idx="495">
                  <c:v>38698</c:v>
                </c:pt>
                <c:pt idx="496">
                  <c:v>38699</c:v>
                </c:pt>
                <c:pt idx="497">
                  <c:v>38700</c:v>
                </c:pt>
                <c:pt idx="498">
                  <c:v>38701</c:v>
                </c:pt>
                <c:pt idx="499">
                  <c:v>38702</c:v>
                </c:pt>
                <c:pt idx="500">
                  <c:v>38705</c:v>
                </c:pt>
                <c:pt idx="501">
                  <c:v>38706</c:v>
                </c:pt>
                <c:pt idx="502">
                  <c:v>38707</c:v>
                </c:pt>
                <c:pt idx="503">
                  <c:v>38708</c:v>
                </c:pt>
                <c:pt idx="504">
                  <c:v>38709</c:v>
                </c:pt>
                <c:pt idx="505">
                  <c:v>38712</c:v>
                </c:pt>
                <c:pt idx="506">
                  <c:v>38713</c:v>
                </c:pt>
                <c:pt idx="507">
                  <c:v>38714</c:v>
                </c:pt>
                <c:pt idx="508">
                  <c:v>38715</c:v>
                </c:pt>
                <c:pt idx="509">
                  <c:v>38716</c:v>
                </c:pt>
                <c:pt idx="510">
                  <c:v>38719</c:v>
                </c:pt>
                <c:pt idx="511">
                  <c:v>38720</c:v>
                </c:pt>
                <c:pt idx="512">
                  <c:v>38721</c:v>
                </c:pt>
                <c:pt idx="513">
                  <c:v>38722</c:v>
                </c:pt>
                <c:pt idx="514">
                  <c:v>38723</c:v>
                </c:pt>
                <c:pt idx="515">
                  <c:v>38726</c:v>
                </c:pt>
                <c:pt idx="516">
                  <c:v>38727</c:v>
                </c:pt>
                <c:pt idx="517">
                  <c:v>38728</c:v>
                </c:pt>
                <c:pt idx="518">
                  <c:v>38729</c:v>
                </c:pt>
                <c:pt idx="519">
                  <c:v>38730</c:v>
                </c:pt>
                <c:pt idx="520">
                  <c:v>38733</c:v>
                </c:pt>
                <c:pt idx="521">
                  <c:v>38734</c:v>
                </c:pt>
                <c:pt idx="522">
                  <c:v>38735</c:v>
                </c:pt>
                <c:pt idx="523">
                  <c:v>38736</c:v>
                </c:pt>
                <c:pt idx="524">
                  <c:v>38737</c:v>
                </c:pt>
                <c:pt idx="525">
                  <c:v>38740</c:v>
                </c:pt>
                <c:pt idx="526">
                  <c:v>38741</c:v>
                </c:pt>
                <c:pt idx="527">
                  <c:v>38742</c:v>
                </c:pt>
                <c:pt idx="528">
                  <c:v>38743</c:v>
                </c:pt>
                <c:pt idx="529">
                  <c:v>38744</c:v>
                </c:pt>
                <c:pt idx="530">
                  <c:v>38747</c:v>
                </c:pt>
                <c:pt idx="531">
                  <c:v>38748</c:v>
                </c:pt>
                <c:pt idx="532">
                  <c:v>38749</c:v>
                </c:pt>
                <c:pt idx="533">
                  <c:v>38750</c:v>
                </c:pt>
                <c:pt idx="534">
                  <c:v>38751</c:v>
                </c:pt>
                <c:pt idx="535">
                  <c:v>38754</c:v>
                </c:pt>
                <c:pt idx="536">
                  <c:v>38755</c:v>
                </c:pt>
                <c:pt idx="537">
                  <c:v>38756</c:v>
                </c:pt>
                <c:pt idx="538">
                  <c:v>38757</c:v>
                </c:pt>
                <c:pt idx="539">
                  <c:v>38758</c:v>
                </c:pt>
                <c:pt idx="540">
                  <c:v>38761</c:v>
                </c:pt>
                <c:pt idx="541">
                  <c:v>38762</c:v>
                </c:pt>
                <c:pt idx="542">
                  <c:v>38763</c:v>
                </c:pt>
                <c:pt idx="543">
                  <c:v>38764</c:v>
                </c:pt>
                <c:pt idx="544">
                  <c:v>38765</c:v>
                </c:pt>
                <c:pt idx="545">
                  <c:v>38768</c:v>
                </c:pt>
                <c:pt idx="546">
                  <c:v>38769</c:v>
                </c:pt>
                <c:pt idx="547">
                  <c:v>38770</c:v>
                </c:pt>
                <c:pt idx="548">
                  <c:v>38771</c:v>
                </c:pt>
                <c:pt idx="549">
                  <c:v>38772</c:v>
                </c:pt>
                <c:pt idx="550">
                  <c:v>38775</c:v>
                </c:pt>
                <c:pt idx="551">
                  <c:v>38776</c:v>
                </c:pt>
                <c:pt idx="552">
                  <c:v>38777</c:v>
                </c:pt>
                <c:pt idx="553">
                  <c:v>38778</c:v>
                </c:pt>
                <c:pt idx="554">
                  <c:v>38779</c:v>
                </c:pt>
                <c:pt idx="555">
                  <c:v>38782</c:v>
                </c:pt>
                <c:pt idx="556">
                  <c:v>38783</c:v>
                </c:pt>
                <c:pt idx="557">
                  <c:v>38784</c:v>
                </c:pt>
                <c:pt idx="558">
                  <c:v>38785</c:v>
                </c:pt>
                <c:pt idx="559">
                  <c:v>38786</c:v>
                </c:pt>
                <c:pt idx="560">
                  <c:v>38789</c:v>
                </c:pt>
                <c:pt idx="561">
                  <c:v>38790</c:v>
                </c:pt>
                <c:pt idx="562">
                  <c:v>38791</c:v>
                </c:pt>
                <c:pt idx="563">
                  <c:v>38792</c:v>
                </c:pt>
                <c:pt idx="564">
                  <c:v>38793</c:v>
                </c:pt>
                <c:pt idx="565">
                  <c:v>38796</c:v>
                </c:pt>
                <c:pt idx="566">
                  <c:v>38797</c:v>
                </c:pt>
                <c:pt idx="567">
                  <c:v>38798</c:v>
                </c:pt>
                <c:pt idx="568">
                  <c:v>38799</c:v>
                </c:pt>
                <c:pt idx="569">
                  <c:v>38800</c:v>
                </c:pt>
                <c:pt idx="570">
                  <c:v>38803</c:v>
                </c:pt>
                <c:pt idx="571">
                  <c:v>38804</c:v>
                </c:pt>
                <c:pt idx="572">
                  <c:v>38805</c:v>
                </c:pt>
                <c:pt idx="573">
                  <c:v>38806</c:v>
                </c:pt>
                <c:pt idx="574">
                  <c:v>38807</c:v>
                </c:pt>
                <c:pt idx="575">
                  <c:v>38810</c:v>
                </c:pt>
                <c:pt idx="576">
                  <c:v>38811</c:v>
                </c:pt>
                <c:pt idx="577">
                  <c:v>38812</c:v>
                </c:pt>
                <c:pt idx="578">
                  <c:v>38813</c:v>
                </c:pt>
                <c:pt idx="579">
                  <c:v>38814</c:v>
                </c:pt>
                <c:pt idx="580">
                  <c:v>38817</c:v>
                </c:pt>
                <c:pt idx="581">
                  <c:v>38818</c:v>
                </c:pt>
                <c:pt idx="582">
                  <c:v>38819</c:v>
                </c:pt>
                <c:pt idx="583">
                  <c:v>38820</c:v>
                </c:pt>
                <c:pt idx="584">
                  <c:v>38821</c:v>
                </c:pt>
                <c:pt idx="585">
                  <c:v>38824</c:v>
                </c:pt>
                <c:pt idx="586">
                  <c:v>38825</c:v>
                </c:pt>
                <c:pt idx="587">
                  <c:v>38826</c:v>
                </c:pt>
                <c:pt idx="588">
                  <c:v>38827</c:v>
                </c:pt>
                <c:pt idx="589">
                  <c:v>38828</c:v>
                </c:pt>
                <c:pt idx="590">
                  <c:v>38831</c:v>
                </c:pt>
                <c:pt idx="591">
                  <c:v>38832</c:v>
                </c:pt>
                <c:pt idx="592">
                  <c:v>38833</c:v>
                </c:pt>
                <c:pt idx="593">
                  <c:v>38834</c:v>
                </c:pt>
                <c:pt idx="594">
                  <c:v>38835</c:v>
                </c:pt>
                <c:pt idx="595">
                  <c:v>38838</c:v>
                </c:pt>
                <c:pt idx="596">
                  <c:v>38839</c:v>
                </c:pt>
                <c:pt idx="597">
                  <c:v>38840</c:v>
                </c:pt>
                <c:pt idx="598">
                  <c:v>38841</c:v>
                </c:pt>
                <c:pt idx="599">
                  <c:v>38842</c:v>
                </c:pt>
                <c:pt idx="600">
                  <c:v>38845</c:v>
                </c:pt>
                <c:pt idx="601">
                  <c:v>38846</c:v>
                </c:pt>
                <c:pt idx="602">
                  <c:v>38847</c:v>
                </c:pt>
                <c:pt idx="603">
                  <c:v>38848</c:v>
                </c:pt>
                <c:pt idx="604">
                  <c:v>38849</c:v>
                </c:pt>
                <c:pt idx="605">
                  <c:v>38852</c:v>
                </c:pt>
                <c:pt idx="606">
                  <c:v>38853</c:v>
                </c:pt>
                <c:pt idx="607">
                  <c:v>38854</c:v>
                </c:pt>
                <c:pt idx="608">
                  <c:v>38855</c:v>
                </c:pt>
                <c:pt idx="609">
                  <c:v>38856</c:v>
                </c:pt>
                <c:pt idx="610">
                  <c:v>38859</c:v>
                </c:pt>
                <c:pt idx="611">
                  <c:v>38860</c:v>
                </c:pt>
                <c:pt idx="612">
                  <c:v>38861</c:v>
                </c:pt>
                <c:pt idx="613">
                  <c:v>38862</c:v>
                </c:pt>
                <c:pt idx="614">
                  <c:v>38863</c:v>
                </c:pt>
                <c:pt idx="615">
                  <c:v>38866</c:v>
                </c:pt>
                <c:pt idx="616">
                  <c:v>38867</c:v>
                </c:pt>
                <c:pt idx="617">
                  <c:v>38868</c:v>
                </c:pt>
                <c:pt idx="618">
                  <c:v>38869</c:v>
                </c:pt>
                <c:pt idx="619">
                  <c:v>38870</c:v>
                </c:pt>
                <c:pt idx="620">
                  <c:v>38873</c:v>
                </c:pt>
                <c:pt idx="621">
                  <c:v>38874</c:v>
                </c:pt>
                <c:pt idx="622">
                  <c:v>38875</c:v>
                </c:pt>
                <c:pt idx="623">
                  <c:v>38876</c:v>
                </c:pt>
                <c:pt idx="624">
                  <c:v>38877</c:v>
                </c:pt>
                <c:pt idx="625">
                  <c:v>38880</c:v>
                </c:pt>
                <c:pt idx="626">
                  <c:v>38881</c:v>
                </c:pt>
                <c:pt idx="627">
                  <c:v>38882</c:v>
                </c:pt>
                <c:pt idx="628">
                  <c:v>38883</c:v>
                </c:pt>
                <c:pt idx="629">
                  <c:v>38884</c:v>
                </c:pt>
                <c:pt idx="630">
                  <c:v>38887</c:v>
                </c:pt>
                <c:pt idx="631">
                  <c:v>38888</c:v>
                </c:pt>
                <c:pt idx="632">
                  <c:v>38889</c:v>
                </c:pt>
                <c:pt idx="633">
                  <c:v>38890</c:v>
                </c:pt>
                <c:pt idx="634">
                  <c:v>38891</c:v>
                </c:pt>
                <c:pt idx="635">
                  <c:v>38894</c:v>
                </c:pt>
                <c:pt idx="636">
                  <c:v>38895</c:v>
                </c:pt>
                <c:pt idx="637">
                  <c:v>38896</c:v>
                </c:pt>
                <c:pt idx="638">
                  <c:v>38897</c:v>
                </c:pt>
                <c:pt idx="639">
                  <c:v>38898</c:v>
                </c:pt>
                <c:pt idx="640">
                  <c:v>38901</c:v>
                </c:pt>
                <c:pt idx="641">
                  <c:v>38902</c:v>
                </c:pt>
                <c:pt idx="642">
                  <c:v>38903</c:v>
                </c:pt>
                <c:pt idx="643">
                  <c:v>38904</c:v>
                </c:pt>
                <c:pt idx="644">
                  <c:v>38905</c:v>
                </c:pt>
                <c:pt idx="645">
                  <c:v>38908</c:v>
                </c:pt>
                <c:pt idx="646">
                  <c:v>38909</c:v>
                </c:pt>
                <c:pt idx="647">
                  <c:v>38910</c:v>
                </c:pt>
                <c:pt idx="648">
                  <c:v>38911</c:v>
                </c:pt>
                <c:pt idx="649">
                  <c:v>38912</c:v>
                </c:pt>
                <c:pt idx="650">
                  <c:v>38915</c:v>
                </c:pt>
                <c:pt idx="651">
                  <c:v>38916</c:v>
                </c:pt>
                <c:pt idx="652">
                  <c:v>38917</c:v>
                </c:pt>
                <c:pt idx="653">
                  <c:v>38918</c:v>
                </c:pt>
                <c:pt idx="654">
                  <c:v>38919</c:v>
                </c:pt>
                <c:pt idx="655">
                  <c:v>38922</c:v>
                </c:pt>
                <c:pt idx="656">
                  <c:v>38923</c:v>
                </c:pt>
                <c:pt idx="657">
                  <c:v>38924</c:v>
                </c:pt>
                <c:pt idx="658">
                  <c:v>38925</c:v>
                </c:pt>
                <c:pt idx="659">
                  <c:v>38926</c:v>
                </c:pt>
                <c:pt idx="660">
                  <c:v>38929</c:v>
                </c:pt>
                <c:pt idx="661">
                  <c:v>38930</c:v>
                </c:pt>
                <c:pt idx="662">
                  <c:v>38931</c:v>
                </c:pt>
                <c:pt idx="663">
                  <c:v>38932</c:v>
                </c:pt>
                <c:pt idx="664">
                  <c:v>38933</c:v>
                </c:pt>
                <c:pt idx="665">
                  <c:v>38936</c:v>
                </c:pt>
                <c:pt idx="666">
                  <c:v>38937</c:v>
                </c:pt>
                <c:pt idx="667">
                  <c:v>38938</c:v>
                </c:pt>
                <c:pt idx="668">
                  <c:v>38939</c:v>
                </c:pt>
                <c:pt idx="669">
                  <c:v>38940</c:v>
                </c:pt>
                <c:pt idx="670">
                  <c:v>38943</c:v>
                </c:pt>
                <c:pt idx="671">
                  <c:v>38944</c:v>
                </c:pt>
                <c:pt idx="672">
                  <c:v>38945</c:v>
                </c:pt>
                <c:pt idx="673">
                  <c:v>38946</c:v>
                </c:pt>
                <c:pt idx="674">
                  <c:v>38947</c:v>
                </c:pt>
                <c:pt idx="675">
                  <c:v>38950</c:v>
                </c:pt>
                <c:pt idx="676">
                  <c:v>38951</c:v>
                </c:pt>
                <c:pt idx="677">
                  <c:v>38952</c:v>
                </c:pt>
                <c:pt idx="678">
                  <c:v>38953</c:v>
                </c:pt>
                <c:pt idx="679">
                  <c:v>38954</c:v>
                </c:pt>
                <c:pt idx="680">
                  <c:v>38957</c:v>
                </c:pt>
                <c:pt idx="681">
                  <c:v>38958</c:v>
                </c:pt>
                <c:pt idx="682">
                  <c:v>38959</c:v>
                </c:pt>
                <c:pt idx="683">
                  <c:v>38960</c:v>
                </c:pt>
                <c:pt idx="684">
                  <c:v>38961</c:v>
                </c:pt>
                <c:pt idx="685">
                  <c:v>38964</c:v>
                </c:pt>
                <c:pt idx="686">
                  <c:v>38965</c:v>
                </c:pt>
                <c:pt idx="687">
                  <c:v>38966</c:v>
                </c:pt>
                <c:pt idx="688">
                  <c:v>38967</c:v>
                </c:pt>
                <c:pt idx="689">
                  <c:v>38968</c:v>
                </c:pt>
                <c:pt idx="690">
                  <c:v>38971</c:v>
                </c:pt>
                <c:pt idx="691">
                  <c:v>38972</c:v>
                </c:pt>
                <c:pt idx="692">
                  <c:v>38973</c:v>
                </c:pt>
                <c:pt idx="693">
                  <c:v>38974</c:v>
                </c:pt>
                <c:pt idx="694">
                  <c:v>38975</c:v>
                </c:pt>
                <c:pt idx="695">
                  <c:v>38978</c:v>
                </c:pt>
                <c:pt idx="696">
                  <c:v>38979</c:v>
                </c:pt>
                <c:pt idx="697">
                  <c:v>38980</c:v>
                </c:pt>
                <c:pt idx="698">
                  <c:v>38981</c:v>
                </c:pt>
                <c:pt idx="699">
                  <c:v>38982</c:v>
                </c:pt>
                <c:pt idx="700">
                  <c:v>38985</c:v>
                </c:pt>
                <c:pt idx="701">
                  <c:v>38986</c:v>
                </c:pt>
                <c:pt idx="702">
                  <c:v>38987</c:v>
                </c:pt>
                <c:pt idx="703">
                  <c:v>38988</c:v>
                </c:pt>
                <c:pt idx="704">
                  <c:v>38989</c:v>
                </c:pt>
                <c:pt idx="705">
                  <c:v>38992</c:v>
                </c:pt>
                <c:pt idx="706">
                  <c:v>38993</c:v>
                </c:pt>
                <c:pt idx="707">
                  <c:v>38994</c:v>
                </c:pt>
                <c:pt idx="708">
                  <c:v>38995</c:v>
                </c:pt>
                <c:pt idx="709">
                  <c:v>38996</c:v>
                </c:pt>
                <c:pt idx="710">
                  <c:v>38999</c:v>
                </c:pt>
                <c:pt idx="711">
                  <c:v>39000</c:v>
                </c:pt>
                <c:pt idx="712">
                  <c:v>39001</c:v>
                </c:pt>
                <c:pt idx="713">
                  <c:v>39002</c:v>
                </c:pt>
                <c:pt idx="714">
                  <c:v>39003</c:v>
                </c:pt>
                <c:pt idx="715">
                  <c:v>39006</c:v>
                </c:pt>
                <c:pt idx="716">
                  <c:v>39007</c:v>
                </c:pt>
                <c:pt idx="717">
                  <c:v>39008</c:v>
                </c:pt>
                <c:pt idx="718">
                  <c:v>39009</c:v>
                </c:pt>
                <c:pt idx="719">
                  <c:v>39010</c:v>
                </c:pt>
                <c:pt idx="720">
                  <c:v>39013</c:v>
                </c:pt>
                <c:pt idx="721">
                  <c:v>39014</c:v>
                </c:pt>
                <c:pt idx="722">
                  <c:v>39015</c:v>
                </c:pt>
                <c:pt idx="723">
                  <c:v>39016</c:v>
                </c:pt>
                <c:pt idx="724">
                  <c:v>39017</c:v>
                </c:pt>
                <c:pt idx="725">
                  <c:v>39020</c:v>
                </c:pt>
                <c:pt idx="726">
                  <c:v>39021</c:v>
                </c:pt>
                <c:pt idx="727">
                  <c:v>39022</c:v>
                </c:pt>
                <c:pt idx="728">
                  <c:v>39023</c:v>
                </c:pt>
                <c:pt idx="729">
                  <c:v>39024</c:v>
                </c:pt>
                <c:pt idx="730">
                  <c:v>39027</c:v>
                </c:pt>
                <c:pt idx="731">
                  <c:v>39028</c:v>
                </c:pt>
                <c:pt idx="732">
                  <c:v>39029</c:v>
                </c:pt>
                <c:pt idx="733">
                  <c:v>39030</c:v>
                </c:pt>
                <c:pt idx="734">
                  <c:v>39031</c:v>
                </c:pt>
                <c:pt idx="735">
                  <c:v>39034</c:v>
                </c:pt>
                <c:pt idx="736">
                  <c:v>39035</c:v>
                </c:pt>
                <c:pt idx="737">
                  <c:v>39036</c:v>
                </c:pt>
                <c:pt idx="738">
                  <c:v>39037</c:v>
                </c:pt>
                <c:pt idx="739">
                  <c:v>39038</c:v>
                </c:pt>
                <c:pt idx="740">
                  <c:v>39041</c:v>
                </c:pt>
                <c:pt idx="741">
                  <c:v>39042</c:v>
                </c:pt>
                <c:pt idx="742">
                  <c:v>39043</c:v>
                </c:pt>
                <c:pt idx="743">
                  <c:v>39044</c:v>
                </c:pt>
                <c:pt idx="744">
                  <c:v>39045</c:v>
                </c:pt>
                <c:pt idx="745">
                  <c:v>39048</c:v>
                </c:pt>
                <c:pt idx="746">
                  <c:v>39049</c:v>
                </c:pt>
                <c:pt idx="747">
                  <c:v>39050</c:v>
                </c:pt>
                <c:pt idx="748">
                  <c:v>39051</c:v>
                </c:pt>
                <c:pt idx="749">
                  <c:v>39052</c:v>
                </c:pt>
                <c:pt idx="750">
                  <c:v>39055</c:v>
                </c:pt>
                <c:pt idx="751">
                  <c:v>39056</c:v>
                </c:pt>
                <c:pt idx="752">
                  <c:v>39057</c:v>
                </c:pt>
                <c:pt idx="753">
                  <c:v>39058</c:v>
                </c:pt>
                <c:pt idx="754">
                  <c:v>39059</c:v>
                </c:pt>
                <c:pt idx="755">
                  <c:v>39062</c:v>
                </c:pt>
                <c:pt idx="756">
                  <c:v>39063</c:v>
                </c:pt>
                <c:pt idx="757">
                  <c:v>39064</c:v>
                </c:pt>
                <c:pt idx="758">
                  <c:v>39065</c:v>
                </c:pt>
                <c:pt idx="759">
                  <c:v>39066</c:v>
                </c:pt>
                <c:pt idx="760">
                  <c:v>39069</c:v>
                </c:pt>
                <c:pt idx="761">
                  <c:v>39070</c:v>
                </c:pt>
                <c:pt idx="762">
                  <c:v>39071</c:v>
                </c:pt>
                <c:pt idx="763">
                  <c:v>39072</c:v>
                </c:pt>
                <c:pt idx="764">
                  <c:v>39073</c:v>
                </c:pt>
                <c:pt idx="765">
                  <c:v>39076</c:v>
                </c:pt>
                <c:pt idx="766">
                  <c:v>39077</c:v>
                </c:pt>
                <c:pt idx="767">
                  <c:v>39078</c:v>
                </c:pt>
                <c:pt idx="768">
                  <c:v>39079</c:v>
                </c:pt>
                <c:pt idx="769">
                  <c:v>39080</c:v>
                </c:pt>
                <c:pt idx="770">
                  <c:v>39083</c:v>
                </c:pt>
                <c:pt idx="771">
                  <c:v>39084</c:v>
                </c:pt>
                <c:pt idx="772">
                  <c:v>39085</c:v>
                </c:pt>
                <c:pt idx="773">
                  <c:v>39086</c:v>
                </c:pt>
                <c:pt idx="774">
                  <c:v>39087</c:v>
                </c:pt>
                <c:pt idx="775">
                  <c:v>39090</c:v>
                </c:pt>
                <c:pt idx="776">
                  <c:v>39091</c:v>
                </c:pt>
                <c:pt idx="777">
                  <c:v>39092</c:v>
                </c:pt>
                <c:pt idx="778">
                  <c:v>39093</c:v>
                </c:pt>
                <c:pt idx="779">
                  <c:v>39094</c:v>
                </c:pt>
                <c:pt idx="780">
                  <c:v>39097</c:v>
                </c:pt>
                <c:pt idx="781">
                  <c:v>39098</c:v>
                </c:pt>
                <c:pt idx="782">
                  <c:v>39099</c:v>
                </c:pt>
                <c:pt idx="783">
                  <c:v>39100</c:v>
                </c:pt>
                <c:pt idx="784">
                  <c:v>39101</c:v>
                </c:pt>
                <c:pt idx="785">
                  <c:v>39104</c:v>
                </c:pt>
                <c:pt idx="786">
                  <c:v>39105</c:v>
                </c:pt>
                <c:pt idx="787">
                  <c:v>39106</c:v>
                </c:pt>
                <c:pt idx="788">
                  <c:v>39107</c:v>
                </c:pt>
                <c:pt idx="789">
                  <c:v>39108</c:v>
                </c:pt>
                <c:pt idx="790">
                  <c:v>39111</c:v>
                </c:pt>
                <c:pt idx="791">
                  <c:v>39112</c:v>
                </c:pt>
                <c:pt idx="792">
                  <c:v>39113</c:v>
                </c:pt>
                <c:pt idx="793">
                  <c:v>39114</c:v>
                </c:pt>
                <c:pt idx="794">
                  <c:v>39115</c:v>
                </c:pt>
                <c:pt idx="795">
                  <c:v>39118</c:v>
                </c:pt>
                <c:pt idx="796">
                  <c:v>39119</c:v>
                </c:pt>
                <c:pt idx="797">
                  <c:v>39120</c:v>
                </c:pt>
                <c:pt idx="798">
                  <c:v>39121</c:v>
                </c:pt>
                <c:pt idx="799">
                  <c:v>39122</c:v>
                </c:pt>
                <c:pt idx="800">
                  <c:v>39125</c:v>
                </c:pt>
                <c:pt idx="801">
                  <c:v>39126</c:v>
                </c:pt>
                <c:pt idx="802">
                  <c:v>39127</c:v>
                </c:pt>
                <c:pt idx="803">
                  <c:v>39128</c:v>
                </c:pt>
                <c:pt idx="804">
                  <c:v>39129</c:v>
                </c:pt>
                <c:pt idx="805">
                  <c:v>39132</c:v>
                </c:pt>
                <c:pt idx="806">
                  <c:v>39133</c:v>
                </c:pt>
                <c:pt idx="807">
                  <c:v>39134</c:v>
                </c:pt>
                <c:pt idx="808">
                  <c:v>39135</c:v>
                </c:pt>
                <c:pt idx="809">
                  <c:v>39136</c:v>
                </c:pt>
                <c:pt idx="810">
                  <c:v>39139</c:v>
                </c:pt>
                <c:pt idx="811">
                  <c:v>39140</c:v>
                </c:pt>
                <c:pt idx="812">
                  <c:v>39141</c:v>
                </c:pt>
                <c:pt idx="813">
                  <c:v>39142</c:v>
                </c:pt>
                <c:pt idx="814">
                  <c:v>39143</c:v>
                </c:pt>
                <c:pt idx="815">
                  <c:v>39146</c:v>
                </c:pt>
                <c:pt idx="816">
                  <c:v>39147</c:v>
                </c:pt>
                <c:pt idx="817">
                  <c:v>39148</c:v>
                </c:pt>
                <c:pt idx="818">
                  <c:v>39149</c:v>
                </c:pt>
                <c:pt idx="819">
                  <c:v>39150</c:v>
                </c:pt>
                <c:pt idx="820">
                  <c:v>39153</c:v>
                </c:pt>
                <c:pt idx="821">
                  <c:v>39154</c:v>
                </c:pt>
                <c:pt idx="822">
                  <c:v>39155</c:v>
                </c:pt>
                <c:pt idx="823">
                  <c:v>39156</c:v>
                </c:pt>
                <c:pt idx="824">
                  <c:v>39157</c:v>
                </c:pt>
                <c:pt idx="825">
                  <c:v>39160</c:v>
                </c:pt>
                <c:pt idx="826">
                  <c:v>39161</c:v>
                </c:pt>
                <c:pt idx="827">
                  <c:v>39162</c:v>
                </c:pt>
                <c:pt idx="828">
                  <c:v>39163</c:v>
                </c:pt>
                <c:pt idx="829">
                  <c:v>39164</c:v>
                </c:pt>
                <c:pt idx="830">
                  <c:v>39167</c:v>
                </c:pt>
                <c:pt idx="831">
                  <c:v>39168</c:v>
                </c:pt>
                <c:pt idx="832">
                  <c:v>39169</c:v>
                </c:pt>
                <c:pt idx="833">
                  <c:v>39170</c:v>
                </c:pt>
                <c:pt idx="834">
                  <c:v>39171</c:v>
                </c:pt>
                <c:pt idx="835">
                  <c:v>39174</c:v>
                </c:pt>
                <c:pt idx="836">
                  <c:v>39175</c:v>
                </c:pt>
                <c:pt idx="837">
                  <c:v>39176</c:v>
                </c:pt>
                <c:pt idx="838">
                  <c:v>39177</c:v>
                </c:pt>
                <c:pt idx="839">
                  <c:v>39178</c:v>
                </c:pt>
                <c:pt idx="840">
                  <c:v>39181</c:v>
                </c:pt>
                <c:pt idx="841">
                  <c:v>39182</c:v>
                </c:pt>
                <c:pt idx="842">
                  <c:v>39183</c:v>
                </c:pt>
                <c:pt idx="843">
                  <c:v>39184</c:v>
                </c:pt>
                <c:pt idx="844">
                  <c:v>39185</c:v>
                </c:pt>
                <c:pt idx="845">
                  <c:v>39188</c:v>
                </c:pt>
                <c:pt idx="846">
                  <c:v>39189</c:v>
                </c:pt>
                <c:pt idx="847">
                  <c:v>39190</c:v>
                </c:pt>
                <c:pt idx="848">
                  <c:v>39191</c:v>
                </c:pt>
                <c:pt idx="849">
                  <c:v>39192</c:v>
                </c:pt>
                <c:pt idx="850">
                  <c:v>39195</c:v>
                </c:pt>
                <c:pt idx="851">
                  <c:v>39196</c:v>
                </c:pt>
                <c:pt idx="852">
                  <c:v>39197</c:v>
                </c:pt>
                <c:pt idx="853">
                  <c:v>39198</c:v>
                </c:pt>
                <c:pt idx="854">
                  <c:v>39199</c:v>
                </c:pt>
                <c:pt idx="855">
                  <c:v>39202</c:v>
                </c:pt>
                <c:pt idx="856">
                  <c:v>39203</c:v>
                </c:pt>
                <c:pt idx="857">
                  <c:v>39204</c:v>
                </c:pt>
                <c:pt idx="858">
                  <c:v>39205</c:v>
                </c:pt>
                <c:pt idx="859">
                  <c:v>39206</c:v>
                </c:pt>
                <c:pt idx="860">
                  <c:v>39209</c:v>
                </c:pt>
                <c:pt idx="861">
                  <c:v>39210</c:v>
                </c:pt>
                <c:pt idx="862">
                  <c:v>39211</c:v>
                </c:pt>
                <c:pt idx="863">
                  <c:v>39212</c:v>
                </c:pt>
                <c:pt idx="864">
                  <c:v>39213</c:v>
                </c:pt>
                <c:pt idx="865">
                  <c:v>39216</c:v>
                </c:pt>
                <c:pt idx="866">
                  <c:v>39217</c:v>
                </c:pt>
                <c:pt idx="867">
                  <c:v>39218</c:v>
                </c:pt>
                <c:pt idx="868">
                  <c:v>39219</c:v>
                </c:pt>
                <c:pt idx="869">
                  <c:v>39220</c:v>
                </c:pt>
                <c:pt idx="870">
                  <c:v>39223</c:v>
                </c:pt>
                <c:pt idx="871">
                  <c:v>39224</c:v>
                </c:pt>
                <c:pt idx="872">
                  <c:v>39225</c:v>
                </c:pt>
                <c:pt idx="873">
                  <c:v>39226</c:v>
                </c:pt>
                <c:pt idx="874">
                  <c:v>39227</c:v>
                </c:pt>
                <c:pt idx="875">
                  <c:v>39230</c:v>
                </c:pt>
                <c:pt idx="876">
                  <c:v>39231</c:v>
                </c:pt>
                <c:pt idx="877">
                  <c:v>39232</c:v>
                </c:pt>
                <c:pt idx="878">
                  <c:v>39233</c:v>
                </c:pt>
                <c:pt idx="879">
                  <c:v>39234</c:v>
                </c:pt>
                <c:pt idx="880">
                  <c:v>39237</c:v>
                </c:pt>
                <c:pt idx="881">
                  <c:v>39238</c:v>
                </c:pt>
                <c:pt idx="882">
                  <c:v>39239</c:v>
                </c:pt>
                <c:pt idx="883">
                  <c:v>39240</c:v>
                </c:pt>
                <c:pt idx="884">
                  <c:v>39241</c:v>
                </c:pt>
                <c:pt idx="885">
                  <c:v>39244</c:v>
                </c:pt>
                <c:pt idx="886">
                  <c:v>39245</c:v>
                </c:pt>
                <c:pt idx="887">
                  <c:v>39246</c:v>
                </c:pt>
                <c:pt idx="888">
                  <c:v>39247</c:v>
                </c:pt>
                <c:pt idx="889">
                  <c:v>39248</c:v>
                </c:pt>
                <c:pt idx="890">
                  <c:v>39251</c:v>
                </c:pt>
                <c:pt idx="891">
                  <c:v>39252</c:v>
                </c:pt>
                <c:pt idx="892">
                  <c:v>39253</c:v>
                </c:pt>
                <c:pt idx="893">
                  <c:v>39254</c:v>
                </c:pt>
                <c:pt idx="894">
                  <c:v>39255</c:v>
                </c:pt>
                <c:pt idx="895">
                  <c:v>39258</c:v>
                </c:pt>
                <c:pt idx="896">
                  <c:v>39259</c:v>
                </c:pt>
                <c:pt idx="897">
                  <c:v>39260</c:v>
                </c:pt>
                <c:pt idx="898">
                  <c:v>39261</c:v>
                </c:pt>
                <c:pt idx="899">
                  <c:v>39262</c:v>
                </c:pt>
                <c:pt idx="900">
                  <c:v>39265</c:v>
                </c:pt>
                <c:pt idx="901">
                  <c:v>39266</c:v>
                </c:pt>
                <c:pt idx="902">
                  <c:v>39267</c:v>
                </c:pt>
                <c:pt idx="903">
                  <c:v>39268</c:v>
                </c:pt>
                <c:pt idx="904">
                  <c:v>39269</c:v>
                </c:pt>
                <c:pt idx="905">
                  <c:v>39272</c:v>
                </c:pt>
                <c:pt idx="906">
                  <c:v>39273</c:v>
                </c:pt>
                <c:pt idx="907">
                  <c:v>39274</c:v>
                </c:pt>
                <c:pt idx="908">
                  <c:v>39275</c:v>
                </c:pt>
                <c:pt idx="909">
                  <c:v>39276</c:v>
                </c:pt>
                <c:pt idx="910">
                  <c:v>39279</c:v>
                </c:pt>
                <c:pt idx="911">
                  <c:v>39280</c:v>
                </c:pt>
                <c:pt idx="912">
                  <c:v>39281</c:v>
                </c:pt>
                <c:pt idx="913">
                  <c:v>39282</c:v>
                </c:pt>
                <c:pt idx="914">
                  <c:v>39283</c:v>
                </c:pt>
                <c:pt idx="915">
                  <c:v>39286</c:v>
                </c:pt>
                <c:pt idx="916">
                  <c:v>39287</c:v>
                </c:pt>
                <c:pt idx="917">
                  <c:v>39288</c:v>
                </c:pt>
                <c:pt idx="918">
                  <c:v>39289</c:v>
                </c:pt>
                <c:pt idx="919">
                  <c:v>39290</c:v>
                </c:pt>
                <c:pt idx="920">
                  <c:v>39293</c:v>
                </c:pt>
                <c:pt idx="921">
                  <c:v>39294</c:v>
                </c:pt>
                <c:pt idx="922">
                  <c:v>39295</c:v>
                </c:pt>
                <c:pt idx="923">
                  <c:v>39296</c:v>
                </c:pt>
                <c:pt idx="924">
                  <c:v>39297</c:v>
                </c:pt>
                <c:pt idx="925">
                  <c:v>39300</c:v>
                </c:pt>
                <c:pt idx="926">
                  <c:v>39301</c:v>
                </c:pt>
                <c:pt idx="927">
                  <c:v>39302</c:v>
                </c:pt>
                <c:pt idx="928">
                  <c:v>39303</c:v>
                </c:pt>
                <c:pt idx="929">
                  <c:v>39304</c:v>
                </c:pt>
                <c:pt idx="930">
                  <c:v>39307</c:v>
                </c:pt>
                <c:pt idx="931">
                  <c:v>39308</c:v>
                </c:pt>
                <c:pt idx="932">
                  <c:v>39309</c:v>
                </c:pt>
                <c:pt idx="933">
                  <c:v>39310</c:v>
                </c:pt>
                <c:pt idx="934">
                  <c:v>39311</c:v>
                </c:pt>
                <c:pt idx="935">
                  <c:v>39314</c:v>
                </c:pt>
                <c:pt idx="936">
                  <c:v>39315</c:v>
                </c:pt>
                <c:pt idx="937">
                  <c:v>39316</c:v>
                </c:pt>
                <c:pt idx="938">
                  <c:v>39317</c:v>
                </c:pt>
                <c:pt idx="939">
                  <c:v>39318</c:v>
                </c:pt>
                <c:pt idx="940">
                  <c:v>39321</c:v>
                </c:pt>
                <c:pt idx="941">
                  <c:v>39322</c:v>
                </c:pt>
                <c:pt idx="942">
                  <c:v>39323</c:v>
                </c:pt>
                <c:pt idx="943">
                  <c:v>39324</c:v>
                </c:pt>
                <c:pt idx="944">
                  <c:v>39325</c:v>
                </c:pt>
                <c:pt idx="945">
                  <c:v>39328</c:v>
                </c:pt>
                <c:pt idx="946">
                  <c:v>39329</c:v>
                </c:pt>
                <c:pt idx="947">
                  <c:v>39330</c:v>
                </c:pt>
                <c:pt idx="948">
                  <c:v>39331</c:v>
                </c:pt>
                <c:pt idx="949">
                  <c:v>39332</c:v>
                </c:pt>
                <c:pt idx="950">
                  <c:v>39335</c:v>
                </c:pt>
                <c:pt idx="951">
                  <c:v>39336</c:v>
                </c:pt>
                <c:pt idx="952">
                  <c:v>39337</c:v>
                </c:pt>
                <c:pt idx="953">
                  <c:v>39338</c:v>
                </c:pt>
                <c:pt idx="954">
                  <c:v>39339</c:v>
                </c:pt>
                <c:pt idx="955">
                  <c:v>39342</c:v>
                </c:pt>
                <c:pt idx="956">
                  <c:v>39343</c:v>
                </c:pt>
                <c:pt idx="957">
                  <c:v>39344</c:v>
                </c:pt>
                <c:pt idx="958">
                  <c:v>39345</c:v>
                </c:pt>
                <c:pt idx="959">
                  <c:v>39346</c:v>
                </c:pt>
                <c:pt idx="960">
                  <c:v>39349</c:v>
                </c:pt>
                <c:pt idx="961">
                  <c:v>39350</c:v>
                </c:pt>
                <c:pt idx="962">
                  <c:v>39351</c:v>
                </c:pt>
                <c:pt idx="963">
                  <c:v>39352</c:v>
                </c:pt>
                <c:pt idx="964">
                  <c:v>39353</c:v>
                </c:pt>
                <c:pt idx="965">
                  <c:v>39356</c:v>
                </c:pt>
                <c:pt idx="966">
                  <c:v>39357</c:v>
                </c:pt>
                <c:pt idx="967">
                  <c:v>39358</c:v>
                </c:pt>
                <c:pt idx="968">
                  <c:v>39359</c:v>
                </c:pt>
                <c:pt idx="969">
                  <c:v>39360</c:v>
                </c:pt>
                <c:pt idx="970">
                  <c:v>39363</c:v>
                </c:pt>
                <c:pt idx="971">
                  <c:v>39364</c:v>
                </c:pt>
                <c:pt idx="972">
                  <c:v>39365</c:v>
                </c:pt>
                <c:pt idx="973">
                  <c:v>39366</c:v>
                </c:pt>
                <c:pt idx="974">
                  <c:v>39367</c:v>
                </c:pt>
                <c:pt idx="975">
                  <c:v>39370</c:v>
                </c:pt>
                <c:pt idx="976">
                  <c:v>39371</c:v>
                </c:pt>
                <c:pt idx="977">
                  <c:v>39372</c:v>
                </c:pt>
                <c:pt idx="978">
                  <c:v>39373</c:v>
                </c:pt>
                <c:pt idx="979">
                  <c:v>39374</c:v>
                </c:pt>
                <c:pt idx="980">
                  <c:v>39377</c:v>
                </c:pt>
                <c:pt idx="981">
                  <c:v>39378</c:v>
                </c:pt>
                <c:pt idx="982">
                  <c:v>39379</c:v>
                </c:pt>
                <c:pt idx="983">
                  <c:v>39380</c:v>
                </c:pt>
                <c:pt idx="984">
                  <c:v>39381</c:v>
                </c:pt>
                <c:pt idx="985">
                  <c:v>39384</c:v>
                </c:pt>
                <c:pt idx="986">
                  <c:v>39385</c:v>
                </c:pt>
                <c:pt idx="987">
                  <c:v>39386</c:v>
                </c:pt>
                <c:pt idx="988">
                  <c:v>39387</c:v>
                </c:pt>
                <c:pt idx="989">
                  <c:v>39388</c:v>
                </c:pt>
                <c:pt idx="990">
                  <c:v>39391</c:v>
                </c:pt>
                <c:pt idx="991">
                  <c:v>39392</c:v>
                </c:pt>
                <c:pt idx="992">
                  <c:v>39393</c:v>
                </c:pt>
                <c:pt idx="993">
                  <c:v>39394</c:v>
                </c:pt>
                <c:pt idx="994">
                  <c:v>39395</c:v>
                </c:pt>
                <c:pt idx="995">
                  <c:v>39398</c:v>
                </c:pt>
                <c:pt idx="996">
                  <c:v>39399</c:v>
                </c:pt>
                <c:pt idx="997">
                  <c:v>39400</c:v>
                </c:pt>
                <c:pt idx="998">
                  <c:v>39401</c:v>
                </c:pt>
                <c:pt idx="999">
                  <c:v>39402</c:v>
                </c:pt>
                <c:pt idx="1000">
                  <c:v>39405</c:v>
                </c:pt>
                <c:pt idx="1001">
                  <c:v>39406</c:v>
                </c:pt>
                <c:pt idx="1002">
                  <c:v>39407</c:v>
                </c:pt>
                <c:pt idx="1003">
                  <c:v>39408</c:v>
                </c:pt>
                <c:pt idx="1004">
                  <c:v>39409</c:v>
                </c:pt>
                <c:pt idx="1005">
                  <c:v>39412</c:v>
                </c:pt>
                <c:pt idx="1006">
                  <c:v>39413</c:v>
                </c:pt>
                <c:pt idx="1007">
                  <c:v>39414</c:v>
                </c:pt>
                <c:pt idx="1008">
                  <c:v>39415</c:v>
                </c:pt>
                <c:pt idx="1009">
                  <c:v>39416</c:v>
                </c:pt>
                <c:pt idx="1010">
                  <c:v>39419</c:v>
                </c:pt>
                <c:pt idx="1011">
                  <c:v>39420</c:v>
                </c:pt>
                <c:pt idx="1012">
                  <c:v>39421</c:v>
                </c:pt>
                <c:pt idx="1013">
                  <c:v>39422</c:v>
                </c:pt>
                <c:pt idx="1014">
                  <c:v>39423</c:v>
                </c:pt>
                <c:pt idx="1015">
                  <c:v>39426</c:v>
                </c:pt>
                <c:pt idx="1016">
                  <c:v>39427</c:v>
                </c:pt>
                <c:pt idx="1017">
                  <c:v>39428</c:v>
                </c:pt>
                <c:pt idx="1018">
                  <c:v>39429</c:v>
                </c:pt>
                <c:pt idx="1019">
                  <c:v>39430</c:v>
                </c:pt>
                <c:pt idx="1020">
                  <c:v>39433</c:v>
                </c:pt>
                <c:pt idx="1021">
                  <c:v>39434</c:v>
                </c:pt>
                <c:pt idx="1022">
                  <c:v>39435</c:v>
                </c:pt>
                <c:pt idx="1023">
                  <c:v>39436</c:v>
                </c:pt>
                <c:pt idx="1024">
                  <c:v>39437</c:v>
                </c:pt>
                <c:pt idx="1025">
                  <c:v>39440</c:v>
                </c:pt>
                <c:pt idx="1026">
                  <c:v>39441</c:v>
                </c:pt>
                <c:pt idx="1027">
                  <c:v>39442</c:v>
                </c:pt>
                <c:pt idx="1028">
                  <c:v>39443</c:v>
                </c:pt>
                <c:pt idx="1029">
                  <c:v>39444</c:v>
                </c:pt>
                <c:pt idx="1030">
                  <c:v>39447</c:v>
                </c:pt>
                <c:pt idx="1031">
                  <c:v>39448</c:v>
                </c:pt>
                <c:pt idx="1032">
                  <c:v>39449</c:v>
                </c:pt>
                <c:pt idx="1033">
                  <c:v>39450</c:v>
                </c:pt>
                <c:pt idx="1034">
                  <c:v>39451</c:v>
                </c:pt>
                <c:pt idx="1035">
                  <c:v>39454</c:v>
                </c:pt>
                <c:pt idx="1036">
                  <c:v>39455</c:v>
                </c:pt>
                <c:pt idx="1037">
                  <c:v>39456</c:v>
                </c:pt>
                <c:pt idx="1038">
                  <c:v>39457</c:v>
                </c:pt>
                <c:pt idx="1039">
                  <c:v>39458</c:v>
                </c:pt>
                <c:pt idx="1040">
                  <c:v>39461</c:v>
                </c:pt>
                <c:pt idx="1041">
                  <c:v>39462</c:v>
                </c:pt>
                <c:pt idx="1042">
                  <c:v>39463</c:v>
                </c:pt>
                <c:pt idx="1043">
                  <c:v>39464</c:v>
                </c:pt>
                <c:pt idx="1044">
                  <c:v>39465</c:v>
                </c:pt>
                <c:pt idx="1045">
                  <c:v>39468</c:v>
                </c:pt>
                <c:pt idx="1046">
                  <c:v>39469</c:v>
                </c:pt>
                <c:pt idx="1047">
                  <c:v>39470</c:v>
                </c:pt>
                <c:pt idx="1048">
                  <c:v>39471</c:v>
                </c:pt>
                <c:pt idx="1049">
                  <c:v>39472</c:v>
                </c:pt>
                <c:pt idx="1050">
                  <c:v>39475</c:v>
                </c:pt>
                <c:pt idx="1051">
                  <c:v>39476</c:v>
                </c:pt>
                <c:pt idx="1052">
                  <c:v>39477</c:v>
                </c:pt>
                <c:pt idx="1053">
                  <c:v>39478</c:v>
                </c:pt>
                <c:pt idx="1054">
                  <c:v>39479</c:v>
                </c:pt>
                <c:pt idx="1055">
                  <c:v>39482</c:v>
                </c:pt>
                <c:pt idx="1056">
                  <c:v>39483</c:v>
                </c:pt>
                <c:pt idx="1057">
                  <c:v>39484</c:v>
                </c:pt>
                <c:pt idx="1058">
                  <c:v>39485</c:v>
                </c:pt>
                <c:pt idx="1059">
                  <c:v>39486</c:v>
                </c:pt>
                <c:pt idx="1060">
                  <c:v>39489</c:v>
                </c:pt>
                <c:pt idx="1061">
                  <c:v>39490</c:v>
                </c:pt>
                <c:pt idx="1062">
                  <c:v>39491</c:v>
                </c:pt>
                <c:pt idx="1063">
                  <c:v>39492</c:v>
                </c:pt>
                <c:pt idx="1064">
                  <c:v>39493</c:v>
                </c:pt>
                <c:pt idx="1065">
                  <c:v>39496</c:v>
                </c:pt>
                <c:pt idx="1066">
                  <c:v>39497</c:v>
                </c:pt>
                <c:pt idx="1067">
                  <c:v>39498</c:v>
                </c:pt>
                <c:pt idx="1068">
                  <c:v>39499</c:v>
                </c:pt>
                <c:pt idx="1069">
                  <c:v>39500</c:v>
                </c:pt>
                <c:pt idx="1070">
                  <c:v>39503</c:v>
                </c:pt>
                <c:pt idx="1071">
                  <c:v>39504</c:v>
                </c:pt>
                <c:pt idx="1072">
                  <c:v>39505</c:v>
                </c:pt>
                <c:pt idx="1073">
                  <c:v>39506</c:v>
                </c:pt>
                <c:pt idx="1074">
                  <c:v>39507</c:v>
                </c:pt>
                <c:pt idx="1075">
                  <c:v>39510</c:v>
                </c:pt>
                <c:pt idx="1076">
                  <c:v>39511</c:v>
                </c:pt>
                <c:pt idx="1077">
                  <c:v>39512</c:v>
                </c:pt>
                <c:pt idx="1078">
                  <c:v>39513</c:v>
                </c:pt>
                <c:pt idx="1079">
                  <c:v>39514</c:v>
                </c:pt>
                <c:pt idx="1080">
                  <c:v>39517</c:v>
                </c:pt>
                <c:pt idx="1081">
                  <c:v>39518</c:v>
                </c:pt>
                <c:pt idx="1082">
                  <c:v>39519</c:v>
                </c:pt>
                <c:pt idx="1083">
                  <c:v>39520</c:v>
                </c:pt>
                <c:pt idx="1084">
                  <c:v>39521</c:v>
                </c:pt>
                <c:pt idx="1085">
                  <c:v>39524</c:v>
                </c:pt>
                <c:pt idx="1086">
                  <c:v>39525</c:v>
                </c:pt>
                <c:pt idx="1087">
                  <c:v>39526</c:v>
                </c:pt>
                <c:pt idx="1088">
                  <c:v>39527</c:v>
                </c:pt>
                <c:pt idx="1089">
                  <c:v>39528</c:v>
                </c:pt>
                <c:pt idx="1090">
                  <c:v>39531</c:v>
                </c:pt>
                <c:pt idx="1091">
                  <c:v>39532</c:v>
                </c:pt>
                <c:pt idx="1092">
                  <c:v>39533</c:v>
                </c:pt>
                <c:pt idx="1093">
                  <c:v>39534</c:v>
                </c:pt>
                <c:pt idx="1094">
                  <c:v>39535</c:v>
                </c:pt>
                <c:pt idx="1095">
                  <c:v>39538</c:v>
                </c:pt>
                <c:pt idx="1096">
                  <c:v>39539</c:v>
                </c:pt>
                <c:pt idx="1097">
                  <c:v>39540</c:v>
                </c:pt>
                <c:pt idx="1098">
                  <c:v>39541</c:v>
                </c:pt>
                <c:pt idx="1099">
                  <c:v>39542</c:v>
                </c:pt>
                <c:pt idx="1100">
                  <c:v>39545</c:v>
                </c:pt>
                <c:pt idx="1101">
                  <c:v>39546</c:v>
                </c:pt>
                <c:pt idx="1102">
                  <c:v>39547</c:v>
                </c:pt>
                <c:pt idx="1103">
                  <c:v>39548</c:v>
                </c:pt>
                <c:pt idx="1104">
                  <c:v>39549</c:v>
                </c:pt>
                <c:pt idx="1105">
                  <c:v>39552</c:v>
                </c:pt>
                <c:pt idx="1106">
                  <c:v>39553</c:v>
                </c:pt>
                <c:pt idx="1107">
                  <c:v>39554</c:v>
                </c:pt>
                <c:pt idx="1108">
                  <c:v>39555</c:v>
                </c:pt>
                <c:pt idx="1109">
                  <c:v>39556</c:v>
                </c:pt>
                <c:pt idx="1110">
                  <c:v>39559</c:v>
                </c:pt>
                <c:pt idx="1111">
                  <c:v>39560</c:v>
                </c:pt>
                <c:pt idx="1112">
                  <c:v>39561</c:v>
                </c:pt>
                <c:pt idx="1113">
                  <c:v>39562</c:v>
                </c:pt>
                <c:pt idx="1114">
                  <c:v>39563</c:v>
                </c:pt>
                <c:pt idx="1115">
                  <c:v>39566</c:v>
                </c:pt>
                <c:pt idx="1116">
                  <c:v>39567</c:v>
                </c:pt>
                <c:pt idx="1117">
                  <c:v>39568</c:v>
                </c:pt>
                <c:pt idx="1118">
                  <c:v>39569</c:v>
                </c:pt>
                <c:pt idx="1119">
                  <c:v>39570</c:v>
                </c:pt>
                <c:pt idx="1120">
                  <c:v>39573</c:v>
                </c:pt>
                <c:pt idx="1121">
                  <c:v>39574</c:v>
                </c:pt>
                <c:pt idx="1122">
                  <c:v>39575</c:v>
                </c:pt>
                <c:pt idx="1123">
                  <c:v>39576</c:v>
                </c:pt>
                <c:pt idx="1124">
                  <c:v>39577</c:v>
                </c:pt>
                <c:pt idx="1125">
                  <c:v>39580</c:v>
                </c:pt>
                <c:pt idx="1126">
                  <c:v>39581</c:v>
                </c:pt>
                <c:pt idx="1127">
                  <c:v>39582</c:v>
                </c:pt>
                <c:pt idx="1128">
                  <c:v>39583</c:v>
                </c:pt>
                <c:pt idx="1129">
                  <c:v>39584</c:v>
                </c:pt>
                <c:pt idx="1130">
                  <c:v>39587</c:v>
                </c:pt>
                <c:pt idx="1131">
                  <c:v>39588</c:v>
                </c:pt>
                <c:pt idx="1132">
                  <c:v>39589</c:v>
                </c:pt>
                <c:pt idx="1133">
                  <c:v>39590</c:v>
                </c:pt>
                <c:pt idx="1134">
                  <c:v>39591</c:v>
                </c:pt>
                <c:pt idx="1135">
                  <c:v>39594</c:v>
                </c:pt>
                <c:pt idx="1136">
                  <c:v>39595</c:v>
                </c:pt>
                <c:pt idx="1137">
                  <c:v>39596</c:v>
                </c:pt>
                <c:pt idx="1138">
                  <c:v>39597</c:v>
                </c:pt>
                <c:pt idx="1139">
                  <c:v>39598</c:v>
                </c:pt>
                <c:pt idx="1140">
                  <c:v>39601</c:v>
                </c:pt>
                <c:pt idx="1141">
                  <c:v>39602</c:v>
                </c:pt>
                <c:pt idx="1142">
                  <c:v>39603</c:v>
                </c:pt>
                <c:pt idx="1143">
                  <c:v>39604</c:v>
                </c:pt>
                <c:pt idx="1144">
                  <c:v>39605</c:v>
                </c:pt>
                <c:pt idx="1145">
                  <c:v>39608</c:v>
                </c:pt>
                <c:pt idx="1146">
                  <c:v>39609</c:v>
                </c:pt>
                <c:pt idx="1147">
                  <c:v>39610</c:v>
                </c:pt>
                <c:pt idx="1148">
                  <c:v>39611</c:v>
                </c:pt>
                <c:pt idx="1149">
                  <c:v>39612</c:v>
                </c:pt>
                <c:pt idx="1150">
                  <c:v>39615</c:v>
                </c:pt>
                <c:pt idx="1151">
                  <c:v>39616</c:v>
                </c:pt>
                <c:pt idx="1152">
                  <c:v>39617</c:v>
                </c:pt>
                <c:pt idx="1153">
                  <c:v>39618</c:v>
                </c:pt>
                <c:pt idx="1154">
                  <c:v>39619</c:v>
                </c:pt>
                <c:pt idx="1155">
                  <c:v>39622</c:v>
                </c:pt>
                <c:pt idx="1156">
                  <c:v>39623</c:v>
                </c:pt>
                <c:pt idx="1157">
                  <c:v>39624</c:v>
                </c:pt>
                <c:pt idx="1158">
                  <c:v>39625</c:v>
                </c:pt>
                <c:pt idx="1159">
                  <c:v>39626</c:v>
                </c:pt>
                <c:pt idx="1160">
                  <c:v>39629</c:v>
                </c:pt>
                <c:pt idx="1161">
                  <c:v>39630</c:v>
                </c:pt>
                <c:pt idx="1162">
                  <c:v>39631</c:v>
                </c:pt>
                <c:pt idx="1163">
                  <c:v>39632</c:v>
                </c:pt>
                <c:pt idx="1164">
                  <c:v>39633</c:v>
                </c:pt>
                <c:pt idx="1165">
                  <c:v>39636</c:v>
                </c:pt>
                <c:pt idx="1166">
                  <c:v>39637</c:v>
                </c:pt>
                <c:pt idx="1167">
                  <c:v>39638</c:v>
                </c:pt>
                <c:pt idx="1168">
                  <c:v>39639</c:v>
                </c:pt>
                <c:pt idx="1169">
                  <c:v>39640</c:v>
                </c:pt>
                <c:pt idx="1170">
                  <c:v>39643</c:v>
                </c:pt>
                <c:pt idx="1171">
                  <c:v>39644</c:v>
                </c:pt>
                <c:pt idx="1172">
                  <c:v>39645</c:v>
                </c:pt>
                <c:pt idx="1173">
                  <c:v>39646</c:v>
                </c:pt>
                <c:pt idx="1174">
                  <c:v>39647</c:v>
                </c:pt>
                <c:pt idx="1175">
                  <c:v>39650</c:v>
                </c:pt>
                <c:pt idx="1176">
                  <c:v>39651</c:v>
                </c:pt>
                <c:pt idx="1177">
                  <c:v>39652</c:v>
                </c:pt>
                <c:pt idx="1178">
                  <c:v>39653</c:v>
                </c:pt>
                <c:pt idx="1179">
                  <c:v>39654</c:v>
                </c:pt>
                <c:pt idx="1180">
                  <c:v>39657</c:v>
                </c:pt>
                <c:pt idx="1181">
                  <c:v>39658</c:v>
                </c:pt>
                <c:pt idx="1182">
                  <c:v>39659</c:v>
                </c:pt>
                <c:pt idx="1183">
                  <c:v>39660</c:v>
                </c:pt>
                <c:pt idx="1184">
                  <c:v>39661</c:v>
                </c:pt>
                <c:pt idx="1185">
                  <c:v>39664</c:v>
                </c:pt>
                <c:pt idx="1186">
                  <c:v>39665</c:v>
                </c:pt>
                <c:pt idx="1187">
                  <c:v>39666</c:v>
                </c:pt>
                <c:pt idx="1188">
                  <c:v>39667</c:v>
                </c:pt>
                <c:pt idx="1189">
                  <c:v>39668</c:v>
                </c:pt>
                <c:pt idx="1190">
                  <c:v>39671</c:v>
                </c:pt>
                <c:pt idx="1191">
                  <c:v>39672</c:v>
                </c:pt>
                <c:pt idx="1192">
                  <c:v>39673</c:v>
                </c:pt>
                <c:pt idx="1193">
                  <c:v>39674</c:v>
                </c:pt>
                <c:pt idx="1194">
                  <c:v>39675</c:v>
                </c:pt>
                <c:pt idx="1195">
                  <c:v>39678</c:v>
                </c:pt>
                <c:pt idx="1196">
                  <c:v>39679</c:v>
                </c:pt>
                <c:pt idx="1197">
                  <c:v>39680</c:v>
                </c:pt>
                <c:pt idx="1198">
                  <c:v>39681</c:v>
                </c:pt>
                <c:pt idx="1199">
                  <c:v>39682</c:v>
                </c:pt>
                <c:pt idx="1200">
                  <c:v>39685</c:v>
                </c:pt>
                <c:pt idx="1201">
                  <c:v>39686</c:v>
                </c:pt>
                <c:pt idx="1202">
                  <c:v>39687</c:v>
                </c:pt>
                <c:pt idx="1203">
                  <c:v>39688</c:v>
                </c:pt>
                <c:pt idx="1204">
                  <c:v>39689</c:v>
                </c:pt>
                <c:pt idx="1205">
                  <c:v>39692</c:v>
                </c:pt>
                <c:pt idx="1206">
                  <c:v>39693</c:v>
                </c:pt>
                <c:pt idx="1207">
                  <c:v>39694</c:v>
                </c:pt>
                <c:pt idx="1208">
                  <c:v>39695</c:v>
                </c:pt>
                <c:pt idx="1209">
                  <c:v>39696</c:v>
                </c:pt>
                <c:pt idx="1210">
                  <c:v>39699</c:v>
                </c:pt>
                <c:pt idx="1211">
                  <c:v>39700</c:v>
                </c:pt>
                <c:pt idx="1212">
                  <c:v>39701</c:v>
                </c:pt>
                <c:pt idx="1213">
                  <c:v>39702</c:v>
                </c:pt>
                <c:pt idx="1214">
                  <c:v>39703</c:v>
                </c:pt>
                <c:pt idx="1215">
                  <c:v>39706</c:v>
                </c:pt>
                <c:pt idx="1216">
                  <c:v>39707</c:v>
                </c:pt>
                <c:pt idx="1217">
                  <c:v>39708</c:v>
                </c:pt>
                <c:pt idx="1218">
                  <c:v>39709</c:v>
                </c:pt>
                <c:pt idx="1219">
                  <c:v>39710</c:v>
                </c:pt>
                <c:pt idx="1220">
                  <c:v>39713</c:v>
                </c:pt>
                <c:pt idx="1221">
                  <c:v>39714</c:v>
                </c:pt>
                <c:pt idx="1222">
                  <c:v>39715</c:v>
                </c:pt>
                <c:pt idx="1223">
                  <c:v>39716</c:v>
                </c:pt>
                <c:pt idx="1224">
                  <c:v>39717</c:v>
                </c:pt>
                <c:pt idx="1225">
                  <c:v>39720</c:v>
                </c:pt>
                <c:pt idx="1226">
                  <c:v>39721</c:v>
                </c:pt>
                <c:pt idx="1227">
                  <c:v>39722</c:v>
                </c:pt>
                <c:pt idx="1228">
                  <c:v>39723</c:v>
                </c:pt>
                <c:pt idx="1229">
                  <c:v>39724</c:v>
                </c:pt>
                <c:pt idx="1230">
                  <c:v>39727</c:v>
                </c:pt>
                <c:pt idx="1231">
                  <c:v>39728</c:v>
                </c:pt>
                <c:pt idx="1232">
                  <c:v>39729</c:v>
                </c:pt>
                <c:pt idx="1233">
                  <c:v>39730</c:v>
                </c:pt>
                <c:pt idx="1234">
                  <c:v>39731</c:v>
                </c:pt>
                <c:pt idx="1235">
                  <c:v>39734</c:v>
                </c:pt>
                <c:pt idx="1236">
                  <c:v>39735</c:v>
                </c:pt>
                <c:pt idx="1237">
                  <c:v>39736</c:v>
                </c:pt>
                <c:pt idx="1238">
                  <c:v>39737</c:v>
                </c:pt>
                <c:pt idx="1239">
                  <c:v>39738</c:v>
                </c:pt>
                <c:pt idx="1240">
                  <c:v>39741</c:v>
                </c:pt>
                <c:pt idx="1241">
                  <c:v>39742</c:v>
                </c:pt>
                <c:pt idx="1242">
                  <c:v>39743</c:v>
                </c:pt>
                <c:pt idx="1243">
                  <c:v>39744</c:v>
                </c:pt>
                <c:pt idx="1244">
                  <c:v>39745</c:v>
                </c:pt>
                <c:pt idx="1245">
                  <c:v>39748</c:v>
                </c:pt>
                <c:pt idx="1246">
                  <c:v>39749</c:v>
                </c:pt>
                <c:pt idx="1247">
                  <c:v>39750</c:v>
                </c:pt>
                <c:pt idx="1248">
                  <c:v>39751</c:v>
                </c:pt>
                <c:pt idx="1249">
                  <c:v>39752</c:v>
                </c:pt>
                <c:pt idx="1250">
                  <c:v>39755</c:v>
                </c:pt>
                <c:pt idx="1251">
                  <c:v>39756</c:v>
                </c:pt>
                <c:pt idx="1252">
                  <c:v>39757</c:v>
                </c:pt>
                <c:pt idx="1253">
                  <c:v>39758</c:v>
                </c:pt>
                <c:pt idx="1254">
                  <c:v>39759</c:v>
                </c:pt>
                <c:pt idx="1255">
                  <c:v>39762</c:v>
                </c:pt>
                <c:pt idx="1256">
                  <c:v>39763</c:v>
                </c:pt>
                <c:pt idx="1257">
                  <c:v>39764</c:v>
                </c:pt>
                <c:pt idx="1258">
                  <c:v>39765</c:v>
                </c:pt>
                <c:pt idx="1259">
                  <c:v>39766</c:v>
                </c:pt>
                <c:pt idx="1260">
                  <c:v>39769</c:v>
                </c:pt>
                <c:pt idx="1261">
                  <c:v>39770</c:v>
                </c:pt>
                <c:pt idx="1262">
                  <c:v>39771</c:v>
                </c:pt>
                <c:pt idx="1263">
                  <c:v>39772</c:v>
                </c:pt>
                <c:pt idx="1264">
                  <c:v>39773</c:v>
                </c:pt>
                <c:pt idx="1265">
                  <c:v>39776</c:v>
                </c:pt>
                <c:pt idx="1266">
                  <c:v>39777</c:v>
                </c:pt>
                <c:pt idx="1267">
                  <c:v>39778</c:v>
                </c:pt>
                <c:pt idx="1268">
                  <c:v>39779</c:v>
                </c:pt>
                <c:pt idx="1269">
                  <c:v>39780</c:v>
                </c:pt>
                <c:pt idx="1270">
                  <c:v>39783</c:v>
                </c:pt>
                <c:pt idx="1271">
                  <c:v>39784</c:v>
                </c:pt>
                <c:pt idx="1272">
                  <c:v>39785</c:v>
                </c:pt>
                <c:pt idx="1273">
                  <c:v>39786</c:v>
                </c:pt>
                <c:pt idx="1274">
                  <c:v>39787</c:v>
                </c:pt>
                <c:pt idx="1275">
                  <c:v>39790</c:v>
                </c:pt>
                <c:pt idx="1276">
                  <c:v>39791</c:v>
                </c:pt>
                <c:pt idx="1277">
                  <c:v>39792</c:v>
                </c:pt>
                <c:pt idx="1278">
                  <c:v>39793</c:v>
                </c:pt>
                <c:pt idx="1279">
                  <c:v>39794</c:v>
                </c:pt>
                <c:pt idx="1280">
                  <c:v>39797</c:v>
                </c:pt>
                <c:pt idx="1281">
                  <c:v>39798</c:v>
                </c:pt>
                <c:pt idx="1282">
                  <c:v>39799</c:v>
                </c:pt>
                <c:pt idx="1283">
                  <c:v>39800</c:v>
                </c:pt>
                <c:pt idx="1284">
                  <c:v>39801</c:v>
                </c:pt>
                <c:pt idx="1285">
                  <c:v>39804</c:v>
                </c:pt>
                <c:pt idx="1286">
                  <c:v>39805</c:v>
                </c:pt>
                <c:pt idx="1287">
                  <c:v>39806</c:v>
                </c:pt>
                <c:pt idx="1288">
                  <c:v>39807</c:v>
                </c:pt>
                <c:pt idx="1289">
                  <c:v>39808</c:v>
                </c:pt>
                <c:pt idx="1290">
                  <c:v>39811</c:v>
                </c:pt>
                <c:pt idx="1291">
                  <c:v>39812</c:v>
                </c:pt>
                <c:pt idx="1292">
                  <c:v>39813</c:v>
                </c:pt>
                <c:pt idx="1293">
                  <c:v>39814</c:v>
                </c:pt>
                <c:pt idx="1294">
                  <c:v>39815</c:v>
                </c:pt>
                <c:pt idx="1295">
                  <c:v>39818</c:v>
                </c:pt>
                <c:pt idx="1296">
                  <c:v>39819</c:v>
                </c:pt>
                <c:pt idx="1297">
                  <c:v>39820</c:v>
                </c:pt>
                <c:pt idx="1298">
                  <c:v>39821</c:v>
                </c:pt>
                <c:pt idx="1299">
                  <c:v>39822</c:v>
                </c:pt>
                <c:pt idx="1300">
                  <c:v>39825</c:v>
                </c:pt>
                <c:pt idx="1301">
                  <c:v>39826</c:v>
                </c:pt>
                <c:pt idx="1302">
                  <c:v>39827</c:v>
                </c:pt>
                <c:pt idx="1303">
                  <c:v>39828</c:v>
                </c:pt>
                <c:pt idx="1304">
                  <c:v>39829</c:v>
                </c:pt>
                <c:pt idx="1305">
                  <c:v>39832</c:v>
                </c:pt>
                <c:pt idx="1306">
                  <c:v>39833</c:v>
                </c:pt>
                <c:pt idx="1307">
                  <c:v>39834</c:v>
                </c:pt>
                <c:pt idx="1308">
                  <c:v>39835</c:v>
                </c:pt>
                <c:pt idx="1309">
                  <c:v>39836</c:v>
                </c:pt>
                <c:pt idx="1310">
                  <c:v>39839</c:v>
                </c:pt>
                <c:pt idx="1311">
                  <c:v>39840</c:v>
                </c:pt>
                <c:pt idx="1312">
                  <c:v>39841</c:v>
                </c:pt>
                <c:pt idx="1313">
                  <c:v>39842</c:v>
                </c:pt>
                <c:pt idx="1314">
                  <c:v>39843</c:v>
                </c:pt>
                <c:pt idx="1315">
                  <c:v>39846</c:v>
                </c:pt>
                <c:pt idx="1316">
                  <c:v>39847</c:v>
                </c:pt>
                <c:pt idx="1317">
                  <c:v>39848</c:v>
                </c:pt>
                <c:pt idx="1318">
                  <c:v>39849</c:v>
                </c:pt>
                <c:pt idx="1319">
                  <c:v>39850</c:v>
                </c:pt>
                <c:pt idx="1320">
                  <c:v>39853</c:v>
                </c:pt>
                <c:pt idx="1321">
                  <c:v>39854</c:v>
                </c:pt>
                <c:pt idx="1322">
                  <c:v>39855</c:v>
                </c:pt>
                <c:pt idx="1323">
                  <c:v>39856</c:v>
                </c:pt>
                <c:pt idx="1324">
                  <c:v>39857</c:v>
                </c:pt>
                <c:pt idx="1325">
                  <c:v>39860</c:v>
                </c:pt>
                <c:pt idx="1326">
                  <c:v>39861</c:v>
                </c:pt>
                <c:pt idx="1327">
                  <c:v>39862</c:v>
                </c:pt>
                <c:pt idx="1328">
                  <c:v>39863</c:v>
                </c:pt>
                <c:pt idx="1329">
                  <c:v>39864</c:v>
                </c:pt>
                <c:pt idx="1330">
                  <c:v>39867</c:v>
                </c:pt>
                <c:pt idx="1331">
                  <c:v>39868</c:v>
                </c:pt>
                <c:pt idx="1332">
                  <c:v>39869</c:v>
                </c:pt>
                <c:pt idx="1333">
                  <c:v>39870</c:v>
                </c:pt>
                <c:pt idx="1334">
                  <c:v>39871</c:v>
                </c:pt>
                <c:pt idx="1335">
                  <c:v>39874</c:v>
                </c:pt>
                <c:pt idx="1336">
                  <c:v>39875</c:v>
                </c:pt>
                <c:pt idx="1337">
                  <c:v>39876</c:v>
                </c:pt>
                <c:pt idx="1338">
                  <c:v>39877</c:v>
                </c:pt>
                <c:pt idx="1339">
                  <c:v>39878</c:v>
                </c:pt>
                <c:pt idx="1340">
                  <c:v>39881</c:v>
                </c:pt>
                <c:pt idx="1341">
                  <c:v>39882</c:v>
                </c:pt>
                <c:pt idx="1342">
                  <c:v>39883</c:v>
                </c:pt>
                <c:pt idx="1343">
                  <c:v>39884</c:v>
                </c:pt>
                <c:pt idx="1344">
                  <c:v>39885</c:v>
                </c:pt>
                <c:pt idx="1345">
                  <c:v>39888</c:v>
                </c:pt>
                <c:pt idx="1346">
                  <c:v>39889</c:v>
                </c:pt>
                <c:pt idx="1347">
                  <c:v>39890</c:v>
                </c:pt>
                <c:pt idx="1348">
                  <c:v>39891</c:v>
                </c:pt>
                <c:pt idx="1349">
                  <c:v>39892</c:v>
                </c:pt>
                <c:pt idx="1350">
                  <c:v>39895</c:v>
                </c:pt>
                <c:pt idx="1351">
                  <c:v>39896</c:v>
                </c:pt>
                <c:pt idx="1352">
                  <c:v>39897</c:v>
                </c:pt>
                <c:pt idx="1353">
                  <c:v>39898</c:v>
                </c:pt>
                <c:pt idx="1354">
                  <c:v>39899</c:v>
                </c:pt>
                <c:pt idx="1355">
                  <c:v>39902</c:v>
                </c:pt>
                <c:pt idx="1356">
                  <c:v>39903</c:v>
                </c:pt>
                <c:pt idx="1357">
                  <c:v>39904</c:v>
                </c:pt>
                <c:pt idx="1358">
                  <c:v>39905</c:v>
                </c:pt>
                <c:pt idx="1359">
                  <c:v>39906</c:v>
                </c:pt>
                <c:pt idx="1360">
                  <c:v>39909</c:v>
                </c:pt>
                <c:pt idx="1361">
                  <c:v>39910</c:v>
                </c:pt>
                <c:pt idx="1362">
                  <c:v>39911</c:v>
                </c:pt>
                <c:pt idx="1363">
                  <c:v>39912</c:v>
                </c:pt>
                <c:pt idx="1364">
                  <c:v>39913</c:v>
                </c:pt>
                <c:pt idx="1365">
                  <c:v>39916</c:v>
                </c:pt>
                <c:pt idx="1366">
                  <c:v>39917</c:v>
                </c:pt>
                <c:pt idx="1367">
                  <c:v>39918</c:v>
                </c:pt>
                <c:pt idx="1368">
                  <c:v>39919</c:v>
                </c:pt>
                <c:pt idx="1369">
                  <c:v>39920</c:v>
                </c:pt>
                <c:pt idx="1370">
                  <c:v>39923</c:v>
                </c:pt>
                <c:pt idx="1371">
                  <c:v>39924</c:v>
                </c:pt>
                <c:pt idx="1372">
                  <c:v>39925</c:v>
                </c:pt>
                <c:pt idx="1373">
                  <c:v>39926</c:v>
                </c:pt>
                <c:pt idx="1374">
                  <c:v>39927</c:v>
                </c:pt>
                <c:pt idx="1375">
                  <c:v>39930</c:v>
                </c:pt>
                <c:pt idx="1376">
                  <c:v>39931</c:v>
                </c:pt>
                <c:pt idx="1377">
                  <c:v>39932</c:v>
                </c:pt>
                <c:pt idx="1378">
                  <c:v>39933</c:v>
                </c:pt>
                <c:pt idx="1379">
                  <c:v>39934</c:v>
                </c:pt>
                <c:pt idx="1380">
                  <c:v>39937</c:v>
                </c:pt>
                <c:pt idx="1381">
                  <c:v>39938</c:v>
                </c:pt>
                <c:pt idx="1382">
                  <c:v>39939</c:v>
                </c:pt>
                <c:pt idx="1383">
                  <c:v>39940</c:v>
                </c:pt>
                <c:pt idx="1384">
                  <c:v>39941</c:v>
                </c:pt>
                <c:pt idx="1385">
                  <c:v>39944</c:v>
                </c:pt>
                <c:pt idx="1386">
                  <c:v>39945</c:v>
                </c:pt>
                <c:pt idx="1387">
                  <c:v>39946</c:v>
                </c:pt>
                <c:pt idx="1388">
                  <c:v>39947</c:v>
                </c:pt>
                <c:pt idx="1389">
                  <c:v>39948</c:v>
                </c:pt>
                <c:pt idx="1390">
                  <c:v>39951</c:v>
                </c:pt>
                <c:pt idx="1391">
                  <c:v>39952</c:v>
                </c:pt>
                <c:pt idx="1392">
                  <c:v>39953</c:v>
                </c:pt>
                <c:pt idx="1393">
                  <c:v>39954</c:v>
                </c:pt>
                <c:pt idx="1394">
                  <c:v>39955</c:v>
                </c:pt>
                <c:pt idx="1395">
                  <c:v>39958</c:v>
                </c:pt>
                <c:pt idx="1396">
                  <c:v>39959</c:v>
                </c:pt>
                <c:pt idx="1397">
                  <c:v>39960</c:v>
                </c:pt>
                <c:pt idx="1398">
                  <c:v>39961</c:v>
                </c:pt>
                <c:pt idx="1399">
                  <c:v>39962</c:v>
                </c:pt>
                <c:pt idx="1400">
                  <c:v>39965</c:v>
                </c:pt>
                <c:pt idx="1401">
                  <c:v>39966</c:v>
                </c:pt>
                <c:pt idx="1402">
                  <c:v>39967</c:v>
                </c:pt>
                <c:pt idx="1403">
                  <c:v>39968</c:v>
                </c:pt>
                <c:pt idx="1404">
                  <c:v>39969</c:v>
                </c:pt>
                <c:pt idx="1405">
                  <c:v>39972</c:v>
                </c:pt>
                <c:pt idx="1406">
                  <c:v>39973</c:v>
                </c:pt>
                <c:pt idx="1407">
                  <c:v>39974</c:v>
                </c:pt>
                <c:pt idx="1408">
                  <c:v>39975</c:v>
                </c:pt>
                <c:pt idx="1409">
                  <c:v>39976</c:v>
                </c:pt>
                <c:pt idx="1410">
                  <c:v>39979</c:v>
                </c:pt>
                <c:pt idx="1411">
                  <c:v>39980</c:v>
                </c:pt>
                <c:pt idx="1412">
                  <c:v>39981</c:v>
                </c:pt>
                <c:pt idx="1413">
                  <c:v>39982</c:v>
                </c:pt>
                <c:pt idx="1414">
                  <c:v>39983</c:v>
                </c:pt>
                <c:pt idx="1415">
                  <c:v>39986</c:v>
                </c:pt>
                <c:pt idx="1416">
                  <c:v>39987</c:v>
                </c:pt>
                <c:pt idx="1417">
                  <c:v>39988</c:v>
                </c:pt>
                <c:pt idx="1418">
                  <c:v>39989</c:v>
                </c:pt>
                <c:pt idx="1419">
                  <c:v>39990</c:v>
                </c:pt>
                <c:pt idx="1420">
                  <c:v>39993</c:v>
                </c:pt>
                <c:pt idx="1421">
                  <c:v>39994</c:v>
                </c:pt>
                <c:pt idx="1422">
                  <c:v>39995</c:v>
                </c:pt>
                <c:pt idx="1423">
                  <c:v>39996</c:v>
                </c:pt>
                <c:pt idx="1424">
                  <c:v>39997</c:v>
                </c:pt>
                <c:pt idx="1425">
                  <c:v>40000</c:v>
                </c:pt>
                <c:pt idx="1426">
                  <c:v>40001</c:v>
                </c:pt>
                <c:pt idx="1427">
                  <c:v>40002</c:v>
                </c:pt>
                <c:pt idx="1428">
                  <c:v>40003</c:v>
                </c:pt>
                <c:pt idx="1429">
                  <c:v>40004</c:v>
                </c:pt>
                <c:pt idx="1430">
                  <c:v>40007</c:v>
                </c:pt>
                <c:pt idx="1431">
                  <c:v>40008</c:v>
                </c:pt>
                <c:pt idx="1432">
                  <c:v>40009</c:v>
                </c:pt>
                <c:pt idx="1433">
                  <c:v>40010</c:v>
                </c:pt>
                <c:pt idx="1434">
                  <c:v>40011</c:v>
                </c:pt>
                <c:pt idx="1435">
                  <c:v>40014</c:v>
                </c:pt>
                <c:pt idx="1436">
                  <c:v>40015</c:v>
                </c:pt>
                <c:pt idx="1437">
                  <c:v>40016</c:v>
                </c:pt>
                <c:pt idx="1438">
                  <c:v>40017</c:v>
                </c:pt>
                <c:pt idx="1439">
                  <c:v>40018</c:v>
                </c:pt>
                <c:pt idx="1440">
                  <c:v>40021</c:v>
                </c:pt>
                <c:pt idx="1441">
                  <c:v>40022</c:v>
                </c:pt>
                <c:pt idx="1442">
                  <c:v>40023</c:v>
                </c:pt>
                <c:pt idx="1443">
                  <c:v>40024</c:v>
                </c:pt>
                <c:pt idx="1444">
                  <c:v>40025</c:v>
                </c:pt>
                <c:pt idx="1445">
                  <c:v>40028</c:v>
                </c:pt>
                <c:pt idx="1446">
                  <c:v>40029</c:v>
                </c:pt>
                <c:pt idx="1447">
                  <c:v>40030</c:v>
                </c:pt>
                <c:pt idx="1448">
                  <c:v>40031</c:v>
                </c:pt>
                <c:pt idx="1449">
                  <c:v>40032</c:v>
                </c:pt>
                <c:pt idx="1450">
                  <c:v>40035</c:v>
                </c:pt>
                <c:pt idx="1451">
                  <c:v>40036</c:v>
                </c:pt>
                <c:pt idx="1452">
                  <c:v>40037</c:v>
                </c:pt>
                <c:pt idx="1453">
                  <c:v>40038</c:v>
                </c:pt>
                <c:pt idx="1454">
                  <c:v>40039</c:v>
                </c:pt>
                <c:pt idx="1455">
                  <c:v>40042</c:v>
                </c:pt>
                <c:pt idx="1456">
                  <c:v>40043</c:v>
                </c:pt>
                <c:pt idx="1457">
                  <c:v>40044</c:v>
                </c:pt>
                <c:pt idx="1458">
                  <c:v>40045</c:v>
                </c:pt>
                <c:pt idx="1459">
                  <c:v>40046</c:v>
                </c:pt>
                <c:pt idx="1460">
                  <c:v>40049</c:v>
                </c:pt>
                <c:pt idx="1461">
                  <c:v>40050</c:v>
                </c:pt>
                <c:pt idx="1462">
                  <c:v>40051</c:v>
                </c:pt>
                <c:pt idx="1463">
                  <c:v>40052</c:v>
                </c:pt>
                <c:pt idx="1464">
                  <c:v>40053</c:v>
                </c:pt>
                <c:pt idx="1465">
                  <c:v>40056</c:v>
                </c:pt>
                <c:pt idx="1466">
                  <c:v>40057</c:v>
                </c:pt>
                <c:pt idx="1467">
                  <c:v>40058</c:v>
                </c:pt>
                <c:pt idx="1468">
                  <c:v>40059</c:v>
                </c:pt>
                <c:pt idx="1469">
                  <c:v>40060</c:v>
                </c:pt>
                <c:pt idx="1470">
                  <c:v>40063</c:v>
                </c:pt>
                <c:pt idx="1471">
                  <c:v>40064</c:v>
                </c:pt>
                <c:pt idx="1472">
                  <c:v>40065</c:v>
                </c:pt>
                <c:pt idx="1473">
                  <c:v>40066</c:v>
                </c:pt>
                <c:pt idx="1474">
                  <c:v>40067</c:v>
                </c:pt>
                <c:pt idx="1475">
                  <c:v>40070</c:v>
                </c:pt>
                <c:pt idx="1476">
                  <c:v>40071</c:v>
                </c:pt>
                <c:pt idx="1477">
                  <c:v>40072</c:v>
                </c:pt>
                <c:pt idx="1478">
                  <c:v>40073</c:v>
                </c:pt>
                <c:pt idx="1479">
                  <c:v>40074</c:v>
                </c:pt>
                <c:pt idx="1480">
                  <c:v>40077</c:v>
                </c:pt>
                <c:pt idx="1481">
                  <c:v>40078</c:v>
                </c:pt>
                <c:pt idx="1482">
                  <c:v>40079</c:v>
                </c:pt>
                <c:pt idx="1483">
                  <c:v>40080</c:v>
                </c:pt>
                <c:pt idx="1484">
                  <c:v>40081</c:v>
                </c:pt>
                <c:pt idx="1485">
                  <c:v>40084</c:v>
                </c:pt>
                <c:pt idx="1486">
                  <c:v>40085</c:v>
                </c:pt>
                <c:pt idx="1487">
                  <c:v>40086</c:v>
                </c:pt>
                <c:pt idx="1488">
                  <c:v>40087</c:v>
                </c:pt>
                <c:pt idx="1489">
                  <c:v>40088</c:v>
                </c:pt>
                <c:pt idx="1490">
                  <c:v>40091</c:v>
                </c:pt>
                <c:pt idx="1491">
                  <c:v>40092</c:v>
                </c:pt>
                <c:pt idx="1492">
                  <c:v>40093</c:v>
                </c:pt>
                <c:pt idx="1493">
                  <c:v>40094</c:v>
                </c:pt>
                <c:pt idx="1494">
                  <c:v>40095</c:v>
                </c:pt>
                <c:pt idx="1495">
                  <c:v>40098</c:v>
                </c:pt>
                <c:pt idx="1496">
                  <c:v>40099</c:v>
                </c:pt>
                <c:pt idx="1497">
                  <c:v>40100</c:v>
                </c:pt>
                <c:pt idx="1498">
                  <c:v>40101</c:v>
                </c:pt>
                <c:pt idx="1499">
                  <c:v>40102</c:v>
                </c:pt>
                <c:pt idx="1500">
                  <c:v>40105</c:v>
                </c:pt>
                <c:pt idx="1501">
                  <c:v>40106</c:v>
                </c:pt>
                <c:pt idx="1502">
                  <c:v>40107</c:v>
                </c:pt>
                <c:pt idx="1503">
                  <c:v>40108</c:v>
                </c:pt>
                <c:pt idx="1504">
                  <c:v>40109</c:v>
                </c:pt>
                <c:pt idx="1505">
                  <c:v>40112</c:v>
                </c:pt>
                <c:pt idx="1506">
                  <c:v>40113</c:v>
                </c:pt>
                <c:pt idx="1507">
                  <c:v>40114</c:v>
                </c:pt>
                <c:pt idx="1508">
                  <c:v>40115</c:v>
                </c:pt>
                <c:pt idx="1509">
                  <c:v>40116</c:v>
                </c:pt>
                <c:pt idx="1510">
                  <c:v>40119</c:v>
                </c:pt>
                <c:pt idx="1511">
                  <c:v>40120</c:v>
                </c:pt>
                <c:pt idx="1512">
                  <c:v>40121</c:v>
                </c:pt>
                <c:pt idx="1513">
                  <c:v>40122</c:v>
                </c:pt>
                <c:pt idx="1514">
                  <c:v>40123</c:v>
                </c:pt>
                <c:pt idx="1515">
                  <c:v>40126</c:v>
                </c:pt>
                <c:pt idx="1516">
                  <c:v>40127</c:v>
                </c:pt>
                <c:pt idx="1517">
                  <c:v>40128</c:v>
                </c:pt>
                <c:pt idx="1518">
                  <c:v>40129</c:v>
                </c:pt>
                <c:pt idx="1519">
                  <c:v>40130</c:v>
                </c:pt>
                <c:pt idx="1520">
                  <c:v>40133</c:v>
                </c:pt>
                <c:pt idx="1521">
                  <c:v>40134</c:v>
                </c:pt>
                <c:pt idx="1522">
                  <c:v>40135</c:v>
                </c:pt>
                <c:pt idx="1523">
                  <c:v>40136</c:v>
                </c:pt>
                <c:pt idx="1524">
                  <c:v>40137</c:v>
                </c:pt>
                <c:pt idx="1525">
                  <c:v>40140</c:v>
                </c:pt>
                <c:pt idx="1526">
                  <c:v>40141</c:v>
                </c:pt>
                <c:pt idx="1527">
                  <c:v>40142</c:v>
                </c:pt>
                <c:pt idx="1528">
                  <c:v>40143</c:v>
                </c:pt>
                <c:pt idx="1529">
                  <c:v>40144</c:v>
                </c:pt>
                <c:pt idx="1530">
                  <c:v>40147</c:v>
                </c:pt>
                <c:pt idx="1531">
                  <c:v>40148</c:v>
                </c:pt>
                <c:pt idx="1532">
                  <c:v>40149</c:v>
                </c:pt>
                <c:pt idx="1533">
                  <c:v>40150</c:v>
                </c:pt>
                <c:pt idx="1534">
                  <c:v>40151</c:v>
                </c:pt>
                <c:pt idx="1535">
                  <c:v>40154</c:v>
                </c:pt>
                <c:pt idx="1536">
                  <c:v>40155</c:v>
                </c:pt>
                <c:pt idx="1537">
                  <c:v>40156</c:v>
                </c:pt>
                <c:pt idx="1538">
                  <c:v>40157</c:v>
                </c:pt>
                <c:pt idx="1539">
                  <c:v>40158</c:v>
                </c:pt>
                <c:pt idx="1540">
                  <c:v>40161</c:v>
                </c:pt>
                <c:pt idx="1541">
                  <c:v>40162</c:v>
                </c:pt>
                <c:pt idx="1542">
                  <c:v>40163</c:v>
                </c:pt>
                <c:pt idx="1543">
                  <c:v>40164</c:v>
                </c:pt>
                <c:pt idx="1544">
                  <c:v>40165</c:v>
                </c:pt>
                <c:pt idx="1545">
                  <c:v>40168</c:v>
                </c:pt>
                <c:pt idx="1546">
                  <c:v>40169</c:v>
                </c:pt>
                <c:pt idx="1547">
                  <c:v>40170</c:v>
                </c:pt>
                <c:pt idx="1548">
                  <c:v>40171</c:v>
                </c:pt>
                <c:pt idx="1549">
                  <c:v>40172</c:v>
                </c:pt>
                <c:pt idx="1550">
                  <c:v>40175</c:v>
                </c:pt>
                <c:pt idx="1551">
                  <c:v>40176</c:v>
                </c:pt>
                <c:pt idx="1552">
                  <c:v>40177</c:v>
                </c:pt>
                <c:pt idx="1553">
                  <c:v>40178</c:v>
                </c:pt>
                <c:pt idx="1554">
                  <c:v>40179</c:v>
                </c:pt>
                <c:pt idx="1555">
                  <c:v>40182</c:v>
                </c:pt>
                <c:pt idx="1556">
                  <c:v>40183</c:v>
                </c:pt>
                <c:pt idx="1557">
                  <c:v>40184</c:v>
                </c:pt>
                <c:pt idx="1558">
                  <c:v>40185</c:v>
                </c:pt>
                <c:pt idx="1559">
                  <c:v>40186</c:v>
                </c:pt>
                <c:pt idx="1560">
                  <c:v>40189</c:v>
                </c:pt>
                <c:pt idx="1561">
                  <c:v>40190</c:v>
                </c:pt>
                <c:pt idx="1562">
                  <c:v>40191</c:v>
                </c:pt>
                <c:pt idx="1563">
                  <c:v>40192</c:v>
                </c:pt>
                <c:pt idx="1564">
                  <c:v>40193</c:v>
                </c:pt>
                <c:pt idx="1565">
                  <c:v>40196</c:v>
                </c:pt>
                <c:pt idx="1566">
                  <c:v>40197</c:v>
                </c:pt>
                <c:pt idx="1567">
                  <c:v>40198</c:v>
                </c:pt>
                <c:pt idx="1568">
                  <c:v>40199</c:v>
                </c:pt>
                <c:pt idx="1569">
                  <c:v>40200</c:v>
                </c:pt>
                <c:pt idx="1570">
                  <c:v>40203</c:v>
                </c:pt>
                <c:pt idx="1571">
                  <c:v>40204</c:v>
                </c:pt>
                <c:pt idx="1572">
                  <c:v>40205</c:v>
                </c:pt>
                <c:pt idx="1573">
                  <c:v>40206</c:v>
                </c:pt>
                <c:pt idx="1574">
                  <c:v>40207</c:v>
                </c:pt>
                <c:pt idx="1575">
                  <c:v>40210</c:v>
                </c:pt>
                <c:pt idx="1576">
                  <c:v>40211</c:v>
                </c:pt>
                <c:pt idx="1577">
                  <c:v>40212</c:v>
                </c:pt>
                <c:pt idx="1578">
                  <c:v>40213</c:v>
                </c:pt>
                <c:pt idx="1579">
                  <c:v>40214</c:v>
                </c:pt>
                <c:pt idx="1580">
                  <c:v>40217</c:v>
                </c:pt>
                <c:pt idx="1581">
                  <c:v>40218</c:v>
                </c:pt>
                <c:pt idx="1582">
                  <c:v>40219</c:v>
                </c:pt>
                <c:pt idx="1583">
                  <c:v>40220</c:v>
                </c:pt>
                <c:pt idx="1584">
                  <c:v>40221</c:v>
                </c:pt>
                <c:pt idx="1585">
                  <c:v>40224</c:v>
                </c:pt>
                <c:pt idx="1586">
                  <c:v>40225</c:v>
                </c:pt>
                <c:pt idx="1587">
                  <c:v>40226</c:v>
                </c:pt>
                <c:pt idx="1588">
                  <c:v>40227</c:v>
                </c:pt>
                <c:pt idx="1589">
                  <c:v>40228</c:v>
                </c:pt>
                <c:pt idx="1590">
                  <c:v>40231</c:v>
                </c:pt>
                <c:pt idx="1591">
                  <c:v>40232</c:v>
                </c:pt>
                <c:pt idx="1592">
                  <c:v>40233</c:v>
                </c:pt>
                <c:pt idx="1593">
                  <c:v>40234</c:v>
                </c:pt>
                <c:pt idx="1594">
                  <c:v>40235</c:v>
                </c:pt>
                <c:pt idx="1595">
                  <c:v>40238</c:v>
                </c:pt>
                <c:pt idx="1596">
                  <c:v>40239</c:v>
                </c:pt>
                <c:pt idx="1597">
                  <c:v>40240</c:v>
                </c:pt>
                <c:pt idx="1598">
                  <c:v>40241</c:v>
                </c:pt>
                <c:pt idx="1599">
                  <c:v>40242</c:v>
                </c:pt>
                <c:pt idx="1600">
                  <c:v>40245</c:v>
                </c:pt>
                <c:pt idx="1601">
                  <c:v>40246</c:v>
                </c:pt>
                <c:pt idx="1602">
                  <c:v>40247</c:v>
                </c:pt>
                <c:pt idx="1603">
                  <c:v>40248</c:v>
                </c:pt>
                <c:pt idx="1604">
                  <c:v>40249</c:v>
                </c:pt>
                <c:pt idx="1605">
                  <c:v>40252</c:v>
                </c:pt>
                <c:pt idx="1606">
                  <c:v>40253</c:v>
                </c:pt>
                <c:pt idx="1607">
                  <c:v>40254</c:v>
                </c:pt>
                <c:pt idx="1608">
                  <c:v>40255</c:v>
                </c:pt>
                <c:pt idx="1609">
                  <c:v>40256</c:v>
                </c:pt>
                <c:pt idx="1610">
                  <c:v>40259</c:v>
                </c:pt>
                <c:pt idx="1611">
                  <c:v>40260</c:v>
                </c:pt>
                <c:pt idx="1612">
                  <c:v>40261</c:v>
                </c:pt>
                <c:pt idx="1613">
                  <c:v>40262</c:v>
                </c:pt>
                <c:pt idx="1614">
                  <c:v>40263</c:v>
                </c:pt>
                <c:pt idx="1615">
                  <c:v>40266</c:v>
                </c:pt>
                <c:pt idx="1616">
                  <c:v>40267</c:v>
                </c:pt>
                <c:pt idx="1617">
                  <c:v>40268</c:v>
                </c:pt>
                <c:pt idx="1618">
                  <c:v>40269</c:v>
                </c:pt>
                <c:pt idx="1619">
                  <c:v>40270</c:v>
                </c:pt>
                <c:pt idx="1620">
                  <c:v>40273</c:v>
                </c:pt>
                <c:pt idx="1621">
                  <c:v>40274</c:v>
                </c:pt>
                <c:pt idx="1622">
                  <c:v>40275</c:v>
                </c:pt>
                <c:pt idx="1623">
                  <c:v>40276</c:v>
                </c:pt>
                <c:pt idx="1624">
                  <c:v>40277</c:v>
                </c:pt>
                <c:pt idx="1625">
                  <c:v>40280</c:v>
                </c:pt>
                <c:pt idx="1626">
                  <c:v>40281</c:v>
                </c:pt>
                <c:pt idx="1627">
                  <c:v>40282</c:v>
                </c:pt>
                <c:pt idx="1628">
                  <c:v>40283</c:v>
                </c:pt>
                <c:pt idx="1629">
                  <c:v>40284</c:v>
                </c:pt>
                <c:pt idx="1630">
                  <c:v>40287</c:v>
                </c:pt>
                <c:pt idx="1631">
                  <c:v>40288</c:v>
                </c:pt>
                <c:pt idx="1632">
                  <c:v>40289</c:v>
                </c:pt>
                <c:pt idx="1633">
                  <c:v>40290</c:v>
                </c:pt>
                <c:pt idx="1634">
                  <c:v>40291</c:v>
                </c:pt>
                <c:pt idx="1635">
                  <c:v>40294</c:v>
                </c:pt>
                <c:pt idx="1636">
                  <c:v>40295</c:v>
                </c:pt>
                <c:pt idx="1637">
                  <c:v>40296</c:v>
                </c:pt>
                <c:pt idx="1638">
                  <c:v>40297</c:v>
                </c:pt>
                <c:pt idx="1639">
                  <c:v>40298</c:v>
                </c:pt>
                <c:pt idx="1640">
                  <c:v>40301</c:v>
                </c:pt>
                <c:pt idx="1641">
                  <c:v>40302</c:v>
                </c:pt>
                <c:pt idx="1642">
                  <c:v>40303</c:v>
                </c:pt>
                <c:pt idx="1643">
                  <c:v>40304</c:v>
                </c:pt>
                <c:pt idx="1644">
                  <c:v>40305</c:v>
                </c:pt>
                <c:pt idx="1645">
                  <c:v>40308</c:v>
                </c:pt>
                <c:pt idx="1646">
                  <c:v>40309</c:v>
                </c:pt>
                <c:pt idx="1647">
                  <c:v>40310</c:v>
                </c:pt>
                <c:pt idx="1648">
                  <c:v>40311</c:v>
                </c:pt>
                <c:pt idx="1649">
                  <c:v>40312</c:v>
                </c:pt>
                <c:pt idx="1650">
                  <c:v>40315</c:v>
                </c:pt>
                <c:pt idx="1651">
                  <c:v>40316</c:v>
                </c:pt>
                <c:pt idx="1652">
                  <c:v>40317</c:v>
                </c:pt>
                <c:pt idx="1653">
                  <c:v>40318</c:v>
                </c:pt>
                <c:pt idx="1654">
                  <c:v>40319</c:v>
                </c:pt>
                <c:pt idx="1655">
                  <c:v>40322</c:v>
                </c:pt>
                <c:pt idx="1656">
                  <c:v>40323</c:v>
                </c:pt>
                <c:pt idx="1657">
                  <c:v>40324</c:v>
                </c:pt>
                <c:pt idx="1658">
                  <c:v>40325</c:v>
                </c:pt>
                <c:pt idx="1659">
                  <c:v>40326</c:v>
                </c:pt>
                <c:pt idx="1660">
                  <c:v>40329</c:v>
                </c:pt>
                <c:pt idx="1661">
                  <c:v>40330</c:v>
                </c:pt>
                <c:pt idx="1662">
                  <c:v>40331</c:v>
                </c:pt>
                <c:pt idx="1663">
                  <c:v>40332</c:v>
                </c:pt>
                <c:pt idx="1664">
                  <c:v>40333</c:v>
                </c:pt>
                <c:pt idx="1665">
                  <c:v>40336</c:v>
                </c:pt>
                <c:pt idx="1666">
                  <c:v>40337</c:v>
                </c:pt>
                <c:pt idx="1667">
                  <c:v>40338</c:v>
                </c:pt>
                <c:pt idx="1668">
                  <c:v>40339</c:v>
                </c:pt>
                <c:pt idx="1669">
                  <c:v>40340</c:v>
                </c:pt>
                <c:pt idx="1670">
                  <c:v>40343</c:v>
                </c:pt>
                <c:pt idx="1671">
                  <c:v>40344</c:v>
                </c:pt>
                <c:pt idx="1672">
                  <c:v>40345</c:v>
                </c:pt>
                <c:pt idx="1673">
                  <c:v>40346</c:v>
                </c:pt>
                <c:pt idx="1674">
                  <c:v>40347</c:v>
                </c:pt>
                <c:pt idx="1675">
                  <c:v>40350</c:v>
                </c:pt>
                <c:pt idx="1676">
                  <c:v>40351</c:v>
                </c:pt>
                <c:pt idx="1677">
                  <c:v>40352</c:v>
                </c:pt>
                <c:pt idx="1678">
                  <c:v>40353</c:v>
                </c:pt>
                <c:pt idx="1679">
                  <c:v>40354</c:v>
                </c:pt>
                <c:pt idx="1680">
                  <c:v>40357</c:v>
                </c:pt>
                <c:pt idx="1681">
                  <c:v>40358</c:v>
                </c:pt>
                <c:pt idx="1682">
                  <c:v>40359</c:v>
                </c:pt>
                <c:pt idx="1683">
                  <c:v>40360</c:v>
                </c:pt>
                <c:pt idx="1684">
                  <c:v>40361</c:v>
                </c:pt>
                <c:pt idx="1685">
                  <c:v>40364</c:v>
                </c:pt>
                <c:pt idx="1686">
                  <c:v>40365</c:v>
                </c:pt>
                <c:pt idx="1687">
                  <c:v>40366</c:v>
                </c:pt>
                <c:pt idx="1688">
                  <c:v>40367</c:v>
                </c:pt>
                <c:pt idx="1689">
                  <c:v>40368</c:v>
                </c:pt>
                <c:pt idx="1690">
                  <c:v>40371</c:v>
                </c:pt>
                <c:pt idx="1691">
                  <c:v>40372</c:v>
                </c:pt>
                <c:pt idx="1692">
                  <c:v>40373</c:v>
                </c:pt>
                <c:pt idx="1693">
                  <c:v>40374</c:v>
                </c:pt>
                <c:pt idx="1694">
                  <c:v>40375</c:v>
                </c:pt>
                <c:pt idx="1695">
                  <c:v>40378</c:v>
                </c:pt>
                <c:pt idx="1696">
                  <c:v>40379</c:v>
                </c:pt>
                <c:pt idx="1697">
                  <c:v>40380</c:v>
                </c:pt>
                <c:pt idx="1698">
                  <c:v>40381</c:v>
                </c:pt>
                <c:pt idx="1699">
                  <c:v>40382</c:v>
                </c:pt>
                <c:pt idx="1700">
                  <c:v>40385</c:v>
                </c:pt>
                <c:pt idx="1701">
                  <c:v>40386</c:v>
                </c:pt>
                <c:pt idx="1702">
                  <c:v>40387</c:v>
                </c:pt>
                <c:pt idx="1703">
                  <c:v>40388</c:v>
                </c:pt>
                <c:pt idx="1704">
                  <c:v>40389</c:v>
                </c:pt>
                <c:pt idx="1705">
                  <c:v>40392</c:v>
                </c:pt>
                <c:pt idx="1706">
                  <c:v>40393</c:v>
                </c:pt>
                <c:pt idx="1707">
                  <c:v>40394</c:v>
                </c:pt>
                <c:pt idx="1708">
                  <c:v>40395</c:v>
                </c:pt>
                <c:pt idx="1709">
                  <c:v>40396</c:v>
                </c:pt>
                <c:pt idx="1710">
                  <c:v>40399</c:v>
                </c:pt>
                <c:pt idx="1711">
                  <c:v>40400</c:v>
                </c:pt>
                <c:pt idx="1712">
                  <c:v>40401</c:v>
                </c:pt>
                <c:pt idx="1713">
                  <c:v>40402</c:v>
                </c:pt>
                <c:pt idx="1714">
                  <c:v>40403</c:v>
                </c:pt>
                <c:pt idx="1715">
                  <c:v>40406</c:v>
                </c:pt>
                <c:pt idx="1716">
                  <c:v>40407</c:v>
                </c:pt>
                <c:pt idx="1717">
                  <c:v>40408</c:v>
                </c:pt>
                <c:pt idx="1718">
                  <c:v>40409</c:v>
                </c:pt>
                <c:pt idx="1719">
                  <c:v>40410</c:v>
                </c:pt>
                <c:pt idx="1720">
                  <c:v>40413</c:v>
                </c:pt>
                <c:pt idx="1721">
                  <c:v>40414</c:v>
                </c:pt>
                <c:pt idx="1722">
                  <c:v>40415</c:v>
                </c:pt>
                <c:pt idx="1723">
                  <c:v>40416</c:v>
                </c:pt>
                <c:pt idx="1724">
                  <c:v>40417</c:v>
                </c:pt>
                <c:pt idx="1725">
                  <c:v>40420</c:v>
                </c:pt>
                <c:pt idx="1726">
                  <c:v>40421</c:v>
                </c:pt>
                <c:pt idx="1727">
                  <c:v>40422</c:v>
                </c:pt>
                <c:pt idx="1728">
                  <c:v>40423</c:v>
                </c:pt>
                <c:pt idx="1729">
                  <c:v>40424</c:v>
                </c:pt>
                <c:pt idx="1730">
                  <c:v>40427</c:v>
                </c:pt>
                <c:pt idx="1731">
                  <c:v>40428</c:v>
                </c:pt>
                <c:pt idx="1732">
                  <c:v>40429</c:v>
                </c:pt>
                <c:pt idx="1733">
                  <c:v>40430</c:v>
                </c:pt>
                <c:pt idx="1734">
                  <c:v>40431</c:v>
                </c:pt>
                <c:pt idx="1735">
                  <c:v>40434</c:v>
                </c:pt>
                <c:pt idx="1736">
                  <c:v>40435</c:v>
                </c:pt>
                <c:pt idx="1737">
                  <c:v>40436</c:v>
                </c:pt>
                <c:pt idx="1738">
                  <c:v>40437</c:v>
                </c:pt>
                <c:pt idx="1739">
                  <c:v>40438</c:v>
                </c:pt>
                <c:pt idx="1740">
                  <c:v>40441</c:v>
                </c:pt>
                <c:pt idx="1741">
                  <c:v>40442</c:v>
                </c:pt>
                <c:pt idx="1742">
                  <c:v>40443</c:v>
                </c:pt>
                <c:pt idx="1743">
                  <c:v>40444</c:v>
                </c:pt>
                <c:pt idx="1744">
                  <c:v>40445</c:v>
                </c:pt>
                <c:pt idx="1745">
                  <c:v>40448</c:v>
                </c:pt>
                <c:pt idx="1746">
                  <c:v>40449</c:v>
                </c:pt>
                <c:pt idx="1747">
                  <c:v>40450</c:v>
                </c:pt>
                <c:pt idx="1748">
                  <c:v>40451</c:v>
                </c:pt>
                <c:pt idx="1749">
                  <c:v>40452</c:v>
                </c:pt>
                <c:pt idx="1750">
                  <c:v>40455</c:v>
                </c:pt>
                <c:pt idx="1751">
                  <c:v>40456</c:v>
                </c:pt>
                <c:pt idx="1752">
                  <c:v>40457</c:v>
                </c:pt>
                <c:pt idx="1753">
                  <c:v>40458</c:v>
                </c:pt>
                <c:pt idx="1754">
                  <c:v>40459</c:v>
                </c:pt>
                <c:pt idx="1755">
                  <c:v>40462</c:v>
                </c:pt>
                <c:pt idx="1756">
                  <c:v>40463</c:v>
                </c:pt>
                <c:pt idx="1757">
                  <c:v>40464</c:v>
                </c:pt>
                <c:pt idx="1758">
                  <c:v>40465</c:v>
                </c:pt>
                <c:pt idx="1759">
                  <c:v>40466</c:v>
                </c:pt>
                <c:pt idx="1760">
                  <c:v>40469</c:v>
                </c:pt>
                <c:pt idx="1761">
                  <c:v>40470</c:v>
                </c:pt>
                <c:pt idx="1762">
                  <c:v>40471</c:v>
                </c:pt>
                <c:pt idx="1763">
                  <c:v>40472</c:v>
                </c:pt>
                <c:pt idx="1764">
                  <c:v>40473</c:v>
                </c:pt>
                <c:pt idx="1765">
                  <c:v>40476</c:v>
                </c:pt>
                <c:pt idx="1766">
                  <c:v>40477</c:v>
                </c:pt>
                <c:pt idx="1767">
                  <c:v>40478</c:v>
                </c:pt>
                <c:pt idx="1768">
                  <c:v>40479</c:v>
                </c:pt>
                <c:pt idx="1769">
                  <c:v>40480</c:v>
                </c:pt>
                <c:pt idx="1770">
                  <c:v>40483</c:v>
                </c:pt>
                <c:pt idx="1771">
                  <c:v>40484</c:v>
                </c:pt>
                <c:pt idx="1772">
                  <c:v>40485</c:v>
                </c:pt>
                <c:pt idx="1773">
                  <c:v>40486</c:v>
                </c:pt>
                <c:pt idx="1774">
                  <c:v>40487</c:v>
                </c:pt>
                <c:pt idx="1775">
                  <c:v>40490</c:v>
                </c:pt>
                <c:pt idx="1776">
                  <c:v>40491</c:v>
                </c:pt>
                <c:pt idx="1777">
                  <c:v>40492</c:v>
                </c:pt>
                <c:pt idx="1778">
                  <c:v>40493</c:v>
                </c:pt>
                <c:pt idx="1779">
                  <c:v>40494</c:v>
                </c:pt>
                <c:pt idx="1780">
                  <c:v>40497</c:v>
                </c:pt>
                <c:pt idx="1781">
                  <c:v>40498</c:v>
                </c:pt>
                <c:pt idx="1782">
                  <c:v>40499</c:v>
                </c:pt>
                <c:pt idx="1783">
                  <c:v>40500</c:v>
                </c:pt>
                <c:pt idx="1784">
                  <c:v>40501</c:v>
                </c:pt>
                <c:pt idx="1785">
                  <c:v>40504</c:v>
                </c:pt>
                <c:pt idx="1786">
                  <c:v>40505</c:v>
                </c:pt>
                <c:pt idx="1787">
                  <c:v>40506</c:v>
                </c:pt>
                <c:pt idx="1788">
                  <c:v>40507</c:v>
                </c:pt>
                <c:pt idx="1789">
                  <c:v>40508</c:v>
                </c:pt>
                <c:pt idx="1790">
                  <c:v>40511</c:v>
                </c:pt>
                <c:pt idx="1791">
                  <c:v>40512</c:v>
                </c:pt>
                <c:pt idx="1792">
                  <c:v>40513</c:v>
                </c:pt>
                <c:pt idx="1793">
                  <c:v>40514</c:v>
                </c:pt>
                <c:pt idx="1794">
                  <c:v>40515</c:v>
                </c:pt>
                <c:pt idx="1795">
                  <c:v>40518</c:v>
                </c:pt>
                <c:pt idx="1796">
                  <c:v>40519</c:v>
                </c:pt>
                <c:pt idx="1797">
                  <c:v>40520</c:v>
                </c:pt>
                <c:pt idx="1798">
                  <c:v>40521</c:v>
                </c:pt>
                <c:pt idx="1799">
                  <c:v>40522</c:v>
                </c:pt>
                <c:pt idx="1800">
                  <c:v>40525</c:v>
                </c:pt>
                <c:pt idx="1801">
                  <c:v>40526</c:v>
                </c:pt>
                <c:pt idx="1802">
                  <c:v>40527</c:v>
                </c:pt>
                <c:pt idx="1803">
                  <c:v>40528</c:v>
                </c:pt>
                <c:pt idx="1804">
                  <c:v>40529</c:v>
                </c:pt>
                <c:pt idx="1805">
                  <c:v>40532</c:v>
                </c:pt>
                <c:pt idx="1806">
                  <c:v>40533</c:v>
                </c:pt>
                <c:pt idx="1807">
                  <c:v>40534</c:v>
                </c:pt>
                <c:pt idx="1808">
                  <c:v>40535</c:v>
                </c:pt>
                <c:pt idx="1809">
                  <c:v>40536</c:v>
                </c:pt>
                <c:pt idx="1810">
                  <c:v>40539</c:v>
                </c:pt>
                <c:pt idx="1811">
                  <c:v>40540</c:v>
                </c:pt>
                <c:pt idx="1812">
                  <c:v>40541</c:v>
                </c:pt>
                <c:pt idx="1813">
                  <c:v>40542</c:v>
                </c:pt>
                <c:pt idx="1814">
                  <c:v>40543</c:v>
                </c:pt>
                <c:pt idx="1815">
                  <c:v>40546</c:v>
                </c:pt>
                <c:pt idx="1816">
                  <c:v>40547</c:v>
                </c:pt>
                <c:pt idx="1817">
                  <c:v>40548</c:v>
                </c:pt>
                <c:pt idx="1818">
                  <c:v>40549</c:v>
                </c:pt>
                <c:pt idx="1819">
                  <c:v>40550</c:v>
                </c:pt>
                <c:pt idx="1820">
                  <c:v>40553</c:v>
                </c:pt>
                <c:pt idx="1821">
                  <c:v>40554</c:v>
                </c:pt>
                <c:pt idx="1822">
                  <c:v>40555</c:v>
                </c:pt>
                <c:pt idx="1823">
                  <c:v>40556</c:v>
                </c:pt>
                <c:pt idx="1824">
                  <c:v>40557</c:v>
                </c:pt>
                <c:pt idx="1825">
                  <c:v>40560</c:v>
                </c:pt>
                <c:pt idx="1826">
                  <c:v>40561</c:v>
                </c:pt>
                <c:pt idx="1827">
                  <c:v>40562</c:v>
                </c:pt>
                <c:pt idx="1828">
                  <c:v>40563</c:v>
                </c:pt>
                <c:pt idx="1829">
                  <c:v>40564</c:v>
                </c:pt>
                <c:pt idx="1830">
                  <c:v>40567</c:v>
                </c:pt>
                <c:pt idx="1831">
                  <c:v>40568</c:v>
                </c:pt>
                <c:pt idx="1832">
                  <c:v>40569</c:v>
                </c:pt>
                <c:pt idx="1833">
                  <c:v>40570</c:v>
                </c:pt>
                <c:pt idx="1834">
                  <c:v>40571</c:v>
                </c:pt>
                <c:pt idx="1835">
                  <c:v>40574</c:v>
                </c:pt>
                <c:pt idx="1836">
                  <c:v>40575</c:v>
                </c:pt>
                <c:pt idx="1837">
                  <c:v>40576</c:v>
                </c:pt>
                <c:pt idx="1838">
                  <c:v>40577</c:v>
                </c:pt>
                <c:pt idx="1839">
                  <c:v>40578</c:v>
                </c:pt>
                <c:pt idx="1840">
                  <c:v>40581</c:v>
                </c:pt>
                <c:pt idx="1841">
                  <c:v>40582</c:v>
                </c:pt>
                <c:pt idx="1842">
                  <c:v>40583</c:v>
                </c:pt>
                <c:pt idx="1843">
                  <c:v>40584</c:v>
                </c:pt>
                <c:pt idx="1844">
                  <c:v>40585</c:v>
                </c:pt>
                <c:pt idx="1845">
                  <c:v>40588</c:v>
                </c:pt>
                <c:pt idx="1846">
                  <c:v>40589</c:v>
                </c:pt>
                <c:pt idx="1847">
                  <c:v>40590</c:v>
                </c:pt>
                <c:pt idx="1848">
                  <c:v>40591</c:v>
                </c:pt>
                <c:pt idx="1849">
                  <c:v>40592</c:v>
                </c:pt>
                <c:pt idx="1850">
                  <c:v>40595</c:v>
                </c:pt>
                <c:pt idx="1851">
                  <c:v>40596</c:v>
                </c:pt>
                <c:pt idx="1852">
                  <c:v>40597</c:v>
                </c:pt>
                <c:pt idx="1853">
                  <c:v>40598</c:v>
                </c:pt>
                <c:pt idx="1854">
                  <c:v>40599</c:v>
                </c:pt>
                <c:pt idx="1855">
                  <c:v>40602</c:v>
                </c:pt>
                <c:pt idx="1856">
                  <c:v>40603</c:v>
                </c:pt>
                <c:pt idx="1857">
                  <c:v>40604</c:v>
                </c:pt>
                <c:pt idx="1858">
                  <c:v>40605</c:v>
                </c:pt>
                <c:pt idx="1859">
                  <c:v>40606</c:v>
                </c:pt>
                <c:pt idx="1860">
                  <c:v>40609</c:v>
                </c:pt>
                <c:pt idx="1861">
                  <c:v>40610</c:v>
                </c:pt>
                <c:pt idx="1862">
                  <c:v>40611</c:v>
                </c:pt>
                <c:pt idx="1863">
                  <c:v>40612</c:v>
                </c:pt>
                <c:pt idx="1864">
                  <c:v>40613</c:v>
                </c:pt>
                <c:pt idx="1865">
                  <c:v>40616</c:v>
                </c:pt>
                <c:pt idx="1866">
                  <c:v>40617</c:v>
                </c:pt>
                <c:pt idx="1867">
                  <c:v>40618</c:v>
                </c:pt>
                <c:pt idx="1868">
                  <c:v>40619</c:v>
                </c:pt>
                <c:pt idx="1869">
                  <c:v>40620</c:v>
                </c:pt>
                <c:pt idx="1870">
                  <c:v>40623</c:v>
                </c:pt>
                <c:pt idx="1871">
                  <c:v>40624</c:v>
                </c:pt>
                <c:pt idx="1872">
                  <c:v>40625</c:v>
                </c:pt>
                <c:pt idx="1873">
                  <c:v>40626</c:v>
                </c:pt>
                <c:pt idx="1874">
                  <c:v>40627</c:v>
                </c:pt>
                <c:pt idx="1875">
                  <c:v>40630</c:v>
                </c:pt>
                <c:pt idx="1876">
                  <c:v>40631</c:v>
                </c:pt>
                <c:pt idx="1877">
                  <c:v>40632</c:v>
                </c:pt>
                <c:pt idx="1878">
                  <c:v>40633</c:v>
                </c:pt>
                <c:pt idx="1879">
                  <c:v>40634</c:v>
                </c:pt>
                <c:pt idx="1880">
                  <c:v>40637</c:v>
                </c:pt>
                <c:pt idx="1881">
                  <c:v>40638</c:v>
                </c:pt>
                <c:pt idx="1882">
                  <c:v>40639</c:v>
                </c:pt>
                <c:pt idx="1883">
                  <c:v>40640</c:v>
                </c:pt>
                <c:pt idx="1884">
                  <c:v>40641</c:v>
                </c:pt>
                <c:pt idx="1885">
                  <c:v>40644</c:v>
                </c:pt>
                <c:pt idx="1886">
                  <c:v>40645</c:v>
                </c:pt>
                <c:pt idx="1887">
                  <c:v>40646</c:v>
                </c:pt>
                <c:pt idx="1888">
                  <c:v>40647</c:v>
                </c:pt>
                <c:pt idx="1889">
                  <c:v>40648</c:v>
                </c:pt>
                <c:pt idx="1890">
                  <c:v>40651</c:v>
                </c:pt>
                <c:pt idx="1891">
                  <c:v>40652</c:v>
                </c:pt>
                <c:pt idx="1892">
                  <c:v>40653</c:v>
                </c:pt>
                <c:pt idx="1893">
                  <c:v>40654</c:v>
                </c:pt>
                <c:pt idx="1894">
                  <c:v>40655</c:v>
                </c:pt>
                <c:pt idx="1895">
                  <c:v>40658</c:v>
                </c:pt>
                <c:pt idx="1896">
                  <c:v>40659</c:v>
                </c:pt>
                <c:pt idx="1897">
                  <c:v>40660</c:v>
                </c:pt>
                <c:pt idx="1898">
                  <c:v>40661</c:v>
                </c:pt>
                <c:pt idx="1899">
                  <c:v>40662</c:v>
                </c:pt>
                <c:pt idx="1900">
                  <c:v>40665</c:v>
                </c:pt>
                <c:pt idx="1901">
                  <c:v>40666</c:v>
                </c:pt>
                <c:pt idx="1902">
                  <c:v>40667</c:v>
                </c:pt>
                <c:pt idx="1903">
                  <c:v>40668</c:v>
                </c:pt>
                <c:pt idx="1904">
                  <c:v>40669</c:v>
                </c:pt>
                <c:pt idx="1905">
                  <c:v>40672</c:v>
                </c:pt>
                <c:pt idx="1906">
                  <c:v>40673</c:v>
                </c:pt>
                <c:pt idx="1907">
                  <c:v>40674</c:v>
                </c:pt>
                <c:pt idx="1908">
                  <c:v>40675</c:v>
                </c:pt>
                <c:pt idx="1909">
                  <c:v>40676</c:v>
                </c:pt>
                <c:pt idx="1910">
                  <c:v>40679</c:v>
                </c:pt>
                <c:pt idx="1911">
                  <c:v>40680</c:v>
                </c:pt>
                <c:pt idx="1912">
                  <c:v>40681</c:v>
                </c:pt>
                <c:pt idx="1913">
                  <c:v>40682</c:v>
                </c:pt>
                <c:pt idx="1914">
                  <c:v>40683</c:v>
                </c:pt>
                <c:pt idx="1915">
                  <c:v>40686</c:v>
                </c:pt>
                <c:pt idx="1916">
                  <c:v>40687</c:v>
                </c:pt>
                <c:pt idx="1917">
                  <c:v>40688</c:v>
                </c:pt>
                <c:pt idx="1918">
                  <c:v>40689</c:v>
                </c:pt>
                <c:pt idx="1919">
                  <c:v>40690</c:v>
                </c:pt>
                <c:pt idx="1920">
                  <c:v>40693</c:v>
                </c:pt>
                <c:pt idx="1921">
                  <c:v>40694</c:v>
                </c:pt>
                <c:pt idx="1922">
                  <c:v>40695</c:v>
                </c:pt>
                <c:pt idx="1923">
                  <c:v>40696</c:v>
                </c:pt>
                <c:pt idx="1924">
                  <c:v>40697</c:v>
                </c:pt>
                <c:pt idx="1925">
                  <c:v>40700</c:v>
                </c:pt>
                <c:pt idx="1926">
                  <c:v>40701</c:v>
                </c:pt>
                <c:pt idx="1927">
                  <c:v>40702</c:v>
                </c:pt>
                <c:pt idx="1928">
                  <c:v>40703</c:v>
                </c:pt>
                <c:pt idx="1929">
                  <c:v>40704</c:v>
                </c:pt>
                <c:pt idx="1930">
                  <c:v>40707</c:v>
                </c:pt>
                <c:pt idx="1931">
                  <c:v>40708</c:v>
                </c:pt>
                <c:pt idx="1932">
                  <c:v>40709</c:v>
                </c:pt>
                <c:pt idx="1933">
                  <c:v>40710</c:v>
                </c:pt>
                <c:pt idx="1934">
                  <c:v>40711</c:v>
                </c:pt>
                <c:pt idx="1935">
                  <c:v>40714</c:v>
                </c:pt>
                <c:pt idx="1936">
                  <c:v>40715</c:v>
                </c:pt>
                <c:pt idx="1937">
                  <c:v>40716</c:v>
                </c:pt>
                <c:pt idx="1938">
                  <c:v>40717</c:v>
                </c:pt>
                <c:pt idx="1939">
                  <c:v>40718</c:v>
                </c:pt>
                <c:pt idx="1940">
                  <c:v>40721</c:v>
                </c:pt>
                <c:pt idx="1941">
                  <c:v>40722</c:v>
                </c:pt>
                <c:pt idx="1942">
                  <c:v>40723</c:v>
                </c:pt>
                <c:pt idx="1943">
                  <c:v>40724</c:v>
                </c:pt>
                <c:pt idx="1944">
                  <c:v>40725</c:v>
                </c:pt>
                <c:pt idx="1945">
                  <c:v>40728</c:v>
                </c:pt>
                <c:pt idx="1946">
                  <c:v>40729</c:v>
                </c:pt>
                <c:pt idx="1947">
                  <c:v>40730</c:v>
                </c:pt>
                <c:pt idx="1948">
                  <c:v>40731</c:v>
                </c:pt>
                <c:pt idx="1949">
                  <c:v>40732</c:v>
                </c:pt>
                <c:pt idx="1950">
                  <c:v>40735</c:v>
                </c:pt>
                <c:pt idx="1951">
                  <c:v>40736</c:v>
                </c:pt>
                <c:pt idx="1952">
                  <c:v>40737</c:v>
                </c:pt>
                <c:pt idx="1953">
                  <c:v>40738</c:v>
                </c:pt>
                <c:pt idx="1954">
                  <c:v>40739</c:v>
                </c:pt>
                <c:pt idx="1955">
                  <c:v>40742</c:v>
                </c:pt>
                <c:pt idx="1956">
                  <c:v>40743</c:v>
                </c:pt>
                <c:pt idx="1957">
                  <c:v>40744</c:v>
                </c:pt>
                <c:pt idx="1958">
                  <c:v>40745</c:v>
                </c:pt>
                <c:pt idx="1959">
                  <c:v>40746</c:v>
                </c:pt>
                <c:pt idx="1960">
                  <c:v>40749</c:v>
                </c:pt>
                <c:pt idx="1961">
                  <c:v>40750</c:v>
                </c:pt>
                <c:pt idx="1962">
                  <c:v>40751</c:v>
                </c:pt>
                <c:pt idx="1963">
                  <c:v>40752</c:v>
                </c:pt>
                <c:pt idx="1964">
                  <c:v>40753</c:v>
                </c:pt>
                <c:pt idx="1965">
                  <c:v>40756</c:v>
                </c:pt>
                <c:pt idx="1966">
                  <c:v>40757</c:v>
                </c:pt>
                <c:pt idx="1967">
                  <c:v>40758</c:v>
                </c:pt>
                <c:pt idx="1968">
                  <c:v>40759</c:v>
                </c:pt>
                <c:pt idx="1969">
                  <c:v>40760</c:v>
                </c:pt>
                <c:pt idx="1970">
                  <c:v>40763</c:v>
                </c:pt>
                <c:pt idx="1971">
                  <c:v>40764</c:v>
                </c:pt>
                <c:pt idx="1972">
                  <c:v>40765</c:v>
                </c:pt>
                <c:pt idx="1973">
                  <c:v>40766</c:v>
                </c:pt>
                <c:pt idx="1974">
                  <c:v>40767</c:v>
                </c:pt>
                <c:pt idx="1975">
                  <c:v>40770</c:v>
                </c:pt>
                <c:pt idx="1976">
                  <c:v>40771</c:v>
                </c:pt>
                <c:pt idx="1977">
                  <c:v>40772</c:v>
                </c:pt>
                <c:pt idx="1978">
                  <c:v>40773</c:v>
                </c:pt>
                <c:pt idx="1979">
                  <c:v>40774</c:v>
                </c:pt>
                <c:pt idx="1980">
                  <c:v>40777</c:v>
                </c:pt>
                <c:pt idx="1981">
                  <c:v>40778</c:v>
                </c:pt>
                <c:pt idx="1982">
                  <c:v>40779</c:v>
                </c:pt>
                <c:pt idx="1983">
                  <c:v>40780</c:v>
                </c:pt>
                <c:pt idx="1984">
                  <c:v>40781</c:v>
                </c:pt>
                <c:pt idx="1985">
                  <c:v>40784</c:v>
                </c:pt>
                <c:pt idx="1986">
                  <c:v>40785</c:v>
                </c:pt>
                <c:pt idx="1987">
                  <c:v>40786</c:v>
                </c:pt>
                <c:pt idx="1988">
                  <c:v>40787</c:v>
                </c:pt>
                <c:pt idx="1989">
                  <c:v>40788</c:v>
                </c:pt>
                <c:pt idx="1990">
                  <c:v>40791</c:v>
                </c:pt>
                <c:pt idx="1991">
                  <c:v>40792</c:v>
                </c:pt>
                <c:pt idx="1992">
                  <c:v>40793</c:v>
                </c:pt>
                <c:pt idx="1993">
                  <c:v>40794</c:v>
                </c:pt>
                <c:pt idx="1994">
                  <c:v>40795</c:v>
                </c:pt>
                <c:pt idx="1995">
                  <c:v>40798</c:v>
                </c:pt>
                <c:pt idx="1996">
                  <c:v>40799</c:v>
                </c:pt>
                <c:pt idx="1997">
                  <c:v>40800</c:v>
                </c:pt>
                <c:pt idx="1998">
                  <c:v>40801</c:v>
                </c:pt>
                <c:pt idx="1999">
                  <c:v>40802</c:v>
                </c:pt>
                <c:pt idx="2000">
                  <c:v>40805</c:v>
                </c:pt>
                <c:pt idx="2001">
                  <c:v>40806</c:v>
                </c:pt>
                <c:pt idx="2002">
                  <c:v>40807</c:v>
                </c:pt>
                <c:pt idx="2003">
                  <c:v>40808</c:v>
                </c:pt>
                <c:pt idx="2004">
                  <c:v>40809</c:v>
                </c:pt>
                <c:pt idx="2005">
                  <c:v>40812</c:v>
                </c:pt>
                <c:pt idx="2006">
                  <c:v>40813</c:v>
                </c:pt>
                <c:pt idx="2007">
                  <c:v>40814</c:v>
                </c:pt>
                <c:pt idx="2008">
                  <c:v>40815</c:v>
                </c:pt>
                <c:pt idx="2009">
                  <c:v>40816</c:v>
                </c:pt>
                <c:pt idx="2010">
                  <c:v>40819</c:v>
                </c:pt>
                <c:pt idx="2011">
                  <c:v>40820</c:v>
                </c:pt>
                <c:pt idx="2012">
                  <c:v>40821</c:v>
                </c:pt>
                <c:pt idx="2013">
                  <c:v>40822</c:v>
                </c:pt>
                <c:pt idx="2014">
                  <c:v>40823</c:v>
                </c:pt>
                <c:pt idx="2015">
                  <c:v>40826</c:v>
                </c:pt>
                <c:pt idx="2016">
                  <c:v>40827</c:v>
                </c:pt>
                <c:pt idx="2017">
                  <c:v>40828</c:v>
                </c:pt>
                <c:pt idx="2018">
                  <c:v>40829</c:v>
                </c:pt>
                <c:pt idx="2019">
                  <c:v>40830</c:v>
                </c:pt>
                <c:pt idx="2020">
                  <c:v>40833</c:v>
                </c:pt>
                <c:pt idx="2021">
                  <c:v>40834</c:v>
                </c:pt>
                <c:pt idx="2022">
                  <c:v>40835</c:v>
                </c:pt>
                <c:pt idx="2023">
                  <c:v>40836</c:v>
                </c:pt>
                <c:pt idx="2024">
                  <c:v>40837</c:v>
                </c:pt>
                <c:pt idx="2025">
                  <c:v>40840</c:v>
                </c:pt>
                <c:pt idx="2026">
                  <c:v>40841</c:v>
                </c:pt>
                <c:pt idx="2027">
                  <c:v>40842</c:v>
                </c:pt>
                <c:pt idx="2028">
                  <c:v>40843</c:v>
                </c:pt>
                <c:pt idx="2029">
                  <c:v>40844</c:v>
                </c:pt>
                <c:pt idx="2030">
                  <c:v>40847</c:v>
                </c:pt>
                <c:pt idx="2031">
                  <c:v>40848</c:v>
                </c:pt>
                <c:pt idx="2032">
                  <c:v>40849</c:v>
                </c:pt>
                <c:pt idx="2033">
                  <c:v>40850</c:v>
                </c:pt>
                <c:pt idx="2034">
                  <c:v>40851</c:v>
                </c:pt>
                <c:pt idx="2035">
                  <c:v>40854</c:v>
                </c:pt>
                <c:pt idx="2036">
                  <c:v>40855</c:v>
                </c:pt>
                <c:pt idx="2037">
                  <c:v>40856</c:v>
                </c:pt>
                <c:pt idx="2038">
                  <c:v>40857</c:v>
                </c:pt>
                <c:pt idx="2039">
                  <c:v>40858</c:v>
                </c:pt>
                <c:pt idx="2040">
                  <c:v>40861</c:v>
                </c:pt>
                <c:pt idx="2041">
                  <c:v>40862</c:v>
                </c:pt>
                <c:pt idx="2042">
                  <c:v>40863</c:v>
                </c:pt>
                <c:pt idx="2043">
                  <c:v>40864</c:v>
                </c:pt>
                <c:pt idx="2044">
                  <c:v>40865</c:v>
                </c:pt>
                <c:pt idx="2045">
                  <c:v>40868</c:v>
                </c:pt>
                <c:pt idx="2046">
                  <c:v>40869</c:v>
                </c:pt>
                <c:pt idx="2047">
                  <c:v>40870</c:v>
                </c:pt>
                <c:pt idx="2048">
                  <c:v>40871</c:v>
                </c:pt>
                <c:pt idx="2049">
                  <c:v>40872</c:v>
                </c:pt>
                <c:pt idx="2050">
                  <c:v>40875</c:v>
                </c:pt>
                <c:pt idx="2051">
                  <c:v>40876</c:v>
                </c:pt>
                <c:pt idx="2052">
                  <c:v>40877</c:v>
                </c:pt>
                <c:pt idx="2053">
                  <c:v>40878</c:v>
                </c:pt>
                <c:pt idx="2054">
                  <c:v>40879</c:v>
                </c:pt>
                <c:pt idx="2055">
                  <c:v>40882</c:v>
                </c:pt>
                <c:pt idx="2056">
                  <c:v>40883</c:v>
                </c:pt>
                <c:pt idx="2057">
                  <c:v>40884</c:v>
                </c:pt>
                <c:pt idx="2058">
                  <c:v>40885</c:v>
                </c:pt>
                <c:pt idx="2059">
                  <c:v>40886</c:v>
                </c:pt>
                <c:pt idx="2060">
                  <c:v>40889</c:v>
                </c:pt>
                <c:pt idx="2061">
                  <c:v>40890</c:v>
                </c:pt>
                <c:pt idx="2062">
                  <c:v>40891</c:v>
                </c:pt>
                <c:pt idx="2063">
                  <c:v>40892</c:v>
                </c:pt>
                <c:pt idx="2064">
                  <c:v>40893</c:v>
                </c:pt>
                <c:pt idx="2065">
                  <c:v>40896</c:v>
                </c:pt>
                <c:pt idx="2066">
                  <c:v>40897</c:v>
                </c:pt>
                <c:pt idx="2067">
                  <c:v>40898</c:v>
                </c:pt>
                <c:pt idx="2068">
                  <c:v>40899</c:v>
                </c:pt>
                <c:pt idx="2069">
                  <c:v>40900</c:v>
                </c:pt>
                <c:pt idx="2070">
                  <c:v>40903</c:v>
                </c:pt>
                <c:pt idx="2071">
                  <c:v>40904</c:v>
                </c:pt>
                <c:pt idx="2072">
                  <c:v>40905</c:v>
                </c:pt>
                <c:pt idx="2073">
                  <c:v>40906</c:v>
                </c:pt>
                <c:pt idx="2074">
                  <c:v>40907</c:v>
                </c:pt>
                <c:pt idx="2075">
                  <c:v>40910</c:v>
                </c:pt>
                <c:pt idx="2076">
                  <c:v>40911</c:v>
                </c:pt>
                <c:pt idx="2077">
                  <c:v>40912</c:v>
                </c:pt>
                <c:pt idx="2078">
                  <c:v>40913</c:v>
                </c:pt>
                <c:pt idx="2079">
                  <c:v>40914</c:v>
                </c:pt>
                <c:pt idx="2080">
                  <c:v>40917</c:v>
                </c:pt>
                <c:pt idx="2081">
                  <c:v>40918</c:v>
                </c:pt>
                <c:pt idx="2082">
                  <c:v>40919</c:v>
                </c:pt>
                <c:pt idx="2083">
                  <c:v>40920</c:v>
                </c:pt>
                <c:pt idx="2084">
                  <c:v>40921</c:v>
                </c:pt>
                <c:pt idx="2085">
                  <c:v>40924</c:v>
                </c:pt>
                <c:pt idx="2086">
                  <c:v>40925</c:v>
                </c:pt>
                <c:pt idx="2087">
                  <c:v>40926</c:v>
                </c:pt>
                <c:pt idx="2088">
                  <c:v>40927</c:v>
                </c:pt>
                <c:pt idx="2089">
                  <c:v>40928</c:v>
                </c:pt>
                <c:pt idx="2090">
                  <c:v>40931</c:v>
                </c:pt>
                <c:pt idx="2091">
                  <c:v>40932</c:v>
                </c:pt>
                <c:pt idx="2092">
                  <c:v>40933</c:v>
                </c:pt>
                <c:pt idx="2093">
                  <c:v>40934</c:v>
                </c:pt>
                <c:pt idx="2094">
                  <c:v>40935</c:v>
                </c:pt>
                <c:pt idx="2095">
                  <c:v>40938</c:v>
                </c:pt>
                <c:pt idx="2096">
                  <c:v>40939</c:v>
                </c:pt>
                <c:pt idx="2097">
                  <c:v>40940</c:v>
                </c:pt>
                <c:pt idx="2098">
                  <c:v>40941</c:v>
                </c:pt>
                <c:pt idx="2099">
                  <c:v>40942</c:v>
                </c:pt>
                <c:pt idx="2100">
                  <c:v>40945</c:v>
                </c:pt>
                <c:pt idx="2101">
                  <c:v>40946</c:v>
                </c:pt>
                <c:pt idx="2102">
                  <c:v>40947</c:v>
                </c:pt>
                <c:pt idx="2103">
                  <c:v>40948</c:v>
                </c:pt>
                <c:pt idx="2104">
                  <c:v>40949</c:v>
                </c:pt>
                <c:pt idx="2105">
                  <c:v>40952</c:v>
                </c:pt>
                <c:pt idx="2106">
                  <c:v>40953</c:v>
                </c:pt>
                <c:pt idx="2107">
                  <c:v>40954</c:v>
                </c:pt>
                <c:pt idx="2108">
                  <c:v>40955</c:v>
                </c:pt>
                <c:pt idx="2109">
                  <c:v>40956</c:v>
                </c:pt>
                <c:pt idx="2110">
                  <c:v>40959</c:v>
                </c:pt>
                <c:pt idx="2111">
                  <c:v>40960</c:v>
                </c:pt>
                <c:pt idx="2112">
                  <c:v>40961</c:v>
                </c:pt>
                <c:pt idx="2113">
                  <c:v>40962</c:v>
                </c:pt>
                <c:pt idx="2114">
                  <c:v>40963</c:v>
                </c:pt>
                <c:pt idx="2115">
                  <c:v>40966</c:v>
                </c:pt>
                <c:pt idx="2116">
                  <c:v>40967</c:v>
                </c:pt>
                <c:pt idx="2117">
                  <c:v>40968</c:v>
                </c:pt>
                <c:pt idx="2118">
                  <c:v>40969</c:v>
                </c:pt>
                <c:pt idx="2119">
                  <c:v>40970</c:v>
                </c:pt>
                <c:pt idx="2120">
                  <c:v>40973</c:v>
                </c:pt>
                <c:pt idx="2121">
                  <c:v>40974</c:v>
                </c:pt>
                <c:pt idx="2122">
                  <c:v>40975</c:v>
                </c:pt>
                <c:pt idx="2123">
                  <c:v>40976</c:v>
                </c:pt>
                <c:pt idx="2124">
                  <c:v>40977</c:v>
                </c:pt>
                <c:pt idx="2125">
                  <c:v>40980</c:v>
                </c:pt>
                <c:pt idx="2126">
                  <c:v>40981</c:v>
                </c:pt>
                <c:pt idx="2127">
                  <c:v>40982</c:v>
                </c:pt>
                <c:pt idx="2128">
                  <c:v>40983</c:v>
                </c:pt>
                <c:pt idx="2129">
                  <c:v>40984</c:v>
                </c:pt>
                <c:pt idx="2130">
                  <c:v>40987</c:v>
                </c:pt>
                <c:pt idx="2131">
                  <c:v>40988</c:v>
                </c:pt>
                <c:pt idx="2132">
                  <c:v>40989</c:v>
                </c:pt>
                <c:pt idx="2133">
                  <c:v>40990</c:v>
                </c:pt>
                <c:pt idx="2134">
                  <c:v>40991</c:v>
                </c:pt>
                <c:pt idx="2135">
                  <c:v>40994</c:v>
                </c:pt>
                <c:pt idx="2136">
                  <c:v>40995</c:v>
                </c:pt>
                <c:pt idx="2137">
                  <c:v>40996</c:v>
                </c:pt>
                <c:pt idx="2138">
                  <c:v>40997</c:v>
                </c:pt>
                <c:pt idx="2139">
                  <c:v>40998</c:v>
                </c:pt>
                <c:pt idx="2140">
                  <c:v>41001</c:v>
                </c:pt>
                <c:pt idx="2141">
                  <c:v>41002</c:v>
                </c:pt>
                <c:pt idx="2142">
                  <c:v>41003</c:v>
                </c:pt>
                <c:pt idx="2143">
                  <c:v>41004</c:v>
                </c:pt>
                <c:pt idx="2144">
                  <c:v>41005</c:v>
                </c:pt>
                <c:pt idx="2145">
                  <c:v>41008</c:v>
                </c:pt>
                <c:pt idx="2146">
                  <c:v>41009</c:v>
                </c:pt>
                <c:pt idx="2147">
                  <c:v>41010</c:v>
                </c:pt>
                <c:pt idx="2148">
                  <c:v>41011</c:v>
                </c:pt>
                <c:pt idx="2149">
                  <c:v>41012</c:v>
                </c:pt>
                <c:pt idx="2150">
                  <c:v>41015</c:v>
                </c:pt>
                <c:pt idx="2151">
                  <c:v>41016</c:v>
                </c:pt>
                <c:pt idx="2152">
                  <c:v>41017</c:v>
                </c:pt>
                <c:pt idx="2153">
                  <c:v>41018</c:v>
                </c:pt>
                <c:pt idx="2154">
                  <c:v>41019</c:v>
                </c:pt>
                <c:pt idx="2155">
                  <c:v>41022</c:v>
                </c:pt>
                <c:pt idx="2156">
                  <c:v>41023</c:v>
                </c:pt>
                <c:pt idx="2157">
                  <c:v>41024</c:v>
                </c:pt>
                <c:pt idx="2158">
                  <c:v>41025</c:v>
                </c:pt>
                <c:pt idx="2159">
                  <c:v>41026</c:v>
                </c:pt>
                <c:pt idx="2160">
                  <c:v>41029</c:v>
                </c:pt>
                <c:pt idx="2161">
                  <c:v>41030</c:v>
                </c:pt>
                <c:pt idx="2162">
                  <c:v>41031</c:v>
                </c:pt>
                <c:pt idx="2163">
                  <c:v>41032</c:v>
                </c:pt>
                <c:pt idx="2164">
                  <c:v>41033</c:v>
                </c:pt>
                <c:pt idx="2165">
                  <c:v>41036</c:v>
                </c:pt>
                <c:pt idx="2166">
                  <c:v>41037</c:v>
                </c:pt>
                <c:pt idx="2167">
                  <c:v>41038</c:v>
                </c:pt>
                <c:pt idx="2168">
                  <c:v>41039</c:v>
                </c:pt>
                <c:pt idx="2169">
                  <c:v>41040</c:v>
                </c:pt>
                <c:pt idx="2170">
                  <c:v>41043</c:v>
                </c:pt>
                <c:pt idx="2171">
                  <c:v>41044</c:v>
                </c:pt>
                <c:pt idx="2172">
                  <c:v>41045</c:v>
                </c:pt>
                <c:pt idx="2173">
                  <c:v>41046</c:v>
                </c:pt>
                <c:pt idx="2174">
                  <c:v>41047</c:v>
                </c:pt>
                <c:pt idx="2175">
                  <c:v>41050</c:v>
                </c:pt>
                <c:pt idx="2176">
                  <c:v>41051</c:v>
                </c:pt>
                <c:pt idx="2177">
                  <c:v>41052</c:v>
                </c:pt>
                <c:pt idx="2178">
                  <c:v>41053</c:v>
                </c:pt>
                <c:pt idx="2179">
                  <c:v>41054</c:v>
                </c:pt>
                <c:pt idx="2180">
                  <c:v>41057</c:v>
                </c:pt>
                <c:pt idx="2181">
                  <c:v>41058</c:v>
                </c:pt>
                <c:pt idx="2182">
                  <c:v>41059</c:v>
                </c:pt>
                <c:pt idx="2183">
                  <c:v>41060</c:v>
                </c:pt>
                <c:pt idx="2184">
                  <c:v>41061</c:v>
                </c:pt>
                <c:pt idx="2185">
                  <c:v>41064</c:v>
                </c:pt>
                <c:pt idx="2186">
                  <c:v>41065</c:v>
                </c:pt>
                <c:pt idx="2187">
                  <c:v>41066</c:v>
                </c:pt>
                <c:pt idx="2188">
                  <c:v>41067</c:v>
                </c:pt>
                <c:pt idx="2189">
                  <c:v>41068</c:v>
                </c:pt>
                <c:pt idx="2190">
                  <c:v>41071</c:v>
                </c:pt>
                <c:pt idx="2191">
                  <c:v>41072</c:v>
                </c:pt>
                <c:pt idx="2192">
                  <c:v>41073</c:v>
                </c:pt>
                <c:pt idx="2193">
                  <c:v>41074</c:v>
                </c:pt>
                <c:pt idx="2194">
                  <c:v>41075</c:v>
                </c:pt>
                <c:pt idx="2195">
                  <c:v>41078</c:v>
                </c:pt>
                <c:pt idx="2196">
                  <c:v>41079</c:v>
                </c:pt>
                <c:pt idx="2197">
                  <c:v>41080</c:v>
                </c:pt>
                <c:pt idx="2198">
                  <c:v>41081</c:v>
                </c:pt>
                <c:pt idx="2199">
                  <c:v>41082</c:v>
                </c:pt>
                <c:pt idx="2200">
                  <c:v>41085</c:v>
                </c:pt>
                <c:pt idx="2201">
                  <c:v>41086</c:v>
                </c:pt>
                <c:pt idx="2202">
                  <c:v>41087</c:v>
                </c:pt>
                <c:pt idx="2203">
                  <c:v>41088</c:v>
                </c:pt>
                <c:pt idx="2204">
                  <c:v>41089</c:v>
                </c:pt>
                <c:pt idx="2205">
                  <c:v>41092</c:v>
                </c:pt>
                <c:pt idx="2206">
                  <c:v>41093</c:v>
                </c:pt>
                <c:pt idx="2207">
                  <c:v>41094</c:v>
                </c:pt>
                <c:pt idx="2208">
                  <c:v>41095</c:v>
                </c:pt>
                <c:pt idx="2209">
                  <c:v>41096</c:v>
                </c:pt>
                <c:pt idx="2210">
                  <c:v>41099</c:v>
                </c:pt>
                <c:pt idx="2211">
                  <c:v>41100</c:v>
                </c:pt>
                <c:pt idx="2212">
                  <c:v>41101</c:v>
                </c:pt>
                <c:pt idx="2213">
                  <c:v>41102</c:v>
                </c:pt>
                <c:pt idx="2214">
                  <c:v>41103</c:v>
                </c:pt>
                <c:pt idx="2215">
                  <c:v>41106</c:v>
                </c:pt>
                <c:pt idx="2216">
                  <c:v>41107</c:v>
                </c:pt>
                <c:pt idx="2217">
                  <c:v>41108</c:v>
                </c:pt>
                <c:pt idx="2218">
                  <c:v>41109</c:v>
                </c:pt>
                <c:pt idx="2219">
                  <c:v>41110</c:v>
                </c:pt>
                <c:pt idx="2220">
                  <c:v>41113</c:v>
                </c:pt>
                <c:pt idx="2221">
                  <c:v>41114</c:v>
                </c:pt>
                <c:pt idx="2222">
                  <c:v>41115</c:v>
                </c:pt>
                <c:pt idx="2223">
                  <c:v>41116</c:v>
                </c:pt>
                <c:pt idx="2224">
                  <c:v>41117</c:v>
                </c:pt>
                <c:pt idx="2225">
                  <c:v>41120</c:v>
                </c:pt>
                <c:pt idx="2226">
                  <c:v>41121</c:v>
                </c:pt>
                <c:pt idx="2227">
                  <c:v>41122</c:v>
                </c:pt>
                <c:pt idx="2228">
                  <c:v>41123</c:v>
                </c:pt>
                <c:pt idx="2229">
                  <c:v>41124</c:v>
                </c:pt>
                <c:pt idx="2230">
                  <c:v>41127</c:v>
                </c:pt>
                <c:pt idx="2231">
                  <c:v>41128</c:v>
                </c:pt>
                <c:pt idx="2232">
                  <c:v>41129</c:v>
                </c:pt>
                <c:pt idx="2233">
                  <c:v>41130</c:v>
                </c:pt>
                <c:pt idx="2234">
                  <c:v>41131</c:v>
                </c:pt>
                <c:pt idx="2235">
                  <c:v>41134</c:v>
                </c:pt>
                <c:pt idx="2236">
                  <c:v>41135</c:v>
                </c:pt>
                <c:pt idx="2237">
                  <c:v>41136</c:v>
                </c:pt>
                <c:pt idx="2238">
                  <c:v>41137</c:v>
                </c:pt>
                <c:pt idx="2239">
                  <c:v>41138</c:v>
                </c:pt>
                <c:pt idx="2240">
                  <c:v>41141</c:v>
                </c:pt>
                <c:pt idx="2241">
                  <c:v>41142</c:v>
                </c:pt>
                <c:pt idx="2242">
                  <c:v>41143</c:v>
                </c:pt>
                <c:pt idx="2243">
                  <c:v>41144</c:v>
                </c:pt>
                <c:pt idx="2244">
                  <c:v>41145</c:v>
                </c:pt>
                <c:pt idx="2245">
                  <c:v>41148</c:v>
                </c:pt>
                <c:pt idx="2246">
                  <c:v>41149</c:v>
                </c:pt>
                <c:pt idx="2247">
                  <c:v>41150</c:v>
                </c:pt>
                <c:pt idx="2248">
                  <c:v>41151</c:v>
                </c:pt>
                <c:pt idx="2249">
                  <c:v>41152</c:v>
                </c:pt>
                <c:pt idx="2250">
                  <c:v>41155</c:v>
                </c:pt>
                <c:pt idx="2251">
                  <c:v>41156</c:v>
                </c:pt>
                <c:pt idx="2252">
                  <c:v>41157</c:v>
                </c:pt>
                <c:pt idx="2253">
                  <c:v>41158</c:v>
                </c:pt>
                <c:pt idx="2254">
                  <c:v>41159</c:v>
                </c:pt>
                <c:pt idx="2255">
                  <c:v>41162</c:v>
                </c:pt>
                <c:pt idx="2256">
                  <c:v>41163</c:v>
                </c:pt>
                <c:pt idx="2257">
                  <c:v>41164</c:v>
                </c:pt>
                <c:pt idx="2258">
                  <c:v>41165</c:v>
                </c:pt>
                <c:pt idx="2259">
                  <c:v>41166</c:v>
                </c:pt>
                <c:pt idx="2260">
                  <c:v>41169</c:v>
                </c:pt>
                <c:pt idx="2261">
                  <c:v>41170</c:v>
                </c:pt>
                <c:pt idx="2262">
                  <c:v>41171</c:v>
                </c:pt>
                <c:pt idx="2263">
                  <c:v>41172</c:v>
                </c:pt>
                <c:pt idx="2264">
                  <c:v>41173</c:v>
                </c:pt>
                <c:pt idx="2265">
                  <c:v>41176</c:v>
                </c:pt>
                <c:pt idx="2266">
                  <c:v>41177</c:v>
                </c:pt>
                <c:pt idx="2267">
                  <c:v>41178</c:v>
                </c:pt>
                <c:pt idx="2268">
                  <c:v>41179</c:v>
                </c:pt>
                <c:pt idx="2269">
                  <c:v>41180</c:v>
                </c:pt>
                <c:pt idx="2270">
                  <c:v>41183</c:v>
                </c:pt>
                <c:pt idx="2271">
                  <c:v>41184</c:v>
                </c:pt>
                <c:pt idx="2272">
                  <c:v>41185</c:v>
                </c:pt>
                <c:pt idx="2273">
                  <c:v>41186</c:v>
                </c:pt>
                <c:pt idx="2274">
                  <c:v>41187</c:v>
                </c:pt>
                <c:pt idx="2275">
                  <c:v>41190</c:v>
                </c:pt>
                <c:pt idx="2276">
                  <c:v>41191</c:v>
                </c:pt>
                <c:pt idx="2277">
                  <c:v>41192</c:v>
                </c:pt>
                <c:pt idx="2278">
                  <c:v>41193</c:v>
                </c:pt>
                <c:pt idx="2279">
                  <c:v>41194</c:v>
                </c:pt>
                <c:pt idx="2280">
                  <c:v>41197</c:v>
                </c:pt>
                <c:pt idx="2281">
                  <c:v>41198</c:v>
                </c:pt>
                <c:pt idx="2282">
                  <c:v>41199</c:v>
                </c:pt>
                <c:pt idx="2283">
                  <c:v>41200</c:v>
                </c:pt>
                <c:pt idx="2284">
                  <c:v>41201</c:v>
                </c:pt>
                <c:pt idx="2285">
                  <c:v>41204</c:v>
                </c:pt>
                <c:pt idx="2286">
                  <c:v>41205</c:v>
                </c:pt>
                <c:pt idx="2287">
                  <c:v>41206</c:v>
                </c:pt>
                <c:pt idx="2288">
                  <c:v>41207</c:v>
                </c:pt>
                <c:pt idx="2289">
                  <c:v>41208</c:v>
                </c:pt>
                <c:pt idx="2290">
                  <c:v>41211</c:v>
                </c:pt>
                <c:pt idx="2291">
                  <c:v>41212</c:v>
                </c:pt>
                <c:pt idx="2292">
                  <c:v>41213</c:v>
                </c:pt>
                <c:pt idx="2293">
                  <c:v>41214</c:v>
                </c:pt>
                <c:pt idx="2294">
                  <c:v>41215</c:v>
                </c:pt>
                <c:pt idx="2295">
                  <c:v>41218</c:v>
                </c:pt>
                <c:pt idx="2296">
                  <c:v>41219</c:v>
                </c:pt>
                <c:pt idx="2297">
                  <c:v>41220</c:v>
                </c:pt>
                <c:pt idx="2298">
                  <c:v>41221</c:v>
                </c:pt>
                <c:pt idx="2299">
                  <c:v>41222</c:v>
                </c:pt>
                <c:pt idx="2300">
                  <c:v>41225</c:v>
                </c:pt>
                <c:pt idx="2301">
                  <c:v>41226</c:v>
                </c:pt>
                <c:pt idx="2302">
                  <c:v>41227</c:v>
                </c:pt>
                <c:pt idx="2303">
                  <c:v>41228</c:v>
                </c:pt>
                <c:pt idx="2304">
                  <c:v>41229</c:v>
                </c:pt>
                <c:pt idx="2305">
                  <c:v>41232</c:v>
                </c:pt>
                <c:pt idx="2306">
                  <c:v>41233</c:v>
                </c:pt>
                <c:pt idx="2307">
                  <c:v>41234</c:v>
                </c:pt>
                <c:pt idx="2308">
                  <c:v>41235</c:v>
                </c:pt>
                <c:pt idx="2309">
                  <c:v>41236</c:v>
                </c:pt>
                <c:pt idx="2310">
                  <c:v>41239</c:v>
                </c:pt>
                <c:pt idx="2311">
                  <c:v>41240</c:v>
                </c:pt>
                <c:pt idx="2312">
                  <c:v>41241</c:v>
                </c:pt>
                <c:pt idx="2313">
                  <c:v>41242</c:v>
                </c:pt>
                <c:pt idx="2314">
                  <c:v>41243</c:v>
                </c:pt>
                <c:pt idx="2315">
                  <c:v>41246</c:v>
                </c:pt>
                <c:pt idx="2316">
                  <c:v>41247</c:v>
                </c:pt>
                <c:pt idx="2317">
                  <c:v>41248</c:v>
                </c:pt>
                <c:pt idx="2318">
                  <c:v>41249</c:v>
                </c:pt>
                <c:pt idx="2319">
                  <c:v>41250</c:v>
                </c:pt>
                <c:pt idx="2320">
                  <c:v>41253</c:v>
                </c:pt>
                <c:pt idx="2321">
                  <c:v>41254</c:v>
                </c:pt>
                <c:pt idx="2322">
                  <c:v>41255</c:v>
                </c:pt>
                <c:pt idx="2323">
                  <c:v>41256</c:v>
                </c:pt>
                <c:pt idx="2324">
                  <c:v>41257</c:v>
                </c:pt>
                <c:pt idx="2325">
                  <c:v>41260</c:v>
                </c:pt>
                <c:pt idx="2326">
                  <c:v>41261</c:v>
                </c:pt>
                <c:pt idx="2327">
                  <c:v>41262</c:v>
                </c:pt>
                <c:pt idx="2328">
                  <c:v>41263</c:v>
                </c:pt>
                <c:pt idx="2329">
                  <c:v>41264</c:v>
                </c:pt>
                <c:pt idx="2330">
                  <c:v>41267</c:v>
                </c:pt>
                <c:pt idx="2331">
                  <c:v>41268</c:v>
                </c:pt>
                <c:pt idx="2332">
                  <c:v>41269</c:v>
                </c:pt>
                <c:pt idx="2333">
                  <c:v>41270</c:v>
                </c:pt>
                <c:pt idx="2334">
                  <c:v>41271</c:v>
                </c:pt>
                <c:pt idx="2335">
                  <c:v>41274</c:v>
                </c:pt>
                <c:pt idx="2336">
                  <c:v>41275</c:v>
                </c:pt>
                <c:pt idx="2337">
                  <c:v>41276</c:v>
                </c:pt>
                <c:pt idx="2338">
                  <c:v>41277</c:v>
                </c:pt>
                <c:pt idx="2339">
                  <c:v>41278</c:v>
                </c:pt>
                <c:pt idx="2340">
                  <c:v>41281</c:v>
                </c:pt>
                <c:pt idx="2341">
                  <c:v>41282</c:v>
                </c:pt>
                <c:pt idx="2342">
                  <c:v>41283</c:v>
                </c:pt>
                <c:pt idx="2343">
                  <c:v>41284</c:v>
                </c:pt>
                <c:pt idx="2344">
                  <c:v>41285</c:v>
                </c:pt>
                <c:pt idx="2345">
                  <c:v>41288</c:v>
                </c:pt>
                <c:pt idx="2346">
                  <c:v>41289</c:v>
                </c:pt>
                <c:pt idx="2347">
                  <c:v>41290</c:v>
                </c:pt>
                <c:pt idx="2348">
                  <c:v>41291</c:v>
                </c:pt>
                <c:pt idx="2349">
                  <c:v>41292</c:v>
                </c:pt>
                <c:pt idx="2350">
                  <c:v>41295</c:v>
                </c:pt>
                <c:pt idx="2351">
                  <c:v>41296</c:v>
                </c:pt>
                <c:pt idx="2352">
                  <c:v>41297</c:v>
                </c:pt>
                <c:pt idx="2353">
                  <c:v>41298</c:v>
                </c:pt>
                <c:pt idx="2354">
                  <c:v>41299</c:v>
                </c:pt>
                <c:pt idx="2355">
                  <c:v>41302</c:v>
                </c:pt>
                <c:pt idx="2356">
                  <c:v>41303</c:v>
                </c:pt>
                <c:pt idx="2357">
                  <c:v>41304</c:v>
                </c:pt>
                <c:pt idx="2358">
                  <c:v>41305</c:v>
                </c:pt>
                <c:pt idx="2359">
                  <c:v>41306</c:v>
                </c:pt>
                <c:pt idx="2360">
                  <c:v>41309</c:v>
                </c:pt>
                <c:pt idx="2361">
                  <c:v>41310</c:v>
                </c:pt>
                <c:pt idx="2362">
                  <c:v>41311</c:v>
                </c:pt>
                <c:pt idx="2363">
                  <c:v>41312</c:v>
                </c:pt>
                <c:pt idx="2364">
                  <c:v>41313</c:v>
                </c:pt>
                <c:pt idx="2365">
                  <c:v>41316</c:v>
                </c:pt>
                <c:pt idx="2366">
                  <c:v>41317</c:v>
                </c:pt>
                <c:pt idx="2367">
                  <c:v>41318</c:v>
                </c:pt>
                <c:pt idx="2368">
                  <c:v>41319</c:v>
                </c:pt>
                <c:pt idx="2369">
                  <c:v>41320</c:v>
                </c:pt>
                <c:pt idx="2370">
                  <c:v>41323</c:v>
                </c:pt>
                <c:pt idx="2371">
                  <c:v>41324</c:v>
                </c:pt>
                <c:pt idx="2372">
                  <c:v>41325</c:v>
                </c:pt>
                <c:pt idx="2373">
                  <c:v>41326</c:v>
                </c:pt>
                <c:pt idx="2374">
                  <c:v>41327</c:v>
                </c:pt>
                <c:pt idx="2375">
                  <c:v>41330</c:v>
                </c:pt>
                <c:pt idx="2376">
                  <c:v>41331</c:v>
                </c:pt>
                <c:pt idx="2377">
                  <c:v>41332</c:v>
                </c:pt>
                <c:pt idx="2378">
                  <c:v>41333</c:v>
                </c:pt>
                <c:pt idx="2379">
                  <c:v>41334</c:v>
                </c:pt>
                <c:pt idx="2380">
                  <c:v>41337</c:v>
                </c:pt>
                <c:pt idx="2381">
                  <c:v>41338</c:v>
                </c:pt>
                <c:pt idx="2382">
                  <c:v>41339</c:v>
                </c:pt>
                <c:pt idx="2383">
                  <c:v>41340</c:v>
                </c:pt>
                <c:pt idx="2384">
                  <c:v>41341</c:v>
                </c:pt>
                <c:pt idx="2385">
                  <c:v>41344</c:v>
                </c:pt>
                <c:pt idx="2386">
                  <c:v>41345</c:v>
                </c:pt>
                <c:pt idx="2387">
                  <c:v>41346</c:v>
                </c:pt>
                <c:pt idx="2388">
                  <c:v>41347</c:v>
                </c:pt>
                <c:pt idx="2389">
                  <c:v>41348</c:v>
                </c:pt>
                <c:pt idx="2390">
                  <c:v>41351</c:v>
                </c:pt>
                <c:pt idx="2391">
                  <c:v>41352</c:v>
                </c:pt>
                <c:pt idx="2392">
                  <c:v>41353</c:v>
                </c:pt>
                <c:pt idx="2393">
                  <c:v>41354</c:v>
                </c:pt>
                <c:pt idx="2394">
                  <c:v>41355</c:v>
                </c:pt>
                <c:pt idx="2395">
                  <c:v>41358</c:v>
                </c:pt>
                <c:pt idx="2396">
                  <c:v>41359</c:v>
                </c:pt>
                <c:pt idx="2397">
                  <c:v>41360</c:v>
                </c:pt>
                <c:pt idx="2398">
                  <c:v>41361</c:v>
                </c:pt>
                <c:pt idx="2399">
                  <c:v>41362</c:v>
                </c:pt>
                <c:pt idx="2400">
                  <c:v>41365</c:v>
                </c:pt>
                <c:pt idx="2401">
                  <c:v>41366</c:v>
                </c:pt>
                <c:pt idx="2402">
                  <c:v>41367</c:v>
                </c:pt>
                <c:pt idx="2403">
                  <c:v>41368</c:v>
                </c:pt>
                <c:pt idx="2404">
                  <c:v>41369</c:v>
                </c:pt>
                <c:pt idx="2405">
                  <c:v>41372</c:v>
                </c:pt>
                <c:pt idx="2406">
                  <c:v>41373</c:v>
                </c:pt>
                <c:pt idx="2407">
                  <c:v>41374</c:v>
                </c:pt>
                <c:pt idx="2408">
                  <c:v>41375</c:v>
                </c:pt>
                <c:pt idx="2409">
                  <c:v>41376</c:v>
                </c:pt>
                <c:pt idx="2410">
                  <c:v>41379</c:v>
                </c:pt>
                <c:pt idx="2411">
                  <c:v>41380</c:v>
                </c:pt>
                <c:pt idx="2412">
                  <c:v>41381</c:v>
                </c:pt>
                <c:pt idx="2413">
                  <c:v>41382</c:v>
                </c:pt>
                <c:pt idx="2414">
                  <c:v>41383</c:v>
                </c:pt>
                <c:pt idx="2415">
                  <c:v>41386</c:v>
                </c:pt>
                <c:pt idx="2416">
                  <c:v>41387</c:v>
                </c:pt>
                <c:pt idx="2417">
                  <c:v>41388</c:v>
                </c:pt>
                <c:pt idx="2418">
                  <c:v>41389</c:v>
                </c:pt>
                <c:pt idx="2419">
                  <c:v>41390</c:v>
                </c:pt>
                <c:pt idx="2420">
                  <c:v>41393</c:v>
                </c:pt>
                <c:pt idx="2421">
                  <c:v>41394</c:v>
                </c:pt>
                <c:pt idx="2422">
                  <c:v>41395</c:v>
                </c:pt>
                <c:pt idx="2423">
                  <c:v>41396</c:v>
                </c:pt>
                <c:pt idx="2424">
                  <c:v>41397</c:v>
                </c:pt>
                <c:pt idx="2425">
                  <c:v>41400</c:v>
                </c:pt>
                <c:pt idx="2426">
                  <c:v>41401</c:v>
                </c:pt>
                <c:pt idx="2427">
                  <c:v>41402</c:v>
                </c:pt>
                <c:pt idx="2428">
                  <c:v>41403</c:v>
                </c:pt>
                <c:pt idx="2429">
                  <c:v>41404</c:v>
                </c:pt>
                <c:pt idx="2430">
                  <c:v>41407</c:v>
                </c:pt>
                <c:pt idx="2431">
                  <c:v>41408</c:v>
                </c:pt>
                <c:pt idx="2432">
                  <c:v>41409</c:v>
                </c:pt>
                <c:pt idx="2433">
                  <c:v>41410</c:v>
                </c:pt>
                <c:pt idx="2434">
                  <c:v>41411</c:v>
                </c:pt>
                <c:pt idx="2435">
                  <c:v>41414</c:v>
                </c:pt>
                <c:pt idx="2436">
                  <c:v>41415</c:v>
                </c:pt>
                <c:pt idx="2437">
                  <c:v>41416</c:v>
                </c:pt>
                <c:pt idx="2438">
                  <c:v>41417</c:v>
                </c:pt>
                <c:pt idx="2439">
                  <c:v>41418</c:v>
                </c:pt>
                <c:pt idx="2440">
                  <c:v>41421</c:v>
                </c:pt>
                <c:pt idx="2441">
                  <c:v>41422</c:v>
                </c:pt>
                <c:pt idx="2442">
                  <c:v>41423</c:v>
                </c:pt>
                <c:pt idx="2443">
                  <c:v>41424</c:v>
                </c:pt>
                <c:pt idx="2444">
                  <c:v>41425</c:v>
                </c:pt>
                <c:pt idx="2445">
                  <c:v>41428</c:v>
                </c:pt>
                <c:pt idx="2446">
                  <c:v>41429</c:v>
                </c:pt>
                <c:pt idx="2447">
                  <c:v>41430</c:v>
                </c:pt>
                <c:pt idx="2448">
                  <c:v>41431</c:v>
                </c:pt>
                <c:pt idx="2449">
                  <c:v>41432</c:v>
                </c:pt>
                <c:pt idx="2450">
                  <c:v>41435</c:v>
                </c:pt>
                <c:pt idx="2451">
                  <c:v>41436</c:v>
                </c:pt>
                <c:pt idx="2452">
                  <c:v>41437</c:v>
                </c:pt>
                <c:pt idx="2453">
                  <c:v>41438</c:v>
                </c:pt>
                <c:pt idx="2454">
                  <c:v>41439</c:v>
                </c:pt>
                <c:pt idx="2455">
                  <c:v>41442</c:v>
                </c:pt>
                <c:pt idx="2456">
                  <c:v>41443</c:v>
                </c:pt>
                <c:pt idx="2457">
                  <c:v>41444</c:v>
                </c:pt>
                <c:pt idx="2458">
                  <c:v>41445</c:v>
                </c:pt>
                <c:pt idx="2459">
                  <c:v>41446</c:v>
                </c:pt>
                <c:pt idx="2460">
                  <c:v>41449</c:v>
                </c:pt>
                <c:pt idx="2461">
                  <c:v>41450</c:v>
                </c:pt>
                <c:pt idx="2462">
                  <c:v>41451</c:v>
                </c:pt>
                <c:pt idx="2463">
                  <c:v>41452</c:v>
                </c:pt>
                <c:pt idx="2464">
                  <c:v>41453</c:v>
                </c:pt>
                <c:pt idx="2465">
                  <c:v>41456</c:v>
                </c:pt>
                <c:pt idx="2466">
                  <c:v>41457</c:v>
                </c:pt>
                <c:pt idx="2467">
                  <c:v>41458</c:v>
                </c:pt>
                <c:pt idx="2468">
                  <c:v>41459</c:v>
                </c:pt>
                <c:pt idx="2469">
                  <c:v>41460</c:v>
                </c:pt>
                <c:pt idx="2470">
                  <c:v>41463</c:v>
                </c:pt>
                <c:pt idx="2471">
                  <c:v>41464</c:v>
                </c:pt>
                <c:pt idx="2472">
                  <c:v>41465</c:v>
                </c:pt>
                <c:pt idx="2473">
                  <c:v>41466</c:v>
                </c:pt>
                <c:pt idx="2474">
                  <c:v>41467</c:v>
                </c:pt>
                <c:pt idx="2475">
                  <c:v>41470</c:v>
                </c:pt>
                <c:pt idx="2476">
                  <c:v>41471</c:v>
                </c:pt>
                <c:pt idx="2477">
                  <c:v>41472</c:v>
                </c:pt>
                <c:pt idx="2478">
                  <c:v>41473</c:v>
                </c:pt>
                <c:pt idx="2479">
                  <c:v>41474</c:v>
                </c:pt>
                <c:pt idx="2480">
                  <c:v>41477</c:v>
                </c:pt>
                <c:pt idx="2481">
                  <c:v>41478</c:v>
                </c:pt>
                <c:pt idx="2482">
                  <c:v>41479</c:v>
                </c:pt>
                <c:pt idx="2483">
                  <c:v>41480</c:v>
                </c:pt>
                <c:pt idx="2484">
                  <c:v>41481</c:v>
                </c:pt>
                <c:pt idx="2485">
                  <c:v>41484</c:v>
                </c:pt>
                <c:pt idx="2486">
                  <c:v>41485</c:v>
                </c:pt>
                <c:pt idx="2487">
                  <c:v>41486</c:v>
                </c:pt>
                <c:pt idx="2488">
                  <c:v>41487</c:v>
                </c:pt>
                <c:pt idx="2489">
                  <c:v>41488</c:v>
                </c:pt>
                <c:pt idx="2490">
                  <c:v>41491</c:v>
                </c:pt>
                <c:pt idx="2491">
                  <c:v>41492</c:v>
                </c:pt>
                <c:pt idx="2492">
                  <c:v>41493</c:v>
                </c:pt>
                <c:pt idx="2493">
                  <c:v>41494</c:v>
                </c:pt>
                <c:pt idx="2494">
                  <c:v>41495</c:v>
                </c:pt>
                <c:pt idx="2495">
                  <c:v>41498</c:v>
                </c:pt>
                <c:pt idx="2496">
                  <c:v>41499</c:v>
                </c:pt>
                <c:pt idx="2497">
                  <c:v>41500</c:v>
                </c:pt>
                <c:pt idx="2498">
                  <c:v>41501</c:v>
                </c:pt>
                <c:pt idx="2499">
                  <c:v>41502</c:v>
                </c:pt>
                <c:pt idx="2500">
                  <c:v>41505</c:v>
                </c:pt>
                <c:pt idx="2501">
                  <c:v>41506</c:v>
                </c:pt>
                <c:pt idx="2502">
                  <c:v>41507</c:v>
                </c:pt>
                <c:pt idx="2503">
                  <c:v>41508</c:v>
                </c:pt>
                <c:pt idx="2504">
                  <c:v>41509</c:v>
                </c:pt>
                <c:pt idx="2505">
                  <c:v>41512</c:v>
                </c:pt>
                <c:pt idx="2506">
                  <c:v>41513</c:v>
                </c:pt>
                <c:pt idx="2507">
                  <c:v>41514</c:v>
                </c:pt>
                <c:pt idx="2508">
                  <c:v>41515</c:v>
                </c:pt>
                <c:pt idx="2509">
                  <c:v>41516</c:v>
                </c:pt>
                <c:pt idx="2510">
                  <c:v>41519</c:v>
                </c:pt>
                <c:pt idx="2511">
                  <c:v>41520</c:v>
                </c:pt>
                <c:pt idx="2512">
                  <c:v>41521</c:v>
                </c:pt>
                <c:pt idx="2513">
                  <c:v>41522</c:v>
                </c:pt>
                <c:pt idx="2514">
                  <c:v>41523</c:v>
                </c:pt>
                <c:pt idx="2515">
                  <c:v>41526</c:v>
                </c:pt>
                <c:pt idx="2516">
                  <c:v>41527</c:v>
                </c:pt>
                <c:pt idx="2517">
                  <c:v>41528</c:v>
                </c:pt>
                <c:pt idx="2518">
                  <c:v>41529</c:v>
                </c:pt>
                <c:pt idx="2519">
                  <c:v>41530</c:v>
                </c:pt>
                <c:pt idx="2520">
                  <c:v>41533</c:v>
                </c:pt>
                <c:pt idx="2521">
                  <c:v>41534</c:v>
                </c:pt>
                <c:pt idx="2522">
                  <c:v>41535</c:v>
                </c:pt>
                <c:pt idx="2523">
                  <c:v>41536</c:v>
                </c:pt>
                <c:pt idx="2524">
                  <c:v>41537</c:v>
                </c:pt>
                <c:pt idx="2525">
                  <c:v>41540</c:v>
                </c:pt>
                <c:pt idx="2526">
                  <c:v>41541</c:v>
                </c:pt>
                <c:pt idx="2527">
                  <c:v>41542</c:v>
                </c:pt>
                <c:pt idx="2528">
                  <c:v>41543</c:v>
                </c:pt>
                <c:pt idx="2529">
                  <c:v>41544</c:v>
                </c:pt>
                <c:pt idx="2530">
                  <c:v>41547</c:v>
                </c:pt>
                <c:pt idx="2531">
                  <c:v>41548</c:v>
                </c:pt>
                <c:pt idx="2532">
                  <c:v>41549</c:v>
                </c:pt>
                <c:pt idx="2533">
                  <c:v>41550</c:v>
                </c:pt>
                <c:pt idx="2534">
                  <c:v>41551</c:v>
                </c:pt>
                <c:pt idx="2535">
                  <c:v>41554</c:v>
                </c:pt>
                <c:pt idx="2536">
                  <c:v>41555</c:v>
                </c:pt>
                <c:pt idx="2537">
                  <c:v>41556</c:v>
                </c:pt>
                <c:pt idx="2538">
                  <c:v>41557</c:v>
                </c:pt>
                <c:pt idx="2539">
                  <c:v>41558</c:v>
                </c:pt>
                <c:pt idx="2540">
                  <c:v>41561</c:v>
                </c:pt>
                <c:pt idx="2541">
                  <c:v>41562</c:v>
                </c:pt>
                <c:pt idx="2542">
                  <c:v>41563</c:v>
                </c:pt>
                <c:pt idx="2543">
                  <c:v>41564</c:v>
                </c:pt>
                <c:pt idx="2544">
                  <c:v>41565</c:v>
                </c:pt>
                <c:pt idx="2545">
                  <c:v>41568</c:v>
                </c:pt>
                <c:pt idx="2546">
                  <c:v>41569</c:v>
                </c:pt>
                <c:pt idx="2547">
                  <c:v>41570</c:v>
                </c:pt>
                <c:pt idx="2548">
                  <c:v>41571</c:v>
                </c:pt>
                <c:pt idx="2549">
                  <c:v>41572</c:v>
                </c:pt>
                <c:pt idx="2550">
                  <c:v>41575</c:v>
                </c:pt>
                <c:pt idx="2551">
                  <c:v>41576</c:v>
                </c:pt>
                <c:pt idx="2552">
                  <c:v>41577</c:v>
                </c:pt>
                <c:pt idx="2553">
                  <c:v>41578</c:v>
                </c:pt>
                <c:pt idx="2554">
                  <c:v>41579</c:v>
                </c:pt>
                <c:pt idx="2555">
                  <c:v>41582</c:v>
                </c:pt>
                <c:pt idx="2556">
                  <c:v>41583</c:v>
                </c:pt>
                <c:pt idx="2557">
                  <c:v>41584</c:v>
                </c:pt>
                <c:pt idx="2558">
                  <c:v>41585</c:v>
                </c:pt>
                <c:pt idx="2559">
                  <c:v>41586</c:v>
                </c:pt>
                <c:pt idx="2560">
                  <c:v>41589</c:v>
                </c:pt>
                <c:pt idx="2561">
                  <c:v>41590</c:v>
                </c:pt>
                <c:pt idx="2562">
                  <c:v>41591</c:v>
                </c:pt>
                <c:pt idx="2563">
                  <c:v>41592</c:v>
                </c:pt>
                <c:pt idx="2564">
                  <c:v>41593</c:v>
                </c:pt>
                <c:pt idx="2565">
                  <c:v>41596</c:v>
                </c:pt>
                <c:pt idx="2566">
                  <c:v>41597</c:v>
                </c:pt>
                <c:pt idx="2567">
                  <c:v>41598</c:v>
                </c:pt>
                <c:pt idx="2568">
                  <c:v>41599</c:v>
                </c:pt>
                <c:pt idx="2569">
                  <c:v>41600</c:v>
                </c:pt>
                <c:pt idx="2570">
                  <c:v>41603</c:v>
                </c:pt>
                <c:pt idx="2571">
                  <c:v>41604</c:v>
                </c:pt>
                <c:pt idx="2572">
                  <c:v>41605</c:v>
                </c:pt>
                <c:pt idx="2573">
                  <c:v>41606</c:v>
                </c:pt>
                <c:pt idx="2574">
                  <c:v>41607</c:v>
                </c:pt>
                <c:pt idx="2575">
                  <c:v>41610</c:v>
                </c:pt>
                <c:pt idx="2576">
                  <c:v>41611</c:v>
                </c:pt>
                <c:pt idx="2577">
                  <c:v>41612</c:v>
                </c:pt>
                <c:pt idx="2578">
                  <c:v>41613</c:v>
                </c:pt>
                <c:pt idx="2579">
                  <c:v>41614</c:v>
                </c:pt>
                <c:pt idx="2580">
                  <c:v>41617</c:v>
                </c:pt>
                <c:pt idx="2581">
                  <c:v>41618</c:v>
                </c:pt>
                <c:pt idx="2582">
                  <c:v>41619</c:v>
                </c:pt>
                <c:pt idx="2583">
                  <c:v>41620</c:v>
                </c:pt>
                <c:pt idx="2584">
                  <c:v>41621</c:v>
                </c:pt>
                <c:pt idx="2585">
                  <c:v>41624</c:v>
                </c:pt>
                <c:pt idx="2586">
                  <c:v>41625</c:v>
                </c:pt>
                <c:pt idx="2587">
                  <c:v>41626</c:v>
                </c:pt>
                <c:pt idx="2588">
                  <c:v>41627</c:v>
                </c:pt>
                <c:pt idx="2589">
                  <c:v>41628</c:v>
                </c:pt>
                <c:pt idx="2590">
                  <c:v>41631</c:v>
                </c:pt>
                <c:pt idx="2591">
                  <c:v>41632</c:v>
                </c:pt>
                <c:pt idx="2592">
                  <c:v>41633</c:v>
                </c:pt>
                <c:pt idx="2593">
                  <c:v>41634</c:v>
                </c:pt>
                <c:pt idx="2594">
                  <c:v>41635</c:v>
                </c:pt>
                <c:pt idx="2595">
                  <c:v>41638</c:v>
                </c:pt>
                <c:pt idx="2596">
                  <c:v>41639</c:v>
                </c:pt>
                <c:pt idx="2597">
                  <c:v>41640</c:v>
                </c:pt>
                <c:pt idx="2598">
                  <c:v>41641</c:v>
                </c:pt>
                <c:pt idx="2599">
                  <c:v>41642</c:v>
                </c:pt>
                <c:pt idx="2600">
                  <c:v>41645</c:v>
                </c:pt>
                <c:pt idx="2601">
                  <c:v>41646</c:v>
                </c:pt>
                <c:pt idx="2602">
                  <c:v>41647</c:v>
                </c:pt>
                <c:pt idx="2603">
                  <c:v>41648</c:v>
                </c:pt>
                <c:pt idx="2604">
                  <c:v>41649</c:v>
                </c:pt>
                <c:pt idx="2605">
                  <c:v>41652</c:v>
                </c:pt>
                <c:pt idx="2606">
                  <c:v>41653</c:v>
                </c:pt>
                <c:pt idx="2607">
                  <c:v>41654</c:v>
                </c:pt>
                <c:pt idx="2608">
                  <c:v>41655</c:v>
                </c:pt>
                <c:pt idx="2609">
                  <c:v>41656</c:v>
                </c:pt>
                <c:pt idx="2610">
                  <c:v>41659</c:v>
                </c:pt>
                <c:pt idx="2611">
                  <c:v>41660</c:v>
                </c:pt>
                <c:pt idx="2612">
                  <c:v>41661</c:v>
                </c:pt>
                <c:pt idx="2613">
                  <c:v>41662</c:v>
                </c:pt>
                <c:pt idx="2614">
                  <c:v>41663</c:v>
                </c:pt>
                <c:pt idx="2615">
                  <c:v>41666</c:v>
                </c:pt>
                <c:pt idx="2616">
                  <c:v>41667</c:v>
                </c:pt>
                <c:pt idx="2617">
                  <c:v>41668</c:v>
                </c:pt>
                <c:pt idx="2618">
                  <c:v>41669</c:v>
                </c:pt>
                <c:pt idx="2619">
                  <c:v>41670</c:v>
                </c:pt>
                <c:pt idx="2620">
                  <c:v>41673</c:v>
                </c:pt>
                <c:pt idx="2621">
                  <c:v>41674</c:v>
                </c:pt>
                <c:pt idx="2622">
                  <c:v>41675</c:v>
                </c:pt>
                <c:pt idx="2623">
                  <c:v>41676</c:v>
                </c:pt>
                <c:pt idx="2624">
                  <c:v>41677</c:v>
                </c:pt>
                <c:pt idx="2625">
                  <c:v>41680</c:v>
                </c:pt>
                <c:pt idx="2626">
                  <c:v>41681</c:v>
                </c:pt>
                <c:pt idx="2627">
                  <c:v>41682</c:v>
                </c:pt>
                <c:pt idx="2628">
                  <c:v>41683</c:v>
                </c:pt>
                <c:pt idx="2629">
                  <c:v>41684</c:v>
                </c:pt>
                <c:pt idx="2630">
                  <c:v>41687</c:v>
                </c:pt>
                <c:pt idx="2631">
                  <c:v>41688</c:v>
                </c:pt>
                <c:pt idx="2632">
                  <c:v>41689</c:v>
                </c:pt>
                <c:pt idx="2633">
                  <c:v>41690</c:v>
                </c:pt>
                <c:pt idx="2634">
                  <c:v>41691</c:v>
                </c:pt>
                <c:pt idx="2635">
                  <c:v>41694</c:v>
                </c:pt>
                <c:pt idx="2636">
                  <c:v>41695</c:v>
                </c:pt>
                <c:pt idx="2637">
                  <c:v>41696</c:v>
                </c:pt>
                <c:pt idx="2638">
                  <c:v>41697</c:v>
                </c:pt>
                <c:pt idx="2639">
                  <c:v>41698</c:v>
                </c:pt>
                <c:pt idx="2640">
                  <c:v>41701</c:v>
                </c:pt>
                <c:pt idx="2641">
                  <c:v>41702</c:v>
                </c:pt>
                <c:pt idx="2642">
                  <c:v>41703</c:v>
                </c:pt>
                <c:pt idx="2643">
                  <c:v>41704</c:v>
                </c:pt>
                <c:pt idx="2644">
                  <c:v>41705</c:v>
                </c:pt>
                <c:pt idx="2645">
                  <c:v>41708</c:v>
                </c:pt>
                <c:pt idx="2646">
                  <c:v>41709</c:v>
                </c:pt>
                <c:pt idx="2647">
                  <c:v>41710</c:v>
                </c:pt>
                <c:pt idx="2648">
                  <c:v>41711</c:v>
                </c:pt>
                <c:pt idx="2649">
                  <c:v>41712</c:v>
                </c:pt>
                <c:pt idx="2650">
                  <c:v>41715</c:v>
                </c:pt>
                <c:pt idx="2651">
                  <c:v>41716</c:v>
                </c:pt>
                <c:pt idx="2652">
                  <c:v>41717</c:v>
                </c:pt>
                <c:pt idx="2653">
                  <c:v>41718</c:v>
                </c:pt>
                <c:pt idx="2654">
                  <c:v>41719</c:v>
                </c:pt>
                <c:pt idx="2655">
                  <c:v>41722</c:v>
                </c:pt>
                <c:pt idx="2656">
                  <c:v>41723</c:v>
                </c:pt>
                <c:pt idx="2657">
                  <c:v>41724</c:v>
                </c:pt>
                <c:pt idx="2658">
                  <c:v>41725</c:v>
                </c:pt>
                <c:pt idx="2659">
                  <c:v>41726</c:v>
                </c:pt>
                <c:pt idx="2660">
                  <c:v>41729</c:v>
                </c:pt>
                <c:pt idx="2661">
                  <c:v>41730</c:v>
                </c:pt>
                <c:pt idx="2662">
                  <c:v>41731</c:v>
                </c:pt>
                <c:pt idx="2663">
                  <c:v>41732</c:v>
                </c:pt>
                <c:pt idx="2664">
                  <c:v>41733</c:v>
                </c:pt>
                <c:pt idx="2665">
                  <c:v>41736</c:v>
                </c:pt>
                <c:pt idx="2666">
                  <c:v>41737</c:v>
                </c:pt>
                <c:pt idx="2667">
                  <c:v>41738</c:v>
                </c:pt>
                <c:pt idx="2668">
                  <c:v>41739</c:v>
                </c:pt>
                <c:pt idx="2669">
                  <c:v>41740</c:v>
                </c:pt>
                <c:pt idx="2670">
                  <c:v>41743</c:v>
                </c:pt>
                <c:pt idx="2671">
                  <c:v>41744</c:v>
                </c:pt>
                <c:pt idx="2672">
                  <c:v>41745</c:v>
                </c:pt>
                <c:pt idx="2673">
                  <c:v>41746</c:v>
                </c:pt>
                <c:pt idx="2674">
                  <c:v>41747</c:v>
                </c:pt>
                <c:pt idx="2675">
                  <c:v>41750</c:v>
                </c:pt>
                <c:pt idx="2676">
                  <c:v>41751</c:v>
                </c:pt>
                <c:pt idx="2677">
                  <c:v>41752</c:v>
                </c:pt>
                <c:pt idx="2678">
                  <c:v>41753</c:v>
                </c:pt>
                <c:pt idx="2679">
                  <c:v>41754</c:v>
                </c:pt>
                <c:pt idx="2680">
                  <c:v>41757</c:v>
                </c:pt>
                <c:pt idx="2681">
                  <c:v>41758</c:v>
                </c:pt>
                <c:pt idx="2682">
                  <c:v>41759</c:v>
                </c:pt>
                <c:pt idx="2683">
                  <c:v>41760</c:v>
                </c:pt>
                <c:pt idx="2684">
                  <c:v>41761</c:v>
                </c:pt>
                <c:pt idx="2685">
                  <c:v>41764</c:v>
                </c:pt>
                <c:pt idx="2686">
                  <c:v>41765</c:v>
                </c:pt>
                <c:pt idx="2687">
                  <c:v>41766</c:v>
                </c:pt>
                <c:pt idx="2688">
                  <c:v>41767</c:v>
                </c:pt>
                <c:pt idx="2689">
                  <c:v>41768</c:v>
                </c:pt>
                <c:pt idx="2690">
                  <c:v>41771</c:v>
                </c:pt>
                <c:pt idx="2691">
                  <c:v>41772</c:v>
                </c:pt>
                <c:pt idx="2692">
                  <c:v>41773</c:v>
                </c:pt>
                <c:pt idx="2693">
                  <c:v>41774</c:v>
                </c:pt>
                <c:pt idx="2694">
                  <c:v>41775</c:v>
                </c:pt>
                <c:pt idx="2695">
                  <c:v>41778</c:v>
                </c:pt>
                <c:pt idx="2696">
                  <c:v>41779</c:v>
                </c:pt>
                <c:pt idx="2697">
                  <c:v>41780</c:v>
                </c:pt>
                <c:pt idx="2698">
                  <c:v>41781</c:v>
                </c:pt>
                <c:pt idx="2699">
                  <c:v>41782</c:v>
                </c:pt>
                <c:pt idx="2700">
                  <c:v>41785</c:v>
                </c:pt>
                <c:pt idx="2701">
                  <c:v>41786</c:v>
                </c:pt>
                <c:pt idx="2702">
                  <c:v>41787</c:v>
                </c:pt>
                <c:pt idx="2703">
                  <c:v>41788</c:v>
                </c:pt>
                <c:pt idx="2704">
                  <c:v>41789</c:v>
                </c:pt>
                <c:pt idx="2705">
                  <c:v>41792</c:v>
                </c:pt>
                <c:pt idx="2706">
                  <c:v>41793</c:v>
                </c:pt>
                <c:pt idx="2707">
                  <c:v>41794</c:v>
                </c:pt>
                <c:pt idx="2708">
                  <c:v>41795</c:v>
                </c:pt>
                <c:pt idx="2709">
                  <c:v>41796</c:v>
                </c:pt>
                <c:pt idx="2710">
                  <c:v>41799</c:v>
                </c:pt>
                <c:pt idx="2711">
                  <c:v>41800</c:v>
                </c:pt>
                <c:pt idx="2712">
                  <c:v>41801</c:v>
                </c:pt>
                <c:pt idx="2713">
                  <c:v>41802</c:v>
                </c:pt>
                <c:pt idx="2714">
                  <c:v>41803</c:v>
                </c:pt>
                <c:pt idx="2715">
                  <c:v>41806</c:v>
                </c:pt>
                <c:pt idx="2716">
                  <c:v>41807</c:v>
                </c:pt>
                <c:pt idx="2717">
                  <c:v>41808</c:v>
                </c:pt>
                <c:pt idx="2718">
                  <c:v>41809</c:v>
                </c:pt>
                <c:pt idx="2719">
                  <c:v>41810</c:v>
                </c:pt>
                <c:pt idx="2720">
                  <c:v>41813</c:v>
                </c:pt>
                <c:pt idx="2721">
                  <c:v>41814</c:v>
                </c:pt>
                <c:pt idx="2722">
                  <c:v>41815</c:v>
                </c:pt>
                <c:pt idx="2723">
                  <c:v>41816</c:v>
                </c:pt>
                <c:pt idx="2724">
                  <c:v>41817</c:v>
                </c:pt>
                <c:pt idx="2725">
                  <c:v>41820</c:v>
                </c:pt>
                <c:pt idx="2726">
                  <c:v>41821</c:v>
                </c:pt>
                <c:pt idx="2727">
                  <c:v>41822</c:v>
                </c:pt>
                <c:pt idx="2728">
                  <c:v>41823</c:v>
                </c:pt>
                <c:pt idx="2729">
                  <c:v>41824</c:v>
                </c:pt>
                <c:pt idx="2730">
                  <c:v>41827</c:v>
                </c:pt>
                <c:pt idx="2731">
                  <c:v>41828</c:v>
                </c:pt>
                <c:pt idx="2732">
                  <c:v>41829</c:v>
                </c:pt>
                <c:pt idx="2733">
                  <c:v>41830</c:v>
                </c:pt>
                <c:pt idx="2734">
                  <c:v>41831</c:v>
                </c:pt>
                <c:pt idx="2735">
                  <c:v>41834</c:v>
                </c:pt>
                <c:pt idx="2736">
                  <c:v>41835</c:v>
                </c:pt>
                <c:pt idx="2737">
                  <c:v>41836</c:v>
                </c:pt>
                <c:pt idx="2738">
                  <c:v>41837</c:v>
                </c:pt>
                <c:pt idx="2739">
                  <c:v>41838</c:v>
                </c:pt>
                <c:pt idx="2740">
                  <c:v>41841</c:v>
                </c:pt>
                <c:pt idx="2741">
                  <c:v>41842</c:v>
                </c:pt>
                <c:pt idx="2742">
                  <c:v>41843</c:v>
                </c:pt>
                <c:pt idx="2743">
                  <c:v>41844</c:v>
                </c:pt>
                <c:pt idx="2744">
                  <c:v>41845</c:v>
                </c:pt>
                <c:pt idx="2745">
                  <c:v>41848</c:v>
                </c:pt>
                <c:pt idx="2746">
                  <c:v>41849</c:v>
                </c:pt>
                <c:pt idx="2747">
                  <c:v>41850</c:v>
                </c:pt>
                <c:pt idx="2748">
                  <c:v>41851</c:v>
                </c:pt>
                <c:pt idx="2749">
                  <c:v>41852</c:v>
                </c:pt>
                <c:pt idx="2750">
                  <c:v>41855</c:v>
                </c:pt>
                <c:pt idx="2751">
                  <c:v>41856</c:v>
                </c:pt>
                <c:pt idx="2752">
                  <c:v>41857</c:v>
                </c:pt>
                <c:pt idx="2753">
                  <c:v>41858</c:v>
                </c:pt>
                <c:pt idx="2754">
                  <c:v>41859</c:v>
                </c:pt>
                <c:pt idx="2755">
                  <c:v>41862</c:v>
                </c:pt>
                <c:pt idx="2756">
                  <c:v>41863</c:v>
                </c:pt>
                <c:pt idx="2757">
                  <c:v>41864</c:v>
                </c:pt>
                <c:pt idx="2758">
                  <c:v>41865</c:v>
                </c:pt>
                <c:pt idx="2759">
                  <c:v>41866</c:v>
                </c:pt>
                <c:pt idx="2760">
                  <c:v>41869</c:v>
                </c:pt>
                <c:pt idx="2761">
                  <c:v>41870</c:v>
                </c:pt>
                <c:pt idx="2762">
                  <c:v>41871</c:v>
                </c:pt>
                <c:pt idx="2763">
                  <c:v>41872</c:v>
                </c:pt>
                <c:pt idx="2764">
                  <c:v>41873</c:v>
                </c:pt>
                <c:pt idx="2765">
                  <c:v>41876</c:v>
                </c:pt>
                <c:pt idx="2766">
                  <c:v>41877</c:v>
                </c:pt>
                <c:pt idx="2767">
                  <c:v>41878</c:v>
                </c:pt>
                <c:pt idx="2768">
                  <c:v>41879</c:v>
                </c:pt>
                <c:pt idx="2769">
                  <c:v>41880</c:v>
                </c:pt>
                <c:pt idx="2770">
                  <c:v>41883</c:v>
                </c:pt>
                <c:pt idx="2771">
                  <c:v>41884</c:v>
                </c:pt>
                <c:pt idx="2772">
                  <c:v>41885</c:v>
                </c:pt>
                <c:pt idx="2773">
                  <c:v>41886</c:v>
                </c:pt>
                <c:pt idx="2774">
                  <c:v>41887</c:v>
                </c:pt>
                <c:pt idx="2775">
                  <c:v>41890</c:v>
                </c:pt>
                <c:pt idx="2776">
                  <c:v>41891</c:v>
                </c:pt>
                <c:pt idx="2777">
                  <c:v>41892</c:v>
                </c:pt>
                <c:pt idx="2778">
                  <c:v>41893</c:v>
                </c:pt>
                <c:pt idx="2779">
                  <c:v>41894</c:v>
                </c:pt>
                <c:pt idx="2780">
                  <c:v>41897</c:v>
                </c:pt>
                <c:pt idx="2781">
                  <c:v>41898</c:v>
                </c:pt>
                <c:pt idx="2782">
                  <c:v>41899</c:v>
                </c:pt>
                <c:pt idx="2783">
                  <c:v>41900</c:v>
                </c:pt>
                <c:pt idx="2784">
                  <c:v>41901</c:v>
                </c:pt>
                <c:pt idx="2785">
                  <c:v>41904</c:v>
                </c:pt>
                <c:pt idx="2786">
                  <c:v>41905</c:v>
                </c:pt>
                <c:pt idx="2787">
                  <c:v>41906</c:v>
                </c:pt>
                <c:pt idx="2788">
                  <c:v>41907</c:v>
                </c:pt>
                <c:pt idx="2789">
                  <c:v>41908</c:v>
                </c:pt>
                <c:pt idx="2790">
                  <c:v>41911</c:v>
                </c:pt>
                <c:pt idx="2791">
                  <c:v>41912</c:v>
                </c:pt>
                <c:pt idx="2792">
                  <c:v>41913</c:v>
                </c:pt>
                <c:pt idx="2793">
                  <c:v>41914</c:v>
                </c:pt>
                <c:pt idx="2794">
                  <c:v>41915</c:v>
                </c:pt>
                <c:pt idx="2795">
                  <c:v>41918</c:v>
                </c:pt>
                <c:pt idx="2796">
                  <c:v>41919</c:v>
                </c:pt>
                <c:pt idx="2797">
                  <c:v>41920</c:v>
                </c:pt>
                <c:pt idx="2798">
                  <c:v>41921</c:v>
                </c:pt>
                <c:pt idx="2799">
                  <c:v>41922</c:v>
                </c:pt>
                <c:pt idx="2800">
                  <c:v>41925</c:v>
                </c:pt>
                <c:pt idx="2801">
                  <c:v>41926</c:v>
                </c:pt>
                <c:pt idx="2802">
                  <c:v>41927</c:v>
                </c:pt>
                <c:pt idx="2803">
                  <c:v>41928</c:v>
                </c:pt>
                <c:pt idx="2804">
                  <c:v>41929</c:v>
                </c:pt>
                <c:pt idx="2805">
                  <c:v>41932</c:v>
                </c:pt>
                <c:pt idx="2806">
                  <c:v>41933</c:v>
                </c:pt>
                <c:pt idx="2807">
                  <c:v>41934</c:v>
                </c:pt>
                <c:pt idx="2808">
                  <c:v>41935</c:v>
                </c:pt>
                <c:pt idx="2809">
                  <c:v>41936</c:v>
                </c:pt>
                <c:pt idx="2810">
                  <c:v>41939</c:v>
                </c:pt>
                <c:pt idx="2811">
                  <c:v>41940</c:v>
                </c:pt>
                <c:pt idx="2812">
                  <c:v>41941</c:v>
                </c:pt>
                <c:pt idx="2813">
                  <c:v>41942</c:v>
                </c:pt>
                <c:pt idx="2814">
                  <c:v>41943</c:v>
                </c:pt>
                <c:pt idx="2815">
                  <c:v>41946</c:v>
                </c:pt>
                <c:pt idx="2816">
                  <c:v>41947</c:v>
                </c:pt>
                <c:pt idx="2817">
                  <c:v>41948</c:v>
                </c:pt>
                <c:pt idx="2818">
                  <c:v>41949</c:v>
                </c:pt>
                <c:pt idx="2819">
                  <c:v>41950</c:v>
                </c:pt>
                <c:pt idx="2820">
                  <c:v>41953</c:v>
                </c:pt>
                <c:pt idx="2821">
                  <c:v>41954</c:v>
                </c:pt>
                <c:pt idx="2822">
                  <c:v>41955</c:v>
                </c:pt>
                <c:pt idx="2823">
                  <c:v>41956</c:v>
                </c:pt>
                <c:pt idx="2824">
                  <c:v>41957</c:v>
                </c:pt>
                <c:pt idx="2825">
                  <c:v>41960</c:v>
                </c:pt>
                <c:pt idx="2826">
                  <c:v>41961</c:v>
                </c:pt>
                <c:pt idx="2827">
                  <c:v>41962</c:v>
                </c:pt>
                <c:pt idx="2828">
                  <c:v>41963</c:v>
                </c:pt>
                <c:pt idx="2829">
                  <c:v>41964</c:v>
                </c:pt>
                <c:pt idx="2830">
                  <c:v>41967</c:v>
                </c:pt>
                <c:pt idx="2831">
                  <c:v>41968</c:v>
                </c:pt>
                <c:pt idx="2832">
                  <c:v>41969</c:v>
                </c:pt>
                <c:pt idx="2833">
                  <c:v>41970</c:v>
                </c:pt>
                <c:pt idx="2834">
                  <c:v>41971</c:v>
                </c:pt>
                <c:pt idx="2835">
                  <c:v>41974</c:v>
                </c:pt>
                <c:pt idx="2836">
                  <c:v>41975</c:v>
                </c:pt>
                <c:pt idx="2837">
                  <c:v>41976</c:v>
                </c:pt>
                <c:pt idx="2838">
                  <c:v>41977</c:v>
                </c:pt>
                <c:pt idx="2839">
                  <c:v>41978</c:v>
                </c:pt>
                <c:pt idx="2840">
                  <c:v>41981</c:v>
                </c:pt>
                <c:pt idx="2841">
                  <c:v>41982</c:v>
                </c:pt>
                <c:pt idx="2842">
                  <c:v>41983</c:v>
                </c:pt>
                <c:pt idx="2843">
                  <c:v>41984</c:v>
                </c:pt>
                <c:pt idx="2844">
                  <c:v>41985</c:v>
                </c:pt>
                <c:pt idx="2845">
                  <c:v>41988</c:v>
                </c:pt>
                <c:pt idx="2846">
                  <c:v>41989</c:v>
                </c:pt>
                <c:pt idx="2847">
                  <c:v>41990</c:v>
                </c:pt>
                <c:pt idx="2848">
                  <c:v>41991</c:v>
                </c:pt>
                <c:pt idx="2849">
                  <c:v>41992</c:v>
                </c:pt>
                <c:pt idx="2850">
                  <c:v>41995</c:v>
                </c:pt>
                <c:pt idx="2851">
                  <c:v>41996</c:v>
                </c:pt>
                <c:pt idx="2852">
                  <c:v>41997</c:v>
                </c:pt>
                <c:pt idx="2853">
                  <c:v>41998</c:v>
                </c:pt>
                <c:pt idx="2854">
                  <c:v>41999</c:v>
                </c:pt>
                <c:pt idx="2855">
                  <c:v>42002</c:v>
                </c:pt>
                <c:pt idx="2856">
                  <c:v>42003</c:v>
                </c:pt>
                <c:pt idx="2857">
                  <c:v>42004</c:v>
                </c:pt>
                <c:pt idx="2858">
                  <c:v>42005</c:v>
                </c:pt>
                <c:pt idx="2859">
                  <c:v>42006</c:v>
                </c:pt>
                <c:pt idx="2860">
                  <c:v>42009</c:v>
                </c:pt>
                <c:pt idx="2861">
                  <c:v>42010</c:v>
                </c:pt>
                <c:pt idx="2862">
                  <c:v>42011</c:v>
                </c:pt>
                <c:pt idx="2863">
                  <c:v>42012</c:v>
                </c:pt>
                <c:pt idx="2864">
                  <c:v>42013</c:v>
                </c:pt>
                <c:pt idx="2865">
                  <c:v>42016</c:v>
                </c:pt>
                <c:pt idx="2866">
                  <c:v>42017</c:v>
                </c:pt>
                <c:pt idx="2867">
                  <c:v>42018</c:v>
                </c:pt>
                <c:pt idx="2868">
                  <c:v>42019</c:v>
                </c:pt>
                <c:pt idx="2869">
                  <c:v>42020</c:v>
                </c:pt>
                <c:pt idx="2870">
                  <c:v>42023</c:v>
                </c:pt>
                <c:pt idx="2871">
                  <c:v>42024</c:v>
                </c:pt>
                <c:pt idx="2872">
                  <c:v>42025</c:v>
                </c:pt>
                <c:pt idx="2873">
                  <c:v>42026</c:v>
                </c:pt>
                <c:pt idx="2874">
                  <c:v>42027</c:v>
                </c:pt>
                <c:pt idx="2875">
                  <c:v>42030</c:v>
                </c:pt>
                <c:pt idx="2876">
                  <c:v>42031</c:v>
                </c:pt>
                <c:pt idx="2877">
                  <c:v>42032</c:v>
                </c:pt>
                <c:pt idx="2878">
                  <c:v>42033</c:v>
                </c:pt>
                <c:pt idx="2879">
                  <c:v>42034</c:v>
                </c:pt>
                <c:pt idx="2880">
                  <c:v>42037</c:v>
                </c:pt>
                <c:pt idx="2881">
                  <c:v>42038</c:v>
                </c:pt>
                <c:pt idx="2882">
                  <c:v>42039</c:v>
                </c:pt>
                <c:pt idx="2883">
                  <c:v>42040</c:v>
                </c:pt>
                <c:pt idx="2884">
                  <c:v>42041</c:v>
                </c:pt>
                <c:pt idx="2885">
                  <c:v>42044</c:v>
                </c:pt>
                <c:pt idx="2886">
                  <c:v>42045</c:v>
                </c:pt>
                <c:pt idx="2887">
                  <c:v>42046</c:v>
                </c:pt>
                <c:pt idx="2888">
                  <c:v>42047</c:v>
                </c:pt>
                <c:pt idx="2889">
                  <c:v>42048</c:v>
                </c:pt>
                <c:pt idx="2890">
                  <c:v>42051</c:v>
                </c:pt>
                <c:pt idx="2891">
                  <c:v>42052</c:v>
                </c:pt>
                <c:pt idx="2892">
                  <c:v>42053</c:v>
                </c:pt>
                <c:pt idx="2893">
                  <c:v>42054</c:v>
                </c:pt>
                <c:pt idx="2894">
                  <c:v>42055</c:v>
                </c:pt>
                <c:pt idx="2895">
                  <c:v>42058</c:v>
                </c:pt>
                <c:pt idx="2896">
                  <c:v>42059</c:v>
                </c:pt>
                <c:pt idx="2897">
                  <c:v>42060</c:v>
                </c:pt>
                <c:pt idx="2898">
                  <c:v>42061</c:v>
                </c:pt>
                <c:pt idx="2899">
                  <c:v>42062</c:v>
                </c:pt>
                <c:pt idx="2900">
                  <c:v>42065</c:v>
                </c:pt>
                <c:pt idx="2901">
                  <c:v>42066</c:v>
                </c:pt>
                <c:pt idx="2902">
                  <c:v>42067</c:v>
                </c:pt>
                <c:pt idx="2903">
                  <c:v>42068</c:v>
                </c:pt>
                <c:pt idx="2904">
                  <c:v>42069</c:v>
                </c:pt>
                <c:pt idx="2905">
                  <c:v>42072</c:v>
                </c:pt>
                <c:pt idx="2906">
                  <c:v>42073</c:v>
                </c:pt>
                <c:pt idx="2907">
                  <c:v>42074</c:v>
                </c:pt>
                <c:pt idx="2908">
                  <c:v>42075</c:v>
                </c:pt>
                <c:pt idx="2909">
                  <c:v>42076</c:v>
                </c:pt>
                <c:pt idx="2910">
                  <c:v>42079</c:v>
                </c:pt>
                <c:pt idx="2911">
                  <c:v>42080</c:v>
                </c:pt>
                <c:pt idx="2912">
                  <c:v>42081</c:v>
                </c:pt>
                <c:pt idx="2913">
                  <c:v>42082</c:v>
                </c:pt>
                <c:pt idx="2914">
                  <c:v>42083</c:v>
                </c:pt>
                <c:pt idx="2915">
                  <c:v>42086</c:v>
                </c:pt>
                <c:pt idx="2916">
                  <c:v>42087</c:v>
                </c:pt>
                <c:pt idx="2917">
                  <c:v>42088</c:v>
                </c:pt>
                <c:pt idx="2918">
                  <c:v>42089</c:v>
                </c:pt>
                <c:pt idx="2919">
                  <c:v>42090</c:v>
                </c:pt>
                <c:pt idx="2920">
                  <c:v>42093</c:v>
                </c:pt>
                <c:pt idx="2921">
                  <c:v>42094</c:v>
                </c:pt>
                <c:pt idx="2922">
                  <c:v>42095</c:v>
                </c:pt>
                <c:pt idx="2923">
                  <c:v>42096</c:v>
                </c:pt>
                <c:pt idx="2924">
                  <c:v>42097</c:v>
                </c:pt>
                <c:pt idx="2925">
                  <c:v>42100</c:v>
                </c:pt>
                <c:pt idx="2926">
                  <c:v>42101</c:v>
                </c:pt>
                <c:pt idx="2927">
                  <c:v>42102</c:v>
                </c:pt>
                <c:pt idx="2928">
                  <c:v>42103</c:v>
                </c:pt>
                <c:pt idx="2929">
                  <c:v>42104</c:v>
                </c:pt>
                <c:pt idx="2930">
                  <c:v>42107</c:v>
                </c:pt>
                <c:pt idx="2931">
                  <c:v>42108</c:v>
                </c:pt>
                <c:pt idx="2932">
                  <c:v>42109</c:v>
                </c:pt>
                <c:pt idx="2933">
                  <c:v>42110</c:v>
                </c:pt>
                <c:pt idx="2934">
                  <c:v>42111</c:v>
                </c:pt>
                <c:pt idx="2935">
                  <c:v>42114</c:v>
                </c:pt>
                <c:pt idx="2936">
                  <c:v>42115</c:v>
                </c:pt>
                <c:pt idx="2937">
                  <c:v>42116</c:v>
                </c:pt>
                <c:pt idx="2938">
                  <c:v>42117</c:v>
                </c:pt>
                <c:pt idx="2939">
                  <c:v>42118</c:v>
                </c:pt>
                <c:pt idx="2940">
                  <c:v>42121</c:v>
                </c:pt>
                <c:pt idx="2941">
                  <c:v>42122</c:v>
                </c:pt>
                <c:pt idx="2942">
                  <c:v>42123</c:v>
                </c:pt>
                <c:pt idx="2943">
                  <c:v>42124</c:v>
                </c:pt>
                <c:pt idx="2944">
                  <c:v>42125</c:v>
                </c:pt>
                <c:pt idx="2945">
                  <c:v>42128</c:v>
                </c:pt>
                <c:pt idx="2946">
                  <c:v>42129</c:v>
                </c:pt>
                <c:pt idx="2947">
                  <c:v>42130</c:v>
                </c:pt>
                <c:pt idx="2948">
                  <c:v>42131</c:v>
                </c:pt>
                <c:pt idx="2949">
                  <c:v>42132</c:v>
                </c:pt>
                <c:pt idx="2950">
                  <c:v>42135</c:v>
                </c:pt>
                <c:pt idx="2951">
                  <c:v>42136</c:v>
                </c:pt>
                <c:pt idx="2952">
                  <c:v>42137</c:v>
                </c:pt>
                <c:pt idx="2953">
                  <c:v>42138</c:v>
                </c:pt>
                <c:pt idx="2954">
                  <c:v>42139</c:v>
                </c:pt>
                <c:pt idx="2955">
                  <c:v>42142</c:v>
                </c:pt>
                <c:pt idx="2956">
                  <c:v>42143</c:v>
                </c:pt>
                <c:pt idx="2957">
                  <c:v>42144</c:v>
                </c:pt>
                <c:pt idx="2958">
                  <c:v>42145</c:v>
                </c:pt>
                <c:pt idx="2959">
                  <c:v>42146</c:v>
                </c:pt>
                <c:pt idx="2960">
                  <c:v>42149</c:v>
                </c:pt>
                <c:pt idx="2961">
                  <c:v>42150</c:v>
                </c:pt>
                <c:pt idx="2962">
                  <c:v>42151</c:v>
                </c:pt>
                <c:pt idx="2963">
                  <c:v>42152</c:v>
                </c:pt>
                <c:pt idx="2964">
                  <c:v>42153</c:v>
                </c:pt>
                <c:pt idx="2965">
                  <c:v>42156</c:v>
                </c:pt>
                <c:pt idx="2966">
                  <c:v>42157</c:v>
                </c:pt>
                <c:pt idx="2967">
                  <c:v>42158</c:v>
                </c:pt>
                <c:pt idx="2968">
                  <c:v>42159</c:v>
                </c:pt>
                <c:pt idx="2969">
                  <c:v>42160</c:v>
                </c:pt>
                <c:pt idx="2970">
                  <c:v>42163</c:v>
                </c:pt>
                <c:pt idx="2971">
                  <c:v>42164</c:v>
                </c:pt>
                <c:pt idx="2972">
                  <c:v>42165</c:v>
                </c:pt>
                <c:pt idx="2973">
                  <c:v>42166</c:v>
                </c:pt>
                <c:pt idx="2974">
                  <c:v>42167</c:v>
                </c:pt>
                <c:pt idx="2975">
                  <c:v>42170</c:v>
                </c:pt>
                <c:pt idx="2976">
                  <c:v>42171</c:v>
                </c:pt>
                <c:pt idx="2977">
                  <c:v>42172</c:v>
                </c:pt>
                <c:pt idx="2978">
                  <c:v>42173</c:v>
                </c:pt>
                <c:pt idx="2979">
                  <c:v>42174</c:v>
                </c:pt>
                <c:pt idx="2980">
                  <c:v>42177</c:v>
                </c:pt>
                <c:pt idx="2981">
                  <c:v>42178</c:v>
                </c:pt>
                <c:pt idx="2982">
                  <c:v>42179</c:v>
                </c:pt>
                <c:pt idx="2983">
                  <c:v>42180</c:v>
                </c:pt>
                <c:pt idx="2984">
                  <c:v>42181</c:v>
                </c:pt>
                <c:pt idx="2985">
                  <c:v>42184</c:v>
                </c:pt>
                <c:pt idx="2986">
                  <c:v>42185</c:v>
                </c:pt>
                <c:pt idx="2987">
                  <c:v>42186</c:v>
                </c:pt>
                <c:pt idx="2988">
                  <c:v>42187</c:v>
                </c:pt>
                <c:pt idx="2989">
                  <c:v>42188</c:v>
                </c:pt>
                <c:pt idx="2990">
                  <c:v>42191</c:v>
                </c:pt>
                <c:pt idx="2991">
                  <c:v>42192</c:v>
                </c:pt>
                <c:pt idx="2992">
                  <c:v>42193</c:v>
                </c:pt>
                <c:pt idx="2993">
                  <c:v>42194</c:v>
                </c:pt>
                <c:pt idx="2994">
                  <c:v>42195</c:v>
                </c:pt>
                <c:pt idx="2995">
                  <c:v>42198</c:v>
                </c:pt>
                <c:pt idx="2996">
                  <c:v>42199</c:v>
                </c:pt>
                <c:pt idx="2997">
                  <c:v>42200</c:v>
                </c:pt>
                <c:pt idx="2998">
                  <c:v>42201</c:v>
                </c:pt>
                <c:pt idx="2999">
                  <c:v>42202</c:v>
                </c:pt>
                <c:pt idx="3000">
                  <c:v>42205</c:v>
                </c:pt>
                <c:pt idx="3001">
                  <c:v>42206</c:v>
                </c:pt>
                <c:pt idx="3002">
                  <c:v>42207</c:v>
                </c:pt>
                <c:pt idx="3003">
                  <c:v>42208</c:v>
                </c:pt>
                <c:pt idx="3004">
                  <c:v>42209</c:v>
                </c:pt>
                <c:pt idx="3005">
                  <c:v>42212</c:v>
                </c:pt>
                <c:pt idx="3006">
                  <c:v>42213</c:v>
                </c:pt>
                <c:pt idx="3007">
                  <c:v>42214</c:v>
                </c:pt>
                <c:pt idx="3008">
                  <c:v>42215</c:v>
                </c:pt>
                <c:pt idx="3009">
                  <c:v>42216</c:v>
                </c:pt>
                <c:pt idx="3010">
                  <c:v>42219</c:v>
                </c:pt>
                <c:pt idx="3011">
                  <c:v>42220</c:v>
                </c:pt>
                <c:pt idx="3012">
                  <c:v>42221</c:v>
                </c:pt>
                <c:pt idx="3013">
                  <c:v>42222</c:v>
                </c:pt>
                <c:pt idx="3014">
                  <c:v>42223</c:v>
                </c:pt>
                <c:pt idx="3015">
                  <c:v>42226</c:v>
                </c:pt>
                <c:pt idx="3016">
                  <c:v>42227</c:v>
                </c:pt>
                <c:pt idx="3017">
                  <c:v>42228</c:v>
                </c:pt>
                <c:pt idx="3018">
                  <c:v>42229</c:v>
                </c:pt>
                <c:pt idx="3019">
                  <c:v>42230</c:v>
                </c:pt>
                <c:pt idx="3020">
                  <c:v>42233</c:v>
                </c:pt>
                <c:pt idx="3021">
                  <c:v>42234</c:v>
                </c:pt>
                <c:pt idx="3022">
                  <c:v>42235</c:v>
                </c:pt>
                <c:pt idx="3023">
                  <c:v>42236</c:v>
                </c:pt>
                <c:pt idx="3024">
                  <c:v>42237</c:v>
                </c:pt>
                <c:pt idx="3025">
                  <c:v>42240</c:v>
                </c:pt>
                <c:pt idx="3026">
                  <c:v>42241</c:v>
                </c:pt>
                <c:pt idx="3027">
                  <c:v>42242</c:v>
                </c:pt>
                <c:pt idx="3028">
                  <c:v>42243</c:v>
                </c:pt>
                <c:pt idx="3029">
                  <c:v>42244</c:v>
                </c:pt>
                <c:pt idx="3030">
                  <c:v>42247</c:v>
                </c:pt>
                <c:pt idx="3031">
                  <c:v>42248</c:v>
                </c:pt>
                <c:pt idx="3032">
                  <c:v>42249</c:v>
                </c:pt>
                <c:pt idx="3033">
                  <c:v>42250</c:v>
                </c:pt>
                <c:pt idx="3034">
                  <c:v>42251</c:v>
                </c:pt>
                <c:pt idx="3035">
                  <c:v>42254</c:v>
                </c:pt>
                <c:pt idx="3036">
                  <c:v>42255</c:v>
                </c:pt>
                <c:pt idx="3037">
                  <c:v>42256</c:v>
                </c:pt>
                <c:pt idx="3038">
                  <c:v>42257</c:v>
                </c:pt>
                <c:pt idx="3039">
                  <c:v>42258</c:v>
                </c:pt>
                <c:pt idx="3040">
                  <c:v>42261</c:v>
                </c:pt>
                <c:pt idx="3041">
                  <c:v>42262</c:v>
                </c:pt>
                <c:pt idx="3042">
                  <c:v>42263</c:v>
                </c:pt>
                <c:pt idx="3043">
                  <c:v>42264</c:v>
                </c:pt>
                <c:pt idx="3044">
                  <c:v>42265</c:v>
                </c:pt>
                <c:pt idx="3045">
                  <c:v>42268</c:v>
                </c:pt>
                <c:pt idx="3046">
                  <c:v>42269</c:v>
                </c:pt>
                <c:pt idx="3047">
                  <c:v>42270</c:v>
                </c:pt>
                <c:pt idx="3048">
                  <c:v>42271</c:v>
                </c:pt>
                <c:pt idx="3049">
                  <c:v>42272</c:v>
                </c:pt>
                <c:pt idx="3050">
                  <c:v>42275</c:v>
                </c:pt>
                <c:pt idx="3051">
                  <c:v>42276</c:v>
                </c:pt>
                <c:pt idx="3052">
                  <c:v>42277</c:v>
                </c:pt>
                <c:pt idx="3053">
                  <c:v>42278</c:v>
                </c:pt>
                <c:pt idx="3054">
                  <c:v>42279</c:v>
                </c:pt>
                <c:pt idx="3055">
                  <c:v>42282</c:v>
                </c:pt>
                <c:pt idx="3056">
                  <c:v>42283</c:v>
                </c:pt>
                <c:pt idx="3057">
                  <c:v>42284</c:v>
                </c:pt>
                <c:pt idx="3058">
                  <c:v>42285</c:v>
                </c:pt>
                <c:pt idx="3059">
                  <c:v>42286</c:v>
                </c:pt>
                <c:pt idx="3060">
                  <c:v>42289</c:v>
                </c:pt>
                <c:pt idx="3061">
                  <c:v>42290</c:v>
                </c:pt>
                <c:pt idx="3062">
                  <c:v>42291</c:v>
                </c:pt>
                <c:pt idx="3063">
                  <c:v>42292</c:v>
                </c:pt>
                <c:pt idx="3064">
                  <c:v>42293</c:v>
                </c:pt>
                <c:pt idx="3065">
                  <c:v>42296</c:v>
                </c:pt>
                <c:pt idx="3066">
                  <c:v>42297</c:v>
                </c:pt>
                <c:pt idx="3067">
                  <c:v>42298</c:v>
                </c:pt>
                <c:pt idx="3068">
                  <c:v>42299</c:v>
                </c:pt>
                <c:pt idx="3069">
                  <c:v>42300</c:v>
                </c:pt>
                <c:pt idx="3070">
                  <c:v>42303</c:v>
                </c:pt>
                <c:pt idx="3071">
                  <c:v>42304</c:v>
                </c:pt>
                <c:pt idx="3072">
                  <c:v>42305</c:v>
                </c:pt>
                <c:pt idx="3073">
                  <c:v>42306</c:v>
                </c:pt>
                <c:pt idx="3074">
                  <c:v>42307</c:v>
                </c:pt>
                <c:pt idx="3075">
                  <c:v>42310</c:v>
                </c:pt>
                <c:pt idx="3076">
                  <c:v>42311</c:v>
                </c:pt>
                <c:pt idx="3077">
                  <c:v>42312</c:v>
                </c:pt>
                <c:pt idx="3078">
                  <c:v>42313</c:v>
                </c:pt>
                <c:pt idx="3079">
                  <c:v>42314</c:v>
                </c:pt>
                <c:pt idx="3080">
                  <c:v>42317</c:v>
                </c:pt>
                <c:pt idx="3081">
                  <c:v>42318</c:v>
                </c:pt>
                <c:pt idx="3082">
                  <c:v>42319</c:v>
                </c:pt>
                <c:pt idx="3083">
                  <c:v>42320</c:v>
                </c:pt>
                <c:pt idx="3084">
                  <c:v>42321</c:v>
                </c:pt>
                <c:pt idx="3085">
                  <c:v>42324</c:v>
                </c:pt>
                <c:pt idx="3086">
                  <c:v>42325</c:v>
                </c:pt>
                <c:pt idx="3087">
                  <c:v>42326</c:v>
                </c:pt>
                <c:pt idx="3088">
                  <c:v>42327</c:v>
                </c:pt>
                <c:pt idx="3089">
                  <c:v>42328</c:v>
                </c:pt>
                <c:pt idx="3090">
                  <c:v>42331</c:v>
                </c:pt>
                <c:pt idx="3091">
                  <c:v>42332</c:v>
                </c:pt>
                <c:pt idx="3092">
                  <c:v>42333</c:v>
                </c:pt>
                <c:pt idx="3093">
                  <c:v>42334</c:v>
                </c:pt>
                <c:pt idx="3094">
                  <c:v>42335</c:v>
                </c:pt>
                <c:pt idx="3095">
                  <c:v>42338</c:v>
                </c:pt>
                <c:pt idx="3096">
                  <c:v>42339</c:v>
                </c:pt>
                <c:pt idx="3097">
                  <c:v>42340</c:v>
                </c:pt>
                <c:pt idx="3098">
                  <c:v>42341</c:v>
                </c:pt>
                <c:pt idx="3099">
                  <c:v>42342</c:v>
                </c:pt>
                <c:pt idx="3100">
                  <c:v>42345</c:v>
                </c:pt>
                <c:pt idx="3101">
                  <c:v>42346</c:v>
                </c:pt>
                <c:pt idx="3102">
                  <c:v>42347</c:v>
                </c:pt>
                <c:pt idx="3103">
                  <c:v>42348</c:v>
                </c:pt>
                <c:pt idx="3104">
                  <c:v>42349</c:v>
                </c:pt>
                <c:pt idx="3105">
                  <c:v>42352</c:v>
                </c:pt>
                <c:pt idx="3106">
                  <c:v>42353</c:v>
                </c:pt>
                <c:pt idx="3107">
                  <c:v>42354</c:v>
                </c:pt>
                <c:pt idx="3108">
                  <c:v>42355</c:v>
                </c:pt>
                <c:pt idx="3109">
                  <c:v>42356</c:v>
                </c:pt>
                <c:pt idx="3110">
                  <c:v>42359</c:v>
                </c:pt>
                <c:pt idx="3111">
                  <c:v>42360</c:v>
                </c:pt>
                <c:pt idx="3112">
                  <c:v>42361</c:v>
                </c:pt>
                <c:pt idx="3113">
                  <c:v>42362</c:v>
                </c:pt>
                <c:pt idx="3114">
                  <c:v>42363</c:v>
                </c:pt>
                <c:pt idx="3115">
                  <c:v>42366</c:v>
                </c:pt>
                <c:pt idx="3116">
                  <c:v>42367</c:v>
                </c:pt>
                <c:pt idx="3117">
                  <c:v>42368</c:v>
                </c:pt>
                <c:pt idx="3118">
                  <c:v>42369</c:v>
                </c:pt>
                <c:pt idx="3119">
                  <c:v>42370</c:v>
                </c:pt>
                <c:pt idx="3120">
                  <c:v>42373</c:v>
                </c:pt>
                <c:pt idx="3121">
                  <c:v>42374</c:v>
                </c:pt>
                <c:pt idx="3122">
                  <c:v>42375</c:v>
                </c:pt>
                <c:pt idx="3123">
                  <c:v>42376</c:v>
                </c:pt>
                <c:pt idx="3124">
                  <c:v>42377</c:v>
                </c:pt>
                <c:pt idx="3125">
                  <c:v>42380</c:v>
                </c:pt>
                <c:pt idx="3126">
                  <c:v>42381</c:v>
                </c:pt>
                <c:pt idx="3127">
                  <c:v>42382</c:v>
                </c:pt>
                <c:pt idx="3128">
                  <c:v>42383</c:v>
                </c:pt>
                <c:pt idx="3129">
                  <c:v>42384</c:v>
                </c:pt>
                <c:pt idx="3130">
                  <c:v>42387</c:v>
                </c:pt>
                <c:pt idx="3131">
                  <c:v>42388</c:v>
                </c:pt>
                <c:pt idx="3132">
                  <c:v>42389</c:v>
                </c:pt>
                <c:pt idx="3133">
                  <c:v>42390</c:v>
                </c:pt>
                <c:pt idx="3134">
                  <c:v>42391</c:v>
                </c:pt>
                <c:pt idx="3135">
                  <c:v>42394</c:v>
                </c:pt>
                <c:pt idx="3136">
                  <c:v>42395</c:v>
                </c:pt>
                <c:pt idx="3137">
                  <c:v>42396</c:v>
                </c:pt>
                <c:pt idx="3138">
                  <c:v>42397</c:v>
                </c:pt>
                <c:pt idx="3139">
                  <c:v>42398</c:v>
                </c:pt>
                <c:pt idx="3140">
                  <c:v>42401</c:v>
                </c:pt>
                <c:pt idx="3141">
                  <c:v>42402</c:v>
                </c:pt>
                <c:pt idx="3142">
                  <c:v>42403</c:v>
                </c:pt>
                <c:pt idx="3143">
                  <c:v>42404</c:v>
                </c:pt>
                <c:pt idx="3144">
                  <c:v>42405</c:v>
                </c:pt>
                <c:pt idx="3145">
                  <c:v>42408</c:v>
                </c:pt>
                <c:pt idx="3146">
                  <c:v>42409</c:v>
                </c:pt>
                <c:pt idx="3147">
                  <c:v>42410</c:v>
                </c:pt>
                <c:pt idx="3148">
                  <c:v>42411</c:v>
                </c:pt>
                <c:pt idx="3149">
                  <c:v>42412</c:v>
                </c:pt>
                <c:pt idx="3150">
                  <c:v>42415</c:v>
                </c:pt>
                <c:pt idx="3151">
                  <c:v>42416</c:v>
                </c:pt>
                <c:pt idx="3152">
                  <c:v>42417</c:v>
                </c:pt>
                <c:pt idx="3153">
                  <c:v>42418</c:v>
                </c:pt>
                <c:pt idx="3154">
                  <c:v>42419</c:v>
                </c:pt>
                <c:pt idx="3155">
                  <c:v>42422</c:v>
                </c:pt>
                <c:pt idx="3156">
                  <c:v>42423</c:v>
                </c:pt>
                <c:pt idx="3157">
                  <c:v>42424</c:v>
                </c:pt>
                <c:pt idx="3158">
                  <c:v>42425</c:v>
                </c:pt>
                <c:pt idx="3159">
                  <c:v>42426</c:v>
                </c:pt>
                <c:pt idx="3160">
                  <c:v>42429</c:v>
                </c:pt>
                <c:pt idx="3161">
                  <c:v>42430</c:v>
                </c:pt>
                <c:pt idx="3162">
                  <c:v>42431</c:v>
                </c:pt>
                <c:pt idx="3163">
                  <c:v>42432</c:v>
                </c:pt>
                <c:pt idx="3164">
                  <c:v>42433</c:v>
                </c:pt>
                <c:pt idx="3165">
                  <c:v>42436</c:v>
                </c:pt>
                <c:pt idx="3166">
                  <c:v>42437</c:v>
                </c:pt>
                <c:pt idx="3167">
                  <c:v>42438</c:v>
                </c:pt>
                <c:pt idx="3168">
                  <c:v>42439</c:v>
                </c:pt>
                <c:pt idx="3169">
                  <c:v>42440</c:v>
                </c:pt>
                <c:pt idx="3170">
                  <c:v>42443</c:v>
                </c:pt>
                <c:pt idx="3171">
                  <c:v>42444</c:v>
                </c:pt>
                <c:pt idx="3172">
                  <c:v>42445</c:v>
                </c:pt>
                <c:pt idx="3173">
                  <c:v>42446</c:v>
                </c:pt>
                <c:pt idx="3174">
                  <c:v>42447</c:v>
                </c:pt>
                <c:pt idx="3175">
                  <c:v>42450</c:v>
                </c:pt>
                <c:pt idx="3176">
                  <c:v>42451</c:v>
                </c:pt>
                <c:pt idx="3177">
                  <c:v>42452</c:v>
                </c:pt>
                <c:pt idx="3178">
                  <c:v>42453</c:v>
                </c:pt>
                <c:pt idx="3179">
                  <c:v>42454</c:v>
                </c:pt>
                <c:pt idx="3180">
                  <c:v>42457</c:v>
                </c:pt>
                <c:pt idx="3181">
                  <c:v>42458</c:v>
                </c:pt>
                <c:pt idx="3182">
                  <c:v>42459</c:v>
                </c:pt>
                <c:pt idx="3183">
                  <c:v>42460</c:v>
                </c:pt>
                <c:pt idx="3184">
                  <c:v>42461</c:v>
                </c:pt>
                <c:pt idx="3185">
                  <c:v>42464</c:v>
                </c:pt>
                <c:pt idx="3186">
                  <c:v>42465</c:v>
                </c:pt>
                <c:pt idx="3187">
                  <c:v>42466</c:v>
                </c:pt>
                <c:pt idx="3188">
                  <c:v>42467</c:v>
                </c:pt>
                <c:pt idx="3189">
                  <c:v>42468</c:v>
                </c:pt>
                <c:pt idx="3190">
                  <c:v>42471</c:v>
                </c:pt>
                <c:pt idx="3191">
                  <c:v>42472</c:v>
                </c:pt>
                <c:pt idx="3192">
                  <c:v>42473</c:v>
                </c:pt>
                <c:pt idx="3193">
                  <c:v>42474</c:v>
                </c:pt>
                <c:pt idx="3194">
                  <c:v>42475</c:v>
                </c:pt>
                <c:pt idx="3195">
                  <c:v>42478</c:v>
                </c:pt>
                <c:pt idx="3196">
                  <c:v>42479</c:v>
                </c:pt>
                <c:pt idx="3197">
                  <c:v>42480</c:v>
                </c:pt>
                <c:pt idx="3198">
                  <c:v>42481</c:v>
                </c:pt>
                <c:pt idx="3199">
                  <c:v>42482</c:v>
                </c:pt>
                <c:pt idx="3200">
                  <c:v>42485</c:v>
                </c:pt>
                <c:pt idx="3201">
                  <c:v>42486</c:v>
                </c:pt>
                <c:pt idx="3202">
                  <c:v>42487</c:v>
                </c:pt>
                <c:pt idx="3203">
                  <c:v>42488</c:v>
                </c:pt>
                <c:pt idx="3204">
                  <c:v>42489</c:v>
                </c:pt>
                <c:pt idx="3205">
                  <c:v>42492</c:v>
                </c:pt>
                <c:pt idx="3206">
                  <c:v>42493</c:v>
                </c:pt>
                <c:pt idx="3207">
                  <c:v>42494</c:v>
                </c:pt>
                <c:pt idx="3208">
                  <c:v>42495</c:v>
                </c:pt>
                <c:pt idx="3209">
                  <c:v>42496</c:v>
                </c:pt>
                <c:pt idx="3210">
                  <c:v>42499</c:v>
                </c:pt>
                <c:pt idx="3211">
                  <c:v>42500</c:v>
                </c:pt>
                <c:pt idx="3212">
                  <c:v>42501</c:v>
                </c:pt>
                <c:pt idx="3213">
                  <c:v>42502</c:v>
                </c:pt>
                <c:pt idx="3214">
                  <c:v>42503</c:v>
                </c:pt>
                <c:pt idx="3215">
                  <c:v>42506</c:v>
                </c:pt>
                <c:pt idx="3216">
                  <c:v>42507</c:v>
                </c:pt>
                <c:pt idx="3217">
                  <c:v>42508</c:v>
                </c:pt>
                <c:pt idx="3218">
                  <c:v>42509</c:v>
                </c:pt>
                <c:pt idx="3219">
                  <c:v>42510</c:v>
                </c:pt>
                <c:pt idx="3220">
                  <c:v>42513</c:v>
                </c:pt>
                <c:pt idx="3221">
                  <c:v>42514</c:v>
                </c:pt>
                <c:pt idx="3222">
                  <c:v>42515</c:v>
                </c:pt>
                <c:pt idx="3223">
                  <c:v>42516</c:v>
                </c:pt>
                <c:pt idx="3224">
                  <c:v>42517</c:v>
                </c:pt>
                <c:pt idx="3225">
                  <c:v>42520</c:v>
                </c:pt>
                <c:pt idx="3226">
                  <c:v>42521</c:v>
                </c:pt>
                <c:pt idx="3227">
                  <c:v>42522</c:v>
                </c:pt>
                <c:pt idx="3228">
                  <c:v>42523</c:v>
                </c:pt>
                <c:pt idx="3229">
                  <c:v>42524</c:v>
                </c:pt>
                <c:pt idx="3230">
                  <c:v>42527</c:v>
                </c:pt>
                <c:pt idx="3231">
                  <c:v>42528</c:v>
                </c:pt>
                <c:pt idx="3232">
                  <c:v>42529</c:v>
                </c:pt>
                <c:pt idx="3233">
                  <c:v>42530</c:v>
                </c:pt>
                <c:pt idx="3234">
                  <c:v>42531</c:v>
                </c:pt>
                <c:pt idx="3235">
                  <c:v>42534</c:v>
                </c:pt>
                <c:pt idx="3236">
                  <c:v>42535</c:v>
                </c:pt>
                <c:pt idx="3237">
                  <c:v>42536</c:v>
                </c:pt>
                <c:pt idx="3238">
                  <c:v>42537</c:v>
                </c:pt>
                <c:pt idx="3239">
                  <c:v>42538</c:v>
                </c:pt>
                <c:pt idx="3240">
                  <c:v>42541</c:v>
                </c:pt>
                <c:pt idx="3241">
                  <c:v>42542</c:v>
                </c:pt>
                <c:pt idx="3242">
                  <c:v>42543</c:v>
                </c:pt>
                <c:pt idx="3243">
                  <c:v>42544</c:v>
                </c:pt>
                <c:pt idx="3244">
                  <c:v>42545</c:v>
                </c:pt>
                <c:pt idx="3245">
                  <c:v>42548</c:v>
                </c:pt>
                <c:pt idx="3246">
                  <c:v>42549</c:v>
                </c:pt>
                <c:pt idx="3247">
                  <c:v>42550</c:v>
                </c:pt>
                <c:pt idx="3248">
                  <c:v>42551</c:v>
                </c:pt>
                <c:pt idx="3249">
                  <c:v>42552</c:v>
                </c:pt>
                <c:pt idx="3250">
                  <c:v>42555</c:v>
                </c:pt>
                <c:pt idx="3251">
                  <c:v>42556</c:v>
                </c:pt>
                <c:pt idx="3252">
                  <c:v>42557</c:v>
                </c:pt>
                <c:pt idx="3253">
                  <c:v>42558</c:v>
                </c:pt>
                <c:pt idx="3254">
                  <c:v>42559</c:v>
                </c:pt>
                <c:pt idx="3255">
                  <c:v>42562</c:v>
                </c:pt>
                <c:pt idx="3256">
                  <c:v>42563</c:v>
                </c:pt>
                <c:pt idx="3257">
                  <c:v>42564</c:v>
                </c:pt>
                <c:pt idx="3258">
                  <c:v>42565</c:v>
                </c:pt>
                <c:pt idx="3259">
                  <c:v>42566</c:v>
                </c:pt>
                <c:pt idx="3260">
                  <c:v>42569</c:v>
                </c:pt>
                <c:pt idx="3261">
                  <c:v>42570</c:v>
                </c:pt>
                <c:pt idx="3262">
                  <c:v>42571</c:v>
                </c:pt>
                <c:pt idx="3263">
                  <c:v>42572</c:v>
                </c:pt>
                <c:pt idx="3264">
                  <c:v>42573</c:v>
                </c:pt>
                <c:pt idx="3265">
                  <c:v>42576</c:v>
                </c:pt>
                <c:pt idx="3266">
                  <c:v>42577</c:v>
                </c:pt>
                <c:pt idx="3267">
                  <c:v>42578</c:v>
                </c:pt>
                <c:pt idx="3268">
                  <c:v>42579</c:v>
                </c:pt>
                <c:pt idx="3269">
                  <c:v>42580</c:v>
                </c:pt>
                <c:pt idx="3270">
                  <c:v>42583</c:v>
                </c:pt>
                <c:pt idx="3271">
                  <c:v>42584</c:v>
                </c:pt>
                <c:pt idx="3272">
                  <c:v>42585</c:v>
                </c:pt>
                <c:pt idx="3273">
                  <c:v>42586</c:v>
                </c:pt>
                <c:pt idx="3274">
                  <c:v>42587</c:v>
                </c:pt>
                <c:pt idx="3275">
                  <c:v>42590</c:v>
                </c:pt>
                <c:pt idx="3276">
                  <c:v>42591</c:v>
                </c:pt>
                <c:pt idx="3277">
                  <c:v>42592</c:v>
                </c:pt>
                <c:pt idx="3278">
                  <c:v>42593</c:v>
                </c:pt>
                <c:pt idx="3279">
                  <c:v>42594</c:v>
                </c:pt>
                <c:pt idx="3280">
                  <c:v>42597</c:v>
                </c:pt>
                <c:pt idx="3281">
                  <c:v>42598</c:v>
                </c:pt>
                <c:pt idx="3282">
                  <c:v>42599</c:v>
                </c:pt>
                <c:pt idx="3283">
                  <c:v>42600</c:v>
                </c:pt>
                <c:pt idx="3284">
                  <c:v>42601</c:v>
                </c:pt>
                <c:pt idx="3285">
                  <c:v>42604</c:v>
                </c:pt>
                <c:pt idx="3286">
                  <c:v>42605</c:v>
                </c:pt>
                <c:pt idx="3287">
                  <c:v>42606</c:v>
                </c:pt>
                <c:pt idx="3288">
                  <c:v>42607</c:v>
                </c:pt>
                <c:pt idx="3289">
                  <c:v>42608</c:v>
                </c:pt>
                <c:pt idx="3290">
                  <c:v>42611</c:v>
                </c:pt>
                <c:pt idx="3291">
                  <c:v>42612</c:v>
                </c:pt>
                <c:pt idx="3292">
                  <c:v>42613</c:v>
                </c:pt>
                <c:pt idx="3293">
                  <c:v>42614</c:v>
                </c:pt>
                <c:pt idx="3294">
                  <c:v>42615</c:v>
                </c:pt>
                <c:pt idx="3295">
                  <c:v>42618</c:v>
                </c:pt>
                <c:pt idx="3296">
                  <c:v>42619</c:v>
                </c:pt>
                <c:pt idx="3297">
                  <c:v>42620</c:v>
                </c:pt>
                <c:pt idx="3298">
                  <c:v>42621</c:v>
                </c:pt>
                <c:pt idx="3299">
                  <c:v>42622</c:v>
                </c:pt>
                <c:pt idx="3300">
                  <c:v>42625</c:v>
                </c:pt>
                <c:pt idx="3301">
                  <c:v>42626</c:v>
                </c:pt>
                <c:pt idx="3302">
                  <c:v>42627</c:v>
                </c:pt>
                <c:pt idx="3303">
                  <c:v>42628</c:v>
                </c:pt>
                <c:pt idx="3304">
                  <c:v>42629</c:v>
                </c:pt>
                <c:pt idx="3305">
                  <c:v>42632</c:v>
                </c:pt>
                <c:pt idx="3306">
                  <c:v>42633</c:v>
                </c:pt>
                <c:pt idx="3307">
                  <c:v>42634</c:v>
                </c:pt>
                <c:pt idx="3308">
                  <c:v>42635</c:v>
                </c:pt>
                <c:pt idx="3309">
                  <c:v>42636</c:v>
                </c:pt>
                <c:pt idx="3310">
                  <c:v>42639</c:v>
                </c:pt>
                <c:pt idx="3311">
                  <c:v>42640</c:v>
                </c:pt>
                <c:pt idx="3312">
                  <c:v>42641</c:v>
                </c:pt>
                <c:pt idx="3313">
                  <c:v>42642</c:v>
                </c:pt>
                <c:pt idx="3314">
                  <c:v>42643</c:v>
                </c:pt>
                <c:pt idx="3315">
                  <c:v>42646</c:v>
                </c:pt>
                <c:pt idx="3316">
                  <c:v>42647</c:v>
                </c:pt>
                <c:pt idx="3317">
                  <c:v>42648</c:v>
                </c:pt>
                <c:pt idx="3318">
                  <c:v>42649</c:v>
                </c:pt>
                <c:pt idx="3319">
                  <c:v>42650</c:v>
                </c:pt>
                <c:pt idx="3320">
                  <c:v>42653</c:v>
                </c:pt>
                <c:pt idx="3321">
                  <c:v>42654</c:v>
                </c:pt>
                <c:pt idx="3322">
                  <c:v>42655</c:v>
                </c:pt>
                <c:pt idx="3323">
                  <c:v>42656</c:v>
                </c:pt>
                <c:pt idx="3324">
                  <c:v>42657</c:v>
                </c:pt>
                <c:pt idx="3325">
                  <c:v>42660</c:v>
                </c:pt>
                <c:pt idx="3326">
                  <c:v>42661</c:v>
                </c:pt>
                <c:pt idx="3327">
                  <c:v>42662</c:v>
                </c:pt>
                <c:pt idx="3328">
                  <c:v>42663</c:v>
                </c:pt>
                <c:pt idx="3329">
                  <c:v>42664</c:v>
                </c:pt>
                <c:pt idx="3330">
                  <c:v>42667</c:v>
                </c:pt>
                <c:pt idx="3331">
                  <c:v>42668</c:v>
                </c:pt>
                <c:pt idx="3332">
                  <c:v>42669</c:v>
                </c:pt>
                <c:pt idx="3333">
                  <c:v>42670</c:v>
                </c:pt>
                <c:pt idx="3334">
                  <c:v>42671</c:v>
                </c:pt>
                <c:pt idx="3335">
                  <c:v>42674</c:v>
                </c:pt>
                <c:pt idx="3336">
                  <c:v>42675</c:v>
                </c:pt>
                <c:pt idx="3337">
                  <c:v>42676</c:v>
                </c:pt>
                <c:pt idx="3338">
                  <c:v>42677</c:v>
                </c:pt>
                <c:pt idx="3339">
                  <c:v>42678</c:v>
                </c:pt>
                <c:pt idx="3340">
                  <c:v>42681</c:v>
                </c:pt>
                <c:pt idx="3341">
                  <c:v>42682</c:v>
                </c:pt>
                <c:pt idx="3342">
                  <c:v>42683</c:v>
                </c:pt>
                <c:pt idx="3343">
                  <c:v>42684</c:v>
                </c:pt>
                <c:pt idx="3344">
                  <c:v>42685</c:v>
                </c:pt>
                <c:pt idx="3345">
                  <c:v>42688</c:v>
                </c:pt>
                <c:pt idx="3346">
                  <c:v>42689</c:v>
                </c:pt>
                <c:pt idx="3347">
                  <c:v>42690</c:v>
                </c:pt>
                <c:pt idx="3348">
                  <c:v>42691</c:v>
                </c:pt>
                <c:pt idx="3349">
                  <c:v>42692</c:v>
                </c:pt>
                <c:pt idx="3350">
                  <c:v>42695</c:v>
                </c:pt>
                <c:pt idx="3351">
                  <c:v>42696</c:v>
                </c:pt>
                <c:pt idx="3352">
                  <c:v>42697</c:v>
                </c:pt>
                <c:pt idx="3353">
                  <c:v>42698</c:v>
                </c:pt>
                <c:pt idx="3354">
                  <c:v>42699</c:v>
                </c:pt>
                <c:pt idx="3355">
                  <c:v>42702</c:v>
                </c:pt>
                <c:pt idx="3356">
                  <c:v>42703</c:v>
                </c:pt>
                <c:pt idx="3357">
                  <c:v>42704</c:v>
                </c:pt>
                <c:pt idx="3358">
                  <c:v>42705</c:v>
                </c:pt>
                <c:pt idx="3359">
                  <c:v>42706</c:v>
                </c:pt>
                <c:pt idx="3360">
                  <c:v>42709</c:v>
                </c:pt>
                <c:pt idx="3361">
                  <c:v>42710</c:v>
                </c:pt>
                <c:pt idx="3362">
                  <c:v>42711</c:v>
                </c:pt>
                <c:pt idx="3363">
                  <c:v>42712</c:v>
                </c:pt>
                <c:pt idx="3364">
                  <c:v>42713</c:v>
                </c:pt>
                <c:pt idx="3365">
                  <c:v>42716</c:v>
                </c:pt>
                <c:pt idx="3366">
                  <c:v>42717</c:v>
                </c:pt>
                <c:pt idx="3367">
                  <c:v>42718</c:v>
                </c:pt>
                <c:pt idx="3368">
                  <c:v>42719</c:v>
                </c:pt>
                <c:pt idx="3369">
                  <c:v>42720</c:v>
                </c:pt>
                <c:pt idx="3370">
                  <c:v>42723</c:v>
                </c:pt>
                <c:pt idx="3371">
                  <c:v>42724</c:v>
                </c:pt>
                <c:pt idx="3372">
                  <c:v>42725</c:v>
                </c:pt>
                <c:pt idx="3373">
                  <c:v>42726</c:v>
                </c:pt>
                <c:pt idx="3374">
                  <c:v>42727</c:v>
                </c:pt>
                <c:pt idx="3375">
                  <c:v>42730</c:v>
                </c:pt>
                <c:pt idx="3376">
                  <c:v>42731</c:v>
                </c:pt>
                <c:pt idx="3377">
                  <c:v>42732</c:v>
                </c:pt>
                <c:pt idx="3378">
                  <c:v>42733</c:v>
                </c:pt>
                <c:pt idx="3379">
                  <c:v>42734</c:v>
                </c:pt>
                <c:pt idx="3380">
                  <c:v>42737</c:v>
                </c:pt>
                <c:pt idx="3381">
                  <c:v>42738</c:v>
                </c:pt>
                <c:pt idx="3382">
                  <c:v>42739</c:v>
                </c:pt>
                <c:pt idx="3383">
                  <c:v>42740</c:v>
                </c:pt>
                <c:pt idx="3384">
                  <c:v>42741</c:v>
                </c:pt>
                <c:pt idx="3385">
                  <c:v>42744</c:v>
                </c:pt>
                <c:pt idx="3386">
                  <c:v>42745</c:v>
                </c:pt>
                <c:pt idx="3387">
                  <c:v>42746</c:v>
                </c:pt>
                <c:pt idx="3388">
                  <c:v>42747</c:v>
                </c:pt>
                <c:pt idx="3389">
                  <c:v>42748</c:v>
                </c:pt>
                <c:pt idx="3390">
                  <c:v>42751</c:v>
                </c:pt>
                <c:pt idx="3391">
                  <c:v>42752</c:v>
                </c:pt>
                <c:pt idx="3392">
                  <c:v>42753</c:v>
                </c:pt>
                <c:pt idx="3393">
                  <c:v>42754</c:v>
                </c:pt>
                <c:pt idx="3394">
                  <c:v>42755</c:v>
                </c:pt>
                <c:pt idx="3395">
                  <c:v>42758</c:v>
                </c:pt>
                <c:pt idx="3396">
                  <c:v>42759</c:v>
                </c:pt>
                <c:pt idx="3397">
                  <c:v>42760</c:v>
                </c:pt>
                <c:pt idx="3398">
                  <c:v>42761</c:v>
                </c:pt>
                <c:pt idx="3399">
                  <c:v>42762</c:v>
                </c:pt>
                <c:pt idx="3400">
                  <c:v>42765</c:v>
                </c:pt>
                <c:pt idx="3401">
                  <c:v>42766</c:v>
                </c:pt>
                <c:pt idx="3402">
                  <c:v>42767</c:v>
                </c:pt>
                <c:pt idx="3403">
                  <c:v>42768</c:v>
                </c:pt>
                <c:pt idx="3404">
                  <c:v>42769</c:v>
                </c:pt>
                <c:pt idx="3405">
                  <c:v>42772</c:v>
                </c:pt>
                <c:pt idx="3406">
                  <c:v>42773</c:v>
                </c:pt>
                <c:pt idx="3407">
                  <c:v>42774</c:v>
                </c:pt>
                <c:pt idx="3408">
                  <c:v>42775</c:v>
                </c:pt>
                <c:pt idx="3409">
                  <c:v>42776</c:v>
                </c:pt>
                <c:pt idx="3410">
                  <c:v>42779</c:v>
                </c:pt>
                <c:pt idx="3411">
                  <c:v>42780</c:v>
                </c:pt>
                <c:pt idx="3412">
                  <c:v>42781</c:v>
                </c:pt>
                <c:pt idx="3413">
                  <c:v>42782</c:v>
                </c:pt>
                <c:pt idx="3414">
                  <c:v>42783</c:v>
                </c:pt>
                <c:pt idx="3415">
                  <c:v>42786</c:v>
                </c:pt>
                <c:pt idx="3416">
                  <c:v>42787</c:v>
                </c:pt>
                <c:pt idx="3417">
                  <c:v>42788</c:v>
                </c:pt>
                <c:pt idx="3418">
                  <c:v>42789</c:v>
                </c:pt>
                <c:pt idx="3419">
                  <c:v>42790</c:v>
                </c:pt>
                <c:pt idx="3420">
                  <c:v>42793</c:v>
                </c:pt>
                <c:pt idx="3421">
                  <c:v>42794</c:v>
                </c:pt>
                <c:pt idx="3422">
                  <c:v>42795</c:v>
                </c:pt>
                <c:pt idx="3423">
                  <c:v>42796</c:v>
                </c:pt>
                <c:pt idx="3424">
                  <c:v>42797</c:v>
                </c:pt>
                <c:pt idx="3425">
                  <c:v>42800</c:v>
                </c:pt>
                <c:pt idx="3426">
                  <c:v>42801</c:v>
                </c:pt>
                <c:pt idx="3427">
                  <c:v>42802</c:v>
                </c:pt>
                <c:pt idx="3428">
                  <c:v>42803</c:v>
                </c:pt>
                <c:pt idx="3429">
                  <c:v>42804</c:v>
                </c:pt>
                <c:pt idx="3430">
                  <c:v>42807</c:v>
                </c:pt>
                <c:pt idx="3431">
                  <c:v>42808</c:v>
                </c:pt>
                <c:pt idx="3432">
                  <c:v>42809</c:v>
                </c:pt>
                <c:pt idx="3433">
                  <c:v>42810</c:v>
                </c:pt>
                <c:pt idx="3434">
                  <c:v>42811</c:v>
                </c:pt>
                <c:pt idx="3435">
                  <c:v>42814</c:v>
                </c:pt>
                <c:pt idx="3436">
                  <c:v>42815</c:v>
                </c:pt>
                <c:pt idx="3437">
                  <c:v>42816</c:v>
                </c:pt>
                <c:pt idx="3438">
                  <c:v>42817</c:v>
                </c:pt>
                <c:pt idx="3439">
                  <c:v>42818</c:v>
                </c:pt>
                <c:pt idx="3440">
                  <c:v>42821</c:v>
                </c:pt>
                <c:pt idx="3441">
                  <c:v>42822</c:v>
                </c:pt>
                <c:pt idx="3442">
                  <c:v>42823</c:v>
                </c:pt>
                <c:pt idx="3443">
                  <c:v>42824</c:v>
                </c:pt>
                <c:pt idx="3444">
                  <c:v>42825</c:v>
                </c:pt>
                <c:pt idx="3445">
                  <c:v>42828</c:v>
                </c:pt>
                <c:pt idx="3446">
                  <c:v>42829</c:v>
                </c:pt>
                <c:pt idx="3447">
                  <c:v>42830</c:v>
                </c:pt>
                <c:pt idx="3448">
                  <c:v>42831</c:v>
                </c:pt>
                <c:pt idx="3449">
                  <c:v>42832</c:v>
                </c:pt>
                <c:pt idx="3450">
                  <c:v>42835</c:v>
                </c:pt>
                <c:pt idx="3451">
                  <c:v>42836</c:v>
                </c:pt>
                <c:pt idx="3452">
                  <c:v>42837</c:v>
                </c:pt>
                <c:pt idx="3453">
                  <c:v>42838</c:v>
                </c:pt>
                <c:pt idx="3454">
                  <c:v>42839</c:v>
                </c:pt>
                <c:pt idx="3455">
                  <c:v>42842</c:v>
                </c:pt>
                <c:pt idx="3456">
                  <c:v>42843</c:v>
                </c:pt>
                <c:pt idx="3457">
                  <c:v>42844</c:v>
                </c:pt>
                <c:pt idx="3458">
                  <c:v>42845</c:v>
                </c:pt>
                <c:pt idx="3459">
                  <c:v>42846</c:v>
                </c:pt>
                <c:pt idx="3460">
                  <c:v>42849</c:v>
                </c:pt>
                <c:pt idx="3461">
                  <c:v>42850</c:v>
                </c:pt>
                <c:pt idx="3462">
                  <c:v>42851</c:v>
                </c:pt>
                <c:pt idx="3463">
                  <c:v>42852</c:v>
                </c:pt>
                <c:pt idx="3464">
                  <c:v>42853</c:v>
                </c:pt>
                <c:pt idx="3465">
                  <c:v>42856</c:v>
                </c:pt>
                <c:pt idx="3466">
                  <c:v>42857</c:v>
                </c:pt>
                <c:pt idx="3467">
                  <c:v>42858</c:v>
                </c:pt>
                <c:pt idx="3468">
                  <c:v>42859</c:v>
                </c:pt>
                <c:pt idx="3469">
                  <c:v>42860</c:v>
                </c:pt>
                <c:pt idx="3470">
                  <c:v>42863</c:v>
                </c:pt>
                <c:pt idx="3471">
                  <c:v>42864</c:v>
                </c:pt>
                <c:pt idx="3472">
                  <c:v>42865</c:v>
                </c:pt>
                <c:pt idx="3473">
                  <c:v>42866</c:v>
                </c:pt>
                <c:pt idx="3474">
                  <c:v>42867</c:v>
                </c:pt>
                <c:pt idx="3475">
                  <c:v>42870</c:v>
                </c:pt>
                <c:pt idx="3476">
                  <c:v>42871</c:v>
                </c:pt>
                <c:pt idx="3477">
                  <c:v>42872</c:v>
                </c:pt>
                <c:pt idx="3478">
                  <c:v>42873</c:v>
                </c:pt>
                <c:pt idx="3479">
                  <c:v>42874</c:v>
                </c:pt>
                <c:pt idx="3480">
                  <c:v>42877</c:v>
                </c:pt>
                <c:pt idx="3481">
                  <c:v>42878</c:v>
                </c:pt>
                <c:pt idx="3482">
                  <c:v>42879</c:v>
                </c:pt>
                <c:pt idx="3483">
                  <c:v>42880</c:v>
                </c:pt>
                <c:pt idx="3484">
                  <c:v>42881</c:v>
                </c:pt>
                <c:pt idx="3485">
                  <c:v>42884</c:v>
                </c:pt>
                <c:pt idx="3486">
                  <c:v>42885</c:v>
                </c:pt>
                <c:pt idx="3487">
                  <c:v>42886</c:v>
                </c:pt>
                <c:pt idx="3488">
                  <c:v>42887</c:v>
                </c:pt>
                <c:pt idx="3489">
                  <c:v>42888</c:v>
                </c:pt>
                <c:pt idx="3490">
                  <c:v>42891</c:v>
                </c:pt>
                <c:pt idx="3491">
                  <c:v>42892</c:v>
                </c:pt>
                <c:pt idx="3492">
                  <c:v>42893</c:v>
                </c:pt>
                <c:pt idx="3493">
                  <c:v>42894</c:v>
                </c:pt>
                <c:pt idx="3494">
                  <c:v>42895</c:v>
                </c:pt>
                <c:pt idx="3495">
                  <c:v>42898</c:v>
                </c:pt>
                <c:pt idx="3496">
                  <c:v>42899</c:v>
                </c:pt>
                <c:pt idx="3497">
                  <c:v>42900</c:v>
                </c:pt>
                <c:pt idx="3498">
                  <c:v>42901</c:v>
                </c:pt>
                <c:pt idx="3499">
                  <c:v>42902</c:v>
                </c:pt>
                <c:pt idx="3500">
                  <c:v>42905</c:v>
                </c:pt>
                <c:pt idx="3501">
                  <c:v>42906</c:v>
                </c:pt>
                <c:pt idx="3502">
                  <c:v>42907</c:v>
                </c:pt>
                <c:pt idx="3503">
                  <c:v>42908</c:v>
                </c:pt>
                <c:pt idx="3504">
                  <c:v>42909</c:v>
                </c:pt>
                <c:pt idx="3505">
                  <c:v>42912</c:v>
                </c:pt>
                <c:pt idx="3506">
                  <c:v>42913</c:v>
                </c:pt>
                <c:pt idx="3507">
                  <c:v>42914</c:v>
                </c:pt>
                <c:pt idx="3508">
                  <c:v>42915</c:v>
                </c:pt>
                <c:pt idx="3509">
                  <c:v>42916</c:v>
                </c:pt>
                <c:pt idx="3510">
                  <c:v>42919</c:v>
                </c:pt>
                <c:pt idx="3511">
                  <c:v>42920</c:v>
                </c:pt>
                <c:pt idx="3512">
                  <c:v>42921</c:v>
                </c:pt>
                <c:pt idx="3513">
                  <c:v>42922</c:v>
                </c:pt>
                <c:pt idx="3514">
                  <c:v>42923</c:v>
                </c:pt>
                <c:pt idx="3515">
                  <c:v>42926</c:v>
                </c:pt>
                <c:pt idx="3516">
                  <c:v>42927</c:v>
                </c:pt>
                <c:pt idx="3517">
                  <c:v>42928</c:v>
                </c:pt>
                <c:pt idx="3518">
                  <c:v>42929</c:v>
                </c:pt>
                <c:pt idx="3519">
                  <c:v>42930</c:v>
                </c:pt>
                <c:pt idx="3520">
                  <c:v>42933</c:v>
                </c:pt>
                <c:pt idx="3521">
                  <c:v>42934</c:v>
                </c:pt>
                <c:pt idx="3522">
                  <c:v>42935</c:v>
                </c:pt>
                <c:pt idx="3523">
                  <c:v>42936</c:v>
                </c:pt>
                <c:pt idx="3524">
                  <c:v>42937</c:v>
                </c:pt>
                <c:pt idx="3525">
                  <c:v>42940</c:v>
                </c:pt>
                <c:pt idx="3526">
                  <c:v>42941</c:v>
                </c:pt>
                <c:pt idx="3527">
                  <c:v>42942</c:v>
                </c:pt>
                <c:pt idx="3528">
                  <c:v>42943</c:v>
                </c:pt>
                <c:pt idx="3529">
                  <c:v>42944</c:v>
                </c:pt>
                <c:pt idx="3530">
                  <c:v>42947</c:v>
                </c:pt>
                <c:pt idx="3531">
                  <c:v>42948</c:v>
                </c:pt>
                <c:pt idx="3532">
                  <c:v>42949</c:v>
                </c:pt>
                <c:pt idx="3533">
                  <c:v>42950</c:v>
                </c:pt>
                <c:pt idx="3534">
                  <c:v>42951</c:v>
                </c:pt>
                <c:pt idx="3535">
                  <c:v>42954</c:v>
                </c:pt>
                <c:pt idx="3536">
                  <c:v>42955</c:v>
                </c:pt>
                <c:pt idx="3537">
                  <c:v>42956</c:v>
                </c:pt>
                <c:pt idx="3538">
                  <c:v>42957</c:v>
                </c:pt>
                <c:pt idx="3539">
                  <c:v>42958</c:v>
                </c:pt>
                <c:pt idx="3540">
                  <c:v>42961</c:v>
                </c:pt>
                <c:pt idx="3541">
                  <c:v>42962</c:v>
                </c:pt>
                <c:pt idx="3542">
                  <c:v>42963</c:v>
                </c:pt>
                <c:pt idx="3543">
                  <c:v>42964</c:v>
                </c:pt>
                <c:pt idx="3544">
                  <c:v>42965</c:v>
                </c:pt>
                <c:pt idx="3545">
                  <c:v>42968</c:v>
                </c:pt>
                <c:pt idx="3546">
                  <c:v>42969</c:v>
                </c:pt>
                <c:pt idx="3547">
                  <c:v>42970</c:v>
                </c:pt>
                <c:pt idx="3548">
                  <c:v>42971</c:v>
                </c:pt>
                <c:pt idx="3549">
                  <c:v>42972</c:v>
                </c:pt>
                <c:pt idx="3550">
                  <c:v>42975</c:v>
                </c:pt>
                <c:pt idx="3551">
                  <c:v>42976</c:v>
                </c:pt>
                <c:pt idx="3552">
                  <c:v>42977</c:v>
                </c:pt>
                <c:pt idx="3553">
                  <c:v>42978</c:v>
                </c:pt>
                <c:pt idx="3554">
                  <c:v>42979</c:v>
                </c:pt>
                <c:pt idx="3555">
                  <c:v>42982</c:v>
                </c:pt>
                <c:pt idx="3556">
                  <c:v>42983</c:v>
                </c:pt>
                <c:pt idx="3557">
                  <c:v>42984</c:v>
                </c:pt>
                <c:pt idx="3558">
                  <c:v>42985</c:v>
                </c:pt>
                <c:pt idx="3559">
                  <c:v>42986</c:v>
                </c:pt>
                <c:pt idx="3560">
                  <c:v>42989</c:v>
                </c:pt>
                <c:pt idx="3561">
                  <c:v>42990</c:v>
                </c:pt>
                <c:pt idx="3562">
                  <c:v>42991</c:v>
                </c:pt>
                <c:pt idx="3563">
                  <c:v>42992</c:v>
                </c:pt>
                <c:pt idx="3564">
                  <c:v>42993</c:v>
                </c:pt>
                <c:pt idx="3565">
                  <c:v>42996</c:v>
                </c:pt>
                <c:pt idx="3566">
                  <c:v>42997</c:v>
                </c:pt>
                <c:pt idx="3567">
                  <c:v>42998</c:v>
                </c:pt>
                <c:pt idx="3568">
                  <c:v>42999</c:v>
                </c:pt>
                <c:pt idx="3569">
                  <c:v>43000</c:v>
                </c:pt>
                <c:pt idx="3570">
                  <c:v>43003</c:v>
                </c:pt>
                <c:pt idx="3571">
                  <c:v>43004</c:v>
                </c:pt>
                <c:pt idx="3572">
                  <c:v>43005</c:v>
                </c:pt>
                <c:pt idx="3573">
                  <c:v>43006</c:v>
                </c:pt>
                <c:pt idx="3574">
                  <c:v>43007</c:v>
                </c:pt>
                <c:pt idx="3575">
                  <c:v>43010</c:v>
                </c:pt>
                <c:pt idx="3576">
                  <c:v>43011</c:v>
                </c:pt>
                <c:pt idx="3577">
                  <c:v>43012</c:v>
                </c:pt>
                <c:pt idx="3578">
                  <c:v>43013</c:v>
                </c:pt>
                <c:pt idx="3579">
                  <c:v>43014</c:v>
                </c:pt>
                <c:pt idx="3580">
                  <c:v>43017</c:v>
                </c:pt>
                <c:pt idx="3581">
                  <c:v>43018</c:v>
                </c:pt>
                <c:pt idx="3582">
                  <c:v>43019</c:v>
                </c:pt>
                <c:pt idx="3583">
                  <c:v>43020</c:v>
                </c:pt>
                <c:pt idx="3584">
                  <c:v>43021</c:v>
                </c:pt>
                <c:pt idx="3585">
                  <c:v>43024</c:v>
                </c:pt>
                <c:pt idx="3586">
                  <c:v>43025</c:v>
                </c:pt>
                <c:pt idx="3587">
                  <c:v>43026</c:v>
                </c:pt>
                <c:pt idx="3588">
                  <c:v>43027</c:v>
                </c:pt>
                <c:pt idx="3589">
                  <c:v>43028</c:v>
                </c:pt>
                <c:pt idx="3590">
                  <c:v>43031</c:v>
                </c:pt>
                <c:pt idx="3591">
                  <c:v>43032</c:v>
                </c:pt>
                <c:pt idx="3592">
                  <c:v>43033</c:v>
                </c:pt>
                <c:pt idx="3593">
                  <c:v>43034</c:v>
                </c:pt>
                <c:pt idx="3594">
                  <c:v>43035</c:v>
                </c:pt>
                <c:pt idx="3595">
                  <c:v>43038</c:v>
                </c:pt>
                <c:pt idx="3596">
                  <c:v>43039</c:v>
                </c:pt>
                <c:pt idx="3597">
                  <c:v>43040</c:v>
                </c:pt>
                <c:pt idx="3598">
                  <c:v>43041</c:v>
                </c:pt>
                <c:pt idx="3599">
                  <c:v>43042</c:v>
                </c:pt>
                <c:pt idx="3600">
                  <c:v>43045</c:v>
                </c:pt>
                <c:pt idx="3601">
                  <c:v>43046</c:v>
                </c:pt>
                <c:pt idx="3602">
                  <c:v>43047</c:v>
                </c:pt>
                <c:pt idx="3603">
                  <c:v>43048</c:v>
                </c:pt>
                <c:pt idx="3604">
                  <c:v>43049</c:v>
                </c:pt>
                <c:pt idx="3605">
                  <c:v>43052</c:v>
                </c:pt>
                <c:pt idx="3606">
                  <c:v>43053</c:v>
                </c:pt>
                <c:pt idx="3607">
                  <c:v>43054</c:v>
                </c:pt>
                <c:pt idx="3608">
                  <c:v>43055</c:v>
                </c:pt>
                <c:pt idx="3609">
                  <c:v>43056</c:v>
                </c:pt>
                <c:pt idx="3610">
                  <c:v>43059</c:v>
                </c:pt>
                <c:pt idx="3611">
                  <c:v>43060</c:v>
                </c:pt>
                <c:pt idx="3612">
                  <c:v>43061</c:v>
                </c:pt>
                <c:pt idx="3613">
                  <c:v>43062</c:v>
                </c:pt>
                <c:pt idx="3614">
                  <c:v>43063</c:v>
                </c:pt>
                <c:pt idx="3615">
                  <c:v>43066</c:v>
                </c:pt>
                <c:pt idx="3616">
                  <c:v>43067</c:v>
                </c:pt>
                <c:pt idx="3617">
                  <c:v>43068</c:v>
                </c:pt>
                <c:pt idx="3618">
                  <c:v>43069</c:v>
                </c:pt>
                <c:pt idx="3619">
                  <c:v>43070</c:v>
                </c:pt>
                <c:pt idx="3620">
                  <c:v>43073</c:v>
                </c:pt>
                <c:pt idx="3621">
                  <c:v>43074</c:v>
                </c:pt>
                <c:pt idx="3622">
                  <c:v>43075</c:v>
                </c:pt>
                <c:pt idx="3623">
                  <c:v>43076</c:v>
                </c:pt>
                <c:pt idx="3624">
                  <c:v>43077</c:v>
                </c:pt>
                <c:pt idx="3625">
                  <c:v>43080</c:v>
                </c:pt>
                <c:pt idx="3626">
                  <c:v>43081</c:v>
                </c:pt>
                <c:pt idx="3627">
                  <c:v>43082</c:v>
                </c:pt>
                <c:pt idx="3628">
                  <c:v>43083</c:v>
                </c:pt>
                <c:pt idx="3629">
                  <c:v>43084</c:v>
                </c:pt>
                <c:pt idx="3630">
                  <c:v>43087</c:v>
                </c:pt>
                <c:pt idx="3631">
                  <c:v>43088</c:v>
                </c:pt>
                <c:pt idx="3632">
                  <c:v>43089</c:v>
                </c:pt>
                <c:pt idx="3633">
                  <c:v>43090</c:v>
                </c:pt>
                <c:pt idx="3634">
                  <c:v>43091</c:v>
                </c:pt>
                <c:pt idx="3635">
                  <c:v>43094</c:v>
                </c:pt>
                <c:pt idx="3636">
                  <c:v>43095</c:v>
                </c:pt>
                <c:pt idx="3637">
                  <c:v>43096</c:v>
                </c:pt>
                <c:pt idx="3638">
                  <c:v>43097</c:v>
                </c:pt>
                <c:pt idx="3639">
                  <c:v>43098</c:v>
                </c:pt>
                <c:pt idx="3640">
                  <c:v>43101</c:v>
                </c:pt>
                <c:pt idx="3641">
                  <c:v>43102</c:v>
                </c:pt>
                <c:pt idx="3642">
                  <c:v>43103</c:v>
                </c:pt>
                <c:pt idx="3643">
                  <c:v>43104</c:v>
                </c:pt>
                <c:pt idx="3644">
                  <c:v>43105</c:v>
                </c:pt>
                <c:pt idx="3645">
                  <c:v>43108</c:v>
                </c:pt>
                <c:pt idx="3646">
                  <c:v>43109</c:v>
                </c:pt>
                <c:pt idx="3647">
                  <c:v>43110</c:v>
                </c:pt>
                <c:pt idx="3648">
                  <c:v>43111</c:v>
                </c:pt>
                <c:pt idx="3649">
                  <c:v>43112</c:v>
                </c:pt>
                <c:pt idx="3650">
                  <c:v>43115</c:v>
                </c:pt>
                <c:pt idx="3651">
                  <c:v>43116</c:v>
                </c:pt>
                <c:pt idx="3652">
                  <c:v>43117</c:v>
                </c:pt>
                <c:pt idx="3653">
                  <c:v>43118</c:v>
                </c:pt>
                <c:pt idx="3654">
                  <c:v>43119</c:v>
                </c:pt>
                <c:pt idx="3655">
                  <c:v>43122</c:v>
                </c:pt>
                <c:pt idx="3656">
                  <c:v>43123</c:v>
                </c:pt>
                <c:pt idx="3657">
                  <c:v>43124</c:v>
                </c:pt>
                <c:pt idx="3658">
                  <c:v>43125</c:v>
                </c:pt>
                <c:pt idx="3659">
                  <c:v>43126</c:v>
                </c:pt>
                <c:pt idx="3660">
                  <c:v>43129</c:v>
                </c:pt>
                <c:pt idx="3661">
                  <c:v>43130</c:v>
                </c:pt>
                <c:pt idx="3662">
                  <c:v>43131</c:v>
                </c:pt>
                <c:pt idx="3663">
                  <c:v>43132</c:v>
                </c:pt>
                <c:pt idx="3664">
                  <c:v>43133</c:v>
                </c:pt>
                <c:pt idx="3665">
                  <c:v>43136</c:v>
                </c:pt>
                <c:pt idx="3666">
                  <c:v>43137</c:v>
                </c:pt>
                <c:pt idx="3667">
                  <c:v>43138</c:v>
                </c:pt>
                <c:pt idx="3668">
                  <c:v>43139</c:v>
                </c:pt>
                <c:pt idx="3669">
                  <c:v>43140</c:v>
                </c:pt>
                <c:pt idx="3670">
                  <c:v>43143</c:v>
                </c:pt>
                <c:pt idx="3671">
                  <c:v>43144</c:v>
                </c:pt>
                <c:pt idx="3672">
                  <c:v>43145</c:v>
                </c:pt>
                <c:pt idx="3673">
                  <c:v>43146</c:v>
                </c:pt>
                <c:pt idx="3674">
                  <c:v>43147</c:v>
                </c:pt>
                <c:pt idx="3675">
                  <c:v>43150</c:v>
                </c:pt>
                <c:pt idx="3676">
                  <c:v>43151</c:v>
                </c:pt>
                <c:pt idx="3677">
                  <c:v>43152</c:v>
                </c:pt>
                <c:pt idx="3678">
                  <c:v>43153</c:v>
                </c:pt>
                <c:pt idx="3679">
                  <c:v>43154</c:v>
                </c:pt>
                <c:pt idx="3680">
                  <c:v>43157</c:v>
                </c:pt>
                <c:pt idx="3681">
                  <c:v>43158</c:v>
                </c:pt>
                <c:pt idx="3682">
                  <c:v>43159</c:v>
                </c:pt>
                <c:pt idx="3683">
                  <c:v>43160</c:v>
                </c:pt>
                <c:pt idx="3684">
                  <c:v>43161</c:v>
                </c:pt>
                <c:pt idx="3685">
                  <c:v>43164</c:v>
                </c:pt>
                <c:pt idx="3686">
                  <c:v>43165</c:v>
                </c:pt>
                <c:pt idx="3687">
                  <c:v>43166</c:v>
                </c:pt>
                <c:pt idx="3688">
                  <c:v>43167</c:v>
                </c:pt>
                <c:pt idx="3689">
                  <c:v>43168</c:v>
                </c:pt>
                <c:pt idx="3690">
                  <c:v>43171</c:v>
                </c:pt>
                <c:pt idx="3691">
                  <c:v>43172</c:v>
                </c:pt>
                <c:pt idx="3692">
                  <c:v>43173</c:v>
                </c:pt>
                <c:pt idx="3693">
                  <c:v>43174</c:v>
                </c:pt>
                <c:pt idx="3694">
                  <c:v>43175</c:v>
                </c:pt>
                <c:pt idx="3695">
                  <c:v>43178</c:v>
                </c:pt>
                <c:pt idx="3696">
                  <c:v>43179</c:v>
                </c:pt>
                <c:pt idx="3697">
                  <c:v>43180</c:v>
                </c:pt>
                <c:pt idx="3698">
                  <c:v>43181</c:v>
                </c:pt>
                <c:pt idx="3699">
                  <c:v>43182</c:v>
                </c:pt>
                <c:pt idx="3700">
                  <c:v>43185</c:v>
                </c:pt>
                <c:pt idx="3701">
                  <c:v>43186</c:v>
                </c:pt>
                <c:pt idx="3702">
                  <c:v>43187</c:v>
                </c:pt>
                <c:pt idx="3703">
                  <c:v>43188</c:v>
                </c:pt>
                <c:pt idx="3704">
                  <c:v>43189</c:v>
                </c:pt>
                <c:pt idx="3705">
                  <c:v>43192</c:v>
                </c:pt>
                <c:pt idx="3706">
                  <c:v>43193</c:v>
                </c:pt>
                <c:pt idx="3707">
                  <c:v>43194</c:v>
                </c:pt>
                <c:pt idx="3708">
                  <c:v>43195</c:v>
                </c:pt>
                <c:pt idx="3709">
                  <c:v>43196</c:v>
                </c:pt>
                <c:pt idx="3710">
                  <c:v>43199</c:v>
                </c:pt>
                <c:pt idx="3711">
                  <c:v>43200</c:v>
                </c:pt>
                <c:pt idx="3712">
                  <c:v>43201</c:v>
                </c:pt>
                <c:pt idx="3713">
                  <c:v>43202</c:v>
                </c:pt>
                <c:pt idx="3714">
                  <c:v>43203</c:v>
                </c:pt>
                <c:pt idx="3715">
                  <c:v>43206</c:v>
                </c:pt>
                <c:pt idx="3716">
                  <c:v>43207</c:v>
                </c:pt>
                <c:pt idx="3717">
                  <c:v>43208</c:v>
                </c:pt>
                <c:pt idx="3718">
                  <c:v>43209</c:v>
                </c:pt>
                <c:pt idx="3719">
                  <c:v>43210</c:v>
                </c:pt>
                <c:pt idx="3720">
                  <c:v>43213</c:v>
                </c:pt>
                <c:pt idx="3721">
                  <c:v>43214</c:v>
                </c:pt>
                <c:pt idx="3722">
                  <c:v>43215</c:v>
                </c:pt>
                <c:pt idx="3723">
                  <c:v>43216</c:v>
                </c:pt>
                <c:pt idx="3724">
                  <c:v>43217</c:v>
                </c:pt>
                <c:pt idx="3725">
                  <c:v>43220</c:v>
                </c:pt>
                <c:pt idx="3726">
                  <c:v>43221</c:v>
                </c:pt>
                <c:pt idx="3727">
                  <c:v>43222</c:v>
                </c:pt>
                <c:pt idx="3728">
                  <c:v>43223</c:v>
                </c:pt>
                <c:pt idx="3729">
                  <c:v>43224</c:v>
                </c:pt>
                <c:pt idx="3730">
                  <c:v>43227</c:v>
                </c:pt>
                <c:pt idx="3731">
                  <c:v>43228</c:v>
                </c:pt>
                <c:pt idx="3732">
                  <c:v>43229</c:v>
                </c:pt>
                <c:pt idx="3733">
                  <c:v>43230</c:v>
                </c:pt>
                <c:pt idx="3734">
                  <c:v>43231</c:v>
                </c:pt>
                <c:pt idx="3735">
                  <c:v>43234</c:v>
                </c:pt>
                <c:pt idx="3736">
                  <c:v>43235</c:v>
                </c:pt>
                <c:pt idx="3737">
                  <c:v>43236</c:v>
                </c:pt>
                <c:pt idx="3738">
                  <c:v>43237</c:v>
                </c:pt>
                <c:pt idx="3739">
                  <c:v>43238</c:v>
                </c:pt>
                <c:pt idx="3740">
                  <c:v>43241</c:v>
                </c:pt>
                <c:pt idx="3741">
                  <c:v>43242</c:v>
                </c:pt>
                <c:pt idx="3742">
                  <c:v>43243</c:v>
                </c:pt>
                <c:pt idx="3743">
                  <c:v>43244</c:v>
                </c:pt>
                <c:pt idx="3744">
                  <c:v>43245</c:v>
                </c:pt>
                <c:pt idx="3745">
                  <c:v>43248</c:v>
                </c:pt>
                <c:pt idx="3746">
                  <c:v>43249</c:v>
                </c:pt>
                <c:pt idx="3747">
                  <c:v>43250</c:v>
                </c:pt>
                <c:pt idx="3748">
                  <c:v>43251</c:v>
                </c:pt>
                <c:pt idx="3749">
                  <c:v>43252</c:v>
                </c:pt>
                <c:pt idx="3750">
                  <c:v>43255</c:v>
                </c:pt>
                <c:pt idx="3751">
                  <c:v>43256</c:v>
                </c:pt>
                <c:pt idx="3752">
                  <c:v>43257</c:v>
                </c:pt>
                <c:pt idx="3753">
                  <c:v>43258</c:v>
                </c:pt>
                <c:pt idx="3754">
                  <c:v>43259</c:v>
                </c:pt>
                <c:pt idx="3755">
                  <c:v>43262</c:v>
                </c:pt>
                <c:pt idx="3756">
                  <c:v>43263</c:v>
                </c:pt>
                <c:pt idx="3757">
                  <c:v>43264</c:v>
                </c:pt>
                <c:pt idx="3758">
                  <c:v>43265</c:v>
                </c:pt>
                <c:pt idx="3759">
                  <c:v>43266</c:v>
                </c:pt>
                <c:pt idx="3760">
                  <c:v>43269</c:v>
                </c:pt>
                <c:pt idx="3761">
                  <c:v>43270</c:v>
                </c:pt>
                <c:pt idx="3762">
                  <c:v>43271</c:v>
                </c:pt>
                <c:pt idx="3763">
                  <c:v>43272</c:v>
                </c:pt>
                <c:pt idx="3764">
                  <c:v>43273</c:v>
                </c:pt>
                <c:pt idx="3765">
                  <c:v>43276</c:v>
                </c:pt>
                <c:pt idx="3766">
                  <c:v>43277</c:v>
                </c:pt>
                <c:pt idx="3767">
                  <c:v>43278</c:v>
                </c:pt>
                <c:pt idx="3768">
                  <c:v>43279</c:v>
                </c:pt>
                <c:pt idx="3769">
                  <c:v>43280</c:v>
                </c:pt>
                <c:pt idx="3770">
                  <c:v>43283</c:v>
                </c:pt>
                <c:pt idx="3771">
                  <c:v>43284</c:v>
                </c:pt>
                <c:pt idx="3772">
                  <c:v>43285</c:v>
                </c:pt>
                <c:pt idx="3773">
                  <c:v>43286</c:v>
                </c:pt>
                <c:pt idx="3774">
                  <c:v>43287</c:v>
                </c:pt>
                <c:pt idx="3775">
                  <c:v>43290</c:v>
                </c:pt>
                <c:pt idx="3776">
                  <c:v>43291</c:v>
                </c:pt>
                <c:pt idx="3777">
                  <c:v>43292</c:v>
                </c:pt>
                <c:pt idx="3778">
                  <c:v>43293</c:v>
                </c:pt>
                <c:pt idx="3779">
                  <c:v>43294</c:v>
                </c:pt>
                <c:pt idx="3780">
                  <c:v>43297</c:v>
                </c:pt>
                <c:pt idx="3781">
                  <c:v>43298</c:v>
                </c:pt>
                <c:pt idx="3782">
                  <c:v>43299</c:v>
                </c:pt>
                <c:pt idx="3783">
                  <c:v>43300</c:v>
                </c:pt>
                <c:pt idx="3784">
                  <c:v>43301</c:v>
                </c:pt>
                <c:pt idx="3785">
                  <c:v>43304</c:v>
                </c:pt>
                <c:pt idx="3786">
                  <c:v>43305</c:v>
                </c:pt>
                <c:pt idx="3787">
                  <c:v>43306</c:v>
                </c:pt>
                <c:pt idx="3788">
                  <c:v>43307</c:v>
                </c:pt>
                <c:pt idx="3789">
                  <c:v>43308</c:v>
                </c:pt>
                <c:pt idx="3790">
                  <c:v>43311</c:v>
                </c:pt>
                <c:pt idx="3791">
                  <c:v>43312</c:v>
                </c:pt>
                <c:pt idx="3792">
                  <c:v>43313</c:v>
                </c:pt>
                <c:pt idx="3793">
                  <c:v>43314</c:v>
                </c:pt>
                <c:pt idx="3794">
                  <c:v>43315</c:v>
                </c:pt>
                <c:pt idx="3795">
                  <c:v>43318</c:v>
                </c:pt>
                <c:pt idx="3796">
                  <c:v>43319</c:v>
                </c:pt>
                <c:pt idx="3797">
                  <c:v>43320</c:v>
                </c:pt>
                <c:pt idx="3798">
                  <c:v>43321</c:v>
                </c:pt>
                <c:pt idx="3799">
                  <c:v>43322</c:v>
                </c:pt>
                <c:pt idx="3800">
                  <c:v>43325</c:v>
                </c:pt>
                <c:pt idx="3801">
                  <c:v>43326</c:v>
                </c:pt>
                <c:pt idx="3802">
                  <c:v>43327</c:v>
                </c:pt>
                <c:pt idx="3803">
                  <c:v>43328</c:v>
                </c:pt>
                <c:pt idx="3804">
                  <c:v>43329</c:v>
                </c:pt>
                <c:pt idx="3805">
                  <c:v>43332</c:v>
                </c:pt>
                <c:pt idx="3806">
                  <c:v>43333</c:v>
                </c:pt>
                <c:pt idx="3807">
                  <c:v>43334</c:v>
                </c:pt>
                <c:pt idx="3808">
                  <c:v>43335</c:v>
                </c:pt>
                <c:pt idx="3809">
                  <c:v>43336</c:v>
                </c:pt>
                <c:pt idx="3810">
                  <c:v>43339</c:v>
                </c:pt>
                <c:pt idx="3811">
                  <c:v>43340</c:v>
                </c:pt>
                <c:pt idx="3812">
                  <c:v>43341</c:v>
                </c:pt>
                <c:pt idx="3813">
                  <c:v>43342</c:v>
                </c:pt>
                <c:pt idx="3814">
                  <c:v>43343</c:v>
                </c:pt>
                <c:pt idx="3815">
                  <c:v>43346</c:v>
                </c:pt>
                <c:pt idx="3816">
                  <c:v>43347</c:v>
                </c:pt>
                <c:pt idx="3817">
                  <c:v>43348</c:v>
                </c:pt>
                <c:pt idx="3818">
                  <c:v>43349</c:v>
                </c:pt>
                <c:pt idx="3819">
                  <c:v>43350</c:v>
                </c:pt>
                <c:pt idx="3820">
                  <c:v>43353</c:v>
                </c:pt>
                <c:pt idx="3821">
                  <c:v>43354</c:v>
                </c:pt>
                <c:pt idx="3822">
                  <c:v>43355</c:v>
                </c:pt>
                <c:pt idx="3823">
                  <c:v>43356</c:v>
                </c:pt>
                <c:pt idx="3824">
                  <c:v>43357</c:v>
                </c:pt>
                <c:pt idx="3825">
                  <c:v>43360</c:v>
                </c:pt>
                <c:pt idx="3826">
                  <c:v>43361</c:v>
                </c:pt>
                <c:pt idx="3827">
                  <c:v>43362</c:v>
                </c:pt>
                <c:pt idx="3828">
                  <c:v>43363</c:v>
                </c:pt>
                <c:pt idx="3829">
                  <c:v>43364</c:v>
                </c:pt>
                <c:pt idx="3830">
                  <c:v>43367</c:v>
                </c:pt>
                <c:pt idx="3831">
                  <c:v>43368</c:v>
                </c:pt>
                <c:pt idx="3832">
                  <c:v>43369</c:v>
                </c:pt>
                <c:pt idx="3833">
                  <c:v>43370</c:v>
                </c:pt>
                <c:pt idx="3834">
                  <c:v>43371</c:v>
                </c:pt>
                <c:pt idx="3835">
                  <c:v>43374</c:v>
                </c:pt>
                <c:pt idx="3836">
                  <c:v>43375</c:v>
                </c:pt>
                <c:pt idx="3837">
                  <c:v>43376</c:v>
                </c:pt>
                <c:pt idx="3838">
                  <c:v>43377</c:v>
                </c:pt>
                <c:pt idx="3839">
                  <c:v>43378</c:v>
                </c:pt>
                <c:pt idx="3840">
                  <c:v>43381</c:v>
                </c:pt>
                <c:pt idx="3841">
                  <c:v>43382</c:v>
                </c:pt>
                <c:pt idx="3842">
                  <c:v>43383</c:v>
                </c:pt>
                <c:pt idx="3843">
                  <c:v>43384</c:v>
                </c:pt>
                <c:pt idx="3844">
                  <c:v>43385</c:v>
                </c:pt>
                <c:pt idx="3845">
                  <c:v>43388</c:v>
                </c:pt>
                <c:pt idx="3846">
                  <c:v>43389</c:v>
                </c:pt>
                <c:pt idx="3847">
                  <c:v>43390</c:v>
                </c:pt>
                <c:pt idx="3848">
                  <c:v>43391</c:v>
                </c:pt>
                <c:pt idx="3849">
                  <c:v>43392</c:v>
                </c:pt>
                <c:pt idx="3850">
                  <c:v>43395</c:v>
                </c:pt>
                <c:pt idx="3851">
                  <c:v>43396</c:v>
                </c:pt>
                <c:pt idx="3852">
                  <c:v>43397</c:v>
                </c:pt>
                <c:pt idx="3853">
                  <c:v>43398</c:v>
                </c:pt>
                <c:pt idx="3854">
                  <c:v>43399</c:v>
                </c:pt>
                <c:pt idx="3855">
                  <c:v>43402</c:v>
                </c:pt>
                <c:pt idx="3856">
                  <c:v>43403</c:v>
                </c:pt>
                <c:pt idx="3857">
                  <c:v>43404</c:v>
                </c:pt>
                <c:pt idx="3858">
                  <c:v>43405</c:v>
                </c:pt>
                <c:pt idx="3859">
                  <c:v>43406</c:v>
                </c:pt>
                <c:pt idx="3860">
                  <c:v>43409</c:v>
                </c:pt>
                <c:pt idx="3861">
                  <c:v>43410</c:v>
                </c:pt>
                <c:pt idx="3862">
                  <c:v>43411</c:v>
                </c:pt>
                <c:pt idx="3863">
                  <c:v>43412</c:v>
                </c:pt>
                <c:pt idx="3864">
                  <c:v>43413</c:v>
                </c:pt>
                <c:pt idx="3865">
                  <c:v>43416</c:v>
                </c:pt>
                <c:pt idx="3866">
                  <c:v>43417</c:v>
                </c:pt>
                <c:pt idx="3867">
                  <c:v>43418</c:v>
                </c:pt>
                <c:pt idx="3868">
                  <c:v>43419</c:v>
                </c:pt>
                <c:pt idx="3869">
                  <c:v>43420</c:v>
                </c:pt>
                <c:pt idx="3870">
                  <c:v>43423</c:v>
                </c:pt>
                <c:pt idx="3871">
                  <c:v>43424</c:v>
                </c:pt>
                <c:pt idx="3872">
                  <c:v>43425</c:v>
                </c:pt>
                <c:pt idx="3873">
                  <c:v>43426</c:v>
                </c:pt>
                <c:pt idx="3874">
                  <c:v>43427</c:v>
                </c:pt>
                <c:pt idx="3875">
                  <c:v>43430</c:v>
                </c:pt>
                <c:pt idx="3876">
                  <c:v>43431</c:v>
                </c:pt>
                <c:pt idx="3877">
                  <c:v>43432</c:v>
                </c:pt>
                <c:pt idx="3878">
                  <c:v>43433</c:v>
                </c:pt>
                <c:pt idx="3879">
                  <c:v>43434</c:v>
                </c:pt>
                <c:pt idx="3880">
                  <c:v>43437</c:v>
                </c:pt>
                <c:pt idx="3881">
                  <c:v>43438</c:v>
                </c:pt>
                <c:pt idx="3882">
                  <c:v>43439</c:v>
                </c:pt>
                <c:pt idx="3883">
                  <c:v>43440</c:v>
                </c:pt>
                <c:pt idx="3884">
                  <c:v>43441</c:v>
                </c:pt>
                <c:pt idx="3885">
                  <c:v>43444</c:v>
                </c:pt>
                <c:pt idx="3886">
                  <c:v>43445</c:v>
                </c:pt>
                <c:pt idx="3887">
                  <c:v>43446</c:v>
                </c:pt>
                <c:pt idx="3888">
                  <c:v>43447</c:v>
                </c:pt>
                <c:pt idx="3889">
                  <c:v>43448</c:v>
                </c:pt>
                <c:pt idx="3890">
                  <c:v>43451</c:v>
                </c:pt>
                <c:pt idx="3891">
                  <c:v>43452</c:v>
                </c:pt>
                <c:pt idx="3892">
                  <c:v>43453</c:v>
                </c:pt>
                <c:pt idx="3893">
                  <c:v>43454</c:v>
                </c:pt>
                <c:pt idx="3894">
                  <c:v>43455</c:v>
                </c:pt>
                <c:pt idx="3895">
                  <c:v>43458</c:v>
                </c:pt>
                <c:pt idx="3896">
                  <c:v>43459</c:v>
                </c:pt>
                <c:pt idx="3897">
                  <c:v>43460</c:v>
                </c:pt>
                <c:pt idx="3898">
                  <c:v>43461</c:v>
                </c:pt>
                <c:pt idx="3899">
                  <c:v>43462</c:v>
                </c:pt>
                <c:pt idx="3900">
                  <c:v>43465</c:v>
                </c:pt>
                <c:pt idx="3901">
                  <c:v>43466</c:v>
                </c:pt>
                <c:pt idx="3902">
                  <c:v>43467</c:v>
                </c:pt>
                <c:pt idx="3903">
                  <c:v>43468</c:v>
                </c:pt>
                <c:pt idx="3904">
                  <c:v>43469</c:v>
                </c:pt>
                <c:pt idx="3905">
                  <c:v>43472</c:v>
                </c:pt>
                <c:pt idx="3906">
                  <c:v>43473</c:v>
                </c:pt>
                <c:pt idx="3907">
                  <c:v>43474</c:v>
                </c:pt>
                <c:pt idx="3908">
                  <c:v>43475</c:v>
                </c:pt>
                <c:pt idx="3909">
                  <c:v>43476</c:v>
                </c:pt>
                <c:pt idx="3910">
                  <c:v>43479</c:v>
                </c:pt>
                <c:pt idx="3911">
                  <c:v>43480</c:v>
                </c:pt>
                <c:pt idx="3912">
                  <c:v>43481</c:v>
                </c:pt>
                <c:pt idx="3913">
                  <c:v>43482</c:v>
                </c:pt>
                <c:pt idx="3914">
                  <c:v>43483</c:v>
                </c:pt>
                <c:pt idx="3915">
                  <c:v>43486</c:v>
                </c:pt>
                <c:pt idx="3916">
                  <c:v>43487</c:v>
                </c:pt>
                <c:pt idx="3917">
                  <c:v>43488</c:v>
                </c:pt>
                <c:pt idx="3918">
                  <c:v>43489</c:v>
                </c:pt>
                <c:pt idx="3919">
                  <c:v>43490</c:v>
                </c:pt>
                <c:pt idx="3920">
                  <c:v>43493</c:v>
                </c:pt>
                <c:pt idx="3921">
                  <c:v>43494</c:v>
                </c:pt>
                <c:pt idx="3922">
                  <c:v>43495</c:v>
                </c:pt>
                <c:pt idx="3923">
                  <c:v>43496</c:v>
                </c:pt>
                <c:pt idx="3924">
                  <c:v>43497</c:v>
                </c:pt>
                <c:pt idx="3925">
                  <c:v>43500</c:v>
                </c:pt>
                <c:pt idx="3926">
                  <c:v>43501</c:v>
                </c:pt>
                <c:pt idx="3927">
                  <c:v>43502</c:v>
                </c:pt>
                <c:pt idx="3928">
                  <c:v>43503</c:v>
                </c:pt>
                <c:pt idx="3929">
                  <c:v>43504</c:v>
                </c:pt>
                <c:pt idx="3930">
                  <c:v>43507</c:v>
                </c:pt>
                <c:pt idx="3931">
                  <c:v>43508</c:v>
                </c:pt>
                <c:pt idx="3932">
                  <c:v>43509</c:v>
                </c:pt>
                <c:pt idx="3933">
                  <c:v>43510</c:v>
                </c:pt>
                <c:pt idx="3934">
                  <c:v>43511</c:v>
                </c:pt>
                <c:pt idx="3935">
                  <c:v>43514</c:v>
                </c:pt>
                <c:pt idx="3936">
                  <c:v>43515</c:v>
                </c:pt>
                <c:pt idx="3937">
                  <c:v>43516</c:v>
                </c:pt>
                <c:pt idx="3938">
                  <c:v>43517</c:v>
                </c:pt>
                <c:pt idx="3939">
                  <c:v>43518</c:v>
                </c:pt>
                <c:pt idx="3940">
                  <c:v>43521</c:v>
                </c:pt>
                <c:pt idx="3941">
                  <c:v>43522</c:v>
                </c:pt>
                <c:pt idx="3942">
                  <c:v>43523</c:v>
                </c:pt>
                <c:pt idx="3943">
                  <c:v>43524</c:v>
                </c:pt>
                <c:pt idx="3944">
                  <c:v>43525</c:v>
                </c:pt>
                <c:pt idx="3945">
                  <c:v>43528</c:v>
                </c:pt>
                <c:pt idx="3946">
                  <c:v>43529</c:v>
                </c:pt>
                <c:pt idx="3947">
                  <c:v>43530</c:v>
                </c:pt>
                <c:pt idx="3948">
                  <c:v>43531</c:v>
                </c:pt>
                <c:pt idx="3949">
                  <c:v>43532</c:v>
                </c:pt>
                <c:pt idx="3950">
                  <c:v>43535</c:v>
                </c:pt>
                <c:pt idx="3951">
                  <c:v>43536</c:v>
                </c:pt>
                <c:pt idx="3952">
                  <c:v>43537</c:v>
                </c:pt>
                <c:pt idx="3953">
                  <c:v>43538</c:v>
                </c:pt>
                <c:pt idx="3954">
                  <c:v>43539</c:v>
                </c:pt>
                <c:pt idx="3955">
                  <c:v>43542</c:v>
                </c:pt>
                <c:pt idx="3956">
                  <c:v>43543</c:v>
                </c:pt>
                <c:pt idx="3957">
                  <c:v>43544</c:v>
                </c:pt>
                <c:pt idx="3958">
                  <c:v>43545</c:v>
                </c:pt>
                <c:pt idx="3959">
                  <c:v>43546</c:v>
                </c:pt>
                <c:pt idx="3960">
                  <c:v>43549</c:v>
                </c:pt>
                <c:pt idx="3961">
                  <c:v>43550</c:v>
                </c:pt>
                <c:pt idx="3962">
                  <c:v>43551</c:v>
                </c:pt>
                <c:pt idx="3963">
                  <c:v>43552</c:v>
                </c:pt>
                <c:pt idx="3964">
                  <c:v>43553</c:v>
                </c:pt>
                <c:pt idx="3965">
                  <c:v>43556</c:v>
                </c:pt>
                <c:pt idx="3966">
                  <c:v>43557</c:v>
                </c:pt>
                <c:pt idx="3967">
                  <c:v>43558</c:v>
                </c:pt>
                <c:pt idx="3968">
                  <c:v>43559</c:v>
                </c:pt>
                <c:pt idx="3969">
                  <c:v>43560</c:v>
                </c:pt>
                <c:pt idx="3970">
                  <c:v>43563</c:v>
                </c:pt>
                <c:pt idx="3971">
                  <c:v>43564</c:v>
                </c:pt>
                <c:pt idx="3972">
                  <c:v>43565</c:v>
                </c:pt>
                <c:pt idx="3973">
                  <c:v>43566</c:v>
                </c:pt>
                <c:pt idx="3974">
                  <c:v>43567</c:v>
                </c:pt>
                <c:pt idx="3975">
                  <c:v>43570</c:v>
                </c:pt>
                <c:pt idx="3976">
                  <c:v>43571</c:v>
                </c:pt>
                <c:pt idx="3977">
                  <c:v>43572</c:v>
                </c:pt>
                <c:pt idx="3978">
                  <c:v>43573</c:v>
                </c:pt>
                <c:pt idx="3979">
                  <c:v>43574</c:v>
                </c:pt>
                <c:pt idx="3980">
                  <c:v>43577</c:v>
                </c:pt>
                <c:pt idx="3981">
                  <c:v>43578</c:v>
                </c:pt>
                <c:pt idx="3982">
                  <c:v>43579</c:v>
                </c:pt>
                <c:pt idx="3983">
                  <c:v>43580</c:v>
                </c:pt>
                <c:pt idx="3984">
                  <c:v>43581</c:v>
                </c:pt>
                <c:pt idx="3985">
                  <c:v>43584</c:v>
                </c:pt>
                <c:pt idx="3986">
                  <c:v>43585</c:v>
                </c:pt>
                <c:pt idx="3987">
                  <c:v>43586</c:v>
                </c:pt>
                <c:pt idx="3988">
                  <c:v>43587</c:v>
                </c:pt>
                <c:pt idx="3989">
                  <c:v>43588</c:v>
                </c:pt>
                <c:pt idx="3990">
                  <c:v>43591</c:v>
                </c:pt>
                <c:pt idx="3991">
                  <c:v>43592</c:v>
                </c:pt>
                <c:pt idx="3992">
                  <c:v>43593</c:v>
                </c:pt>
                <c:pt idx="3993">
                  <c:v>43594</c:v>
                </c:pt>
                <c:pt idx="3994">
                  <c:v>43595</c:v>
                </c:pt>
                <c:pt idx="3995">
                  <c:v>43598</c:v>
                </c:pt>
                <c:pt idx="3996">
                  <c:v>43599</c:v>
                </c:pt>
                <c:pt idx="3997">
                  <c:v>43600</c:v>
                </c:pt>
                <c:pt idx="3998">
                  <c:v>43601</c:v>
                </c:pt>
                <c:pt idx="3999">
                  <c:v>43602</c:v>
                </c:pt>
                <c:pt idx="4000">
                  <c:v>43605</c:v>
                </c:pt>
                <c:pt idx="4001">
                  <c:v>43606</c:v>
                </c:pt>
                <c:pt idx="4002">
                  <c:v>43607</c:v>
                </c:pt>
                <c:pt idx="4003">
                  <c:v>43608</c:v>
                </c:pt>
                <c:pt idx="4004">
                  <c:v>43609</c:v>
                </c:pt>
                <c:pt idx="4005">
                  <c:v>43612</c:v>
                </c:pt>
                <c:pt idx="4006">
                  <c:v>43613</c:v>
                </c:pt>
                <c:pt idx="4007">
                  <c:v>43614</c:v>
                </c:pt>
                <c:pt idx="4008">
                  <c:v>43615</c:v>
                </c:pt>
                <c:pt idx="4009">
                  <c:v>43616</c:v>
                </c:pt>
                <c:pt idx="4010">
                  <c:v>43619</c:v>
                </c:pt>
                <c:pt idx="4011">
                  <c:v>43620</c:v>
                </c:pt>
                <c:pt idx="4012">
                  <c:v>43621</c:v>
                </c:pt>
                <c:pt idx="4013">
                  <c:v>43622</c:v>
                </c:pt>
                <c:pt idx="4014">
                  <c:v>43623</c:v>
                </c:pt>
                <c:pt idx="4015">
                  <c:v>43626</c:v>
                </c:pt>
                <c:pt idx="4016">
                  <c:v>43627</c:v>
                </c:pt>
                <c:pt idx="4017">
                  <c:v>43628</c:v>
                </c:pt>
                <c:pt idx="4018">
                  <c:v>43629</c:v>
                </c:pt>
                <c:pt idx="4019">
                  <c:v>43630</c:v>
                </c:pt>
                <c:pt idx="4020">
                  <c:v>43633</c:v>
                </c:pt>
                <c:pt idx="4021">
                  <c:v>43634</c:v>
                </c:pt>
                <c:pt idx="4022">
                  <c:v>43635</c:v>
                </c:pt>
                <c:pt idx="4023">
                  <c:v>43636</c:v>
                </c:pt>
                <c:pt idx="4024">
                  <c:v>43637</c:v>
                </c:pt>
                <c:pt idx="4025">
                  <c:v>43640</c:v>
                </c:pt>
                <c:pt idx="4026">
                  <c:v>43641</c:v>
                </c:pt>
                <c:pt idx="4027">
                  <c:v>43642</c:v>
                </c:pt>
                <c:pt idx="4028">
                  <c:v>43643</c:v>
                </c:pt>
                <c:pt idx="4029">
                  <c:v>43644</c:v>
                </c:pt>
                <c:pt idx="4030">
                  <c:v>43647</c:v>
                </c:pt>
                <c:pt idx="4031">
                  <c:v>43648</c:v>
                </c:pt>
                <c:pt idx="4032">
                  <c:v>43649</c:v>
                </c:pt>
                <c:pt idx="4033">
                  <c:v>43650</c:v>
                </c:pt>
                <c:pt idx="4034">
                  <c:v>43651</c:v>
                </c:pt>
                <c:pt idx="4035">
                  <c:v>43654</c:v>
                </c:pt>
                <c:pt idx="4036">
                  <c:v>43655</c:v>
                </c:pt>
                <c:pt idx="4037">
                  <c:v>43656</c:v>
                </c:pt>
                <c:pt idx="4038">
                  <c:v>43657</c:v>
                </c:pt>
                <c:pt idx="4039">
                  <c:v>43658</c:v>
                </c:pt>
                <c:pt idx="4040">
                  <c:v>43661</c:v>
                </c:pt>
                <c:pt idx="4041">
                  <c:v>43662</c:v>
                </c:pt>
                <c:pt idx="4042">
                  <c:v>43663</c:v>
                </c:pt>
                <c:pt idx="4043">
                  <c:v>43664</c:v>
                </c:pt>
                <c:pt idx="4044">
                  <c:v>43665</c:v>
                </c:pt>
                <c:pt idx="4045">
                  <c:v>43668</c:v>
                </c:pt>
                <c:pt idx="4046">
                  <c:v>43669</c:v>
                </c:pt>
                <c:pt idx="4047">
                  <c:v>43670</c:v>
                </c:pt>
                <c:pt idx="4048">
                  <c:v>43671</c:v>
                </c:pt>
                <c:pt idx="4049">
                  <c:v>43672</c:v>
                </c:pt>
                <c:pt idx="4050">
                  <c:v>43675</c:v>
                </c:pt>
                <c:pt idx="4051">
                  <c:v>43676</c:v>
                </c:pt>
                <c:pt idx="4052">
                  <c:v>43677</c:v>
                </c:pt>
                <c:pt idx="4053">
                  <c:v>43678</c:v>
                </c:pt>
                <c:pt idx="4054">
                  <c:v>43679</c:v>
                </c:pt>
                <c:pt idx="4055">
                  <c:v>43682</c:v>
                </c:pt>
                <c:pt idx="4056">
                  <c:v>43683</c:v>
                </c:pt>
                <c:pt idx="4057">
                  <c:v>43684</c:v>
                </c:pt>
                <c:pt idx="4058">
                  <c:v>43685</c:v>
                </c:pt>
                <c:pt idx="4059">
                  <c:v>43686</c:v>
                </c:pt>
                <c:pt idx="4060">
                  <c:v>43689</c:v>
                </c:pt>
                <c:pt idx="4061">
                  <c:v>43690</c:v>
                </c:pt>
                <c:pt idx="4062">
                  <c:v>43691</c:v>
                </c:pt>
                <c:pt idx="4063">
                  <c:v>43692</c:v>
                </c:pt>
                <c:pt idx="4064">
                  <c:v>43693</c:v>
                </c:pt>
                <c:pt idx="4065">
                  <c:v>43696</c:v>
                </c:pt>
                <c:pt idx="4066">
                  <c:v>43697</c:v>
                </c:pt>
                <c:pt idx="4067">
                  <c:v>43698</c:v>
                </c:pt>
                <c:pt idx="4068">
                  <c:v>43699</c:v>
                </c:pt>
                <c:pt idx="4069">
                  <c:v>43700</c:v>
                </c:pt>
                <c:pt idx="4070">
                  <c:v>43703</c:v>
                </c:pt>
                <c:pt idx="4071">
                  <c:v>43704</c:v>
                </c:pt>
                <c:pt idx="4072">
                  <c:v>43705</c:v>
                </c:pt>
                <c:pt idx="4073">
                  <c:v>43706</c:v>
                </c:pt>
                <c:pt idx="4074">
                  <c:v>43707</c:v>
                </c:pt>
                <c:pt idx="4075">
                  <c:v>43710</c:v>
                </c:pt>
                <c:pt idx="4076">
                  <c:v>43711</c:v>
                </c:pt>
                <c:pt idx="4077">
                  <c:v>43712</c:v>
                </c:pt>
                <c:pt idx="4078">
                  <c:v>43713</c:v>
                </c:pt>
                <c:pt idx="4079">
                  <c:v>43714</c:v>
                </c:pt>
                <c:pt idx="4080">
                  <c:v>43717</c:v>
                </c:pt>
                <c:pt idx="4081">
                  <c:v>43718</c:v>
                </c:pt>
                <c:pt idx="4082">
                  <c:v>43719</c:v>
                </c:pt>
                <c:pt idx="4083">
                  <c:v>43720</c:v>
                </c:pt>
                <c:pt idx="4084">
                  <c:v>43721</c:v>
                </c:pt>
                <c:pt idx="4085">
                  <c:v>43724</c:v>
                </c:pt>
                <c:pt idx="4086">
                  <c:v>43725</c:v>
                </c:pt>
                <c:pt idx="4087">
                  <c:v>43726</c:v>
                </c:pt>
                <c:pt idx="4088">
                  <c:v>43727</c:v>
                </c:pt>
                <c:pt idx="4089">
                  <c:v>43728</c:v>
                </c:pt>
                <c:pt idx="4090">
                  <c:v>43731</c:v>
                </c:pt>
                <c:pt idx="4091">
                  <c:v>43732</c:v>
                </c:pt>
                <c:pt idx="4092">
                  <c:v>43733</c:v>
                </c:pt>
                <c:pt idx="4093">
                  <c:v>43734</c:v>
                </c:pt>
                <c:pt idx="4094">
                  <c:v>43735</c:v>
                </c:pt>
                <c:pt idx="4095">
                  <c:v>43738</c:v>
                </c:pt>
                <c:pt idx="4096">
                  <c:v>43739</c:v>
                </c:pt>
                <c:pt idx="4097">
                  <c:v>43740</c:v>
                </c:pt>
                <c:pt idx="4098">
                  <c:v>43741</c:v>
                </c:pt>
                <c:pt idx="4099">
                  <c:v>43742</c:v>
                </c:pt>
                <c:pt idx="4100">
                  <c:v>43745</c:v>
                </c:pt>
                <c:pt idx="4101">
                  <c:v>43746</c:v>
                </c:pt>
                <c:pt idx="4102">
                  <c:v>43747</c:v>
                </c:pt>
                <c:pt idx="4103">
                  <c:v>43748</c:v>
                </c:pt>
                <c:pt idx="4104">
                  <c:v>43749</c:v>
                </c:pt>
                <c:pt idx="4105">
                  <c:v>43752</c:v>
                </c:pt>
                <c:pt idx="4106">
                  <c:v>43753</c:v>
                </c:pt>
                <c:pt idx="4107">
                  <c:v>43754</c:v>
                </c:pt>
                <c:pt idx="4108">
                  <c:v>43755</c:v>
                </c:pt>
                <c:pt idx="4109">
                  <c:v>43756</c:v>
                </c:pt>
                <c:pt idx="4110">
                  <c:v>43759</c:v>
                </c:pt>
                <c:pt idx="4111">
                  <c:v>43760</c:v>
                </c:pt>
                <c:pt idx="4112">
                  <c:v>43761</c:v>
                </c:pt>
                <c:pt idx="4113">
                  <c:v>43762</c:v>
                </c:pt>
                <c:pt idx="4114">
                  <c:v>43763</c:v>
                </c:pt>
                <c:pt idx="4115">
                  <c:v>43766</c:v>
                </c:pt>
                <c:pt idx="4116">
                  <c:v>43767</c:v>
                </c:pt>
                <c:pt idx="4117">
                  <c:v>43768</c:v>
                </c:pt>
                <c:pt idx="4118">
                  <c:v>43769</c:v>
                </c:pt>
                <c:pt idx="4119">
                  <c:v>43770</c:v>
                </c:pt>
                <c:pt idx="4120">
                  <c:v>43773</c:v>
                </c:pt>
                <c:pt idx="4121">
                  <c:v>43774</c:v>
                </c:pt>
                <c:pt idx="4122">
                  <c:v>43775</c:v>
                </c:pt>
                <c:pt idx="4123">
                  <c:v>43776</c:v>
                </c:pt>
                <c:pt idx="4124">
                  <c:v>43777</c:v>
                </c:pt>
                <c:pt idx="4125">
                  <c:v>43780</c:v>
                </c:pt>
                <c:pt idx="4126">
                  <c:v>43781</c:v>
                </c:pt>
                <c:pt idx="4127">
                  <c:v>43782</c:v>
                </c:pt>
                <c:pt idx="4128">
                  <c:v>43783</c:v>
                </c:pt>
                <c:pt idx="4129">
                  <c:v>43784</c:v>
                </c:pt>
                <c:pt idx="4130">
                  <c:v>43787</c:v>
                </c:pt>
                <c:pt idx="4131">
                  <c:v>43788</c:v>
                </c:pt>
                <c:pt idx="4132">
                  <c:v>43789</c:v>
                </c:pt>
                <c:pt idx="4133">
                  <c:v>43790</c:v>
                </c:pt>
                <c:pt idx="4134">
                  <c:v>43791</c:v>
                </c:pt>
                <c:pt idx="4135">
                  <c:v>43794</c:v>
                </c:pt>
                <c:pt idx="4136">
                  <c:v>43795</c:v>
                </c:pt>
                <c:pt idx="4137">
                  <c:v>43796</c:v>
                </c:pt>
                <c:pt idx="4138">
                  <c:v>43797</c:v>
                </c:pt>
                <c:pt idx="4139">
                  <c:v>43798</c:v>
                </c:pt>
                <c:pt idx="4140">
                  <c:v>43801</c:v>
                </c:pt>
                <c:pt idx="4141">
                  <c:v>43802</c:v>
                </c:pt>
                <c:pt idx="4142">
                  <c:v>43803</c:v>
                </c:pt>
                <c:pt idx="4143">
                  <c:v>43804</c:v>
                </c:pt>
                <c:pt idx="4144">
                  <c:v>43805</c:v>
                </c:pt>
                <c:pt idx="4145">
                  <c:v>43808</c:v>
                </c:pt>
                <c:pt idx="4146">
                  <c:v>43809</c:v>
                </c:pt>
                <c:pt idx="4147">
                  <c:v>43810</c:v>
                </c:pt>
                <c:pt idx="4148">
                  <c:v>43811</c:v>
                </c:pt>
                <c:pt idx="4149">
                  <c:v>43812</c:v>
                </c:pt>
                <c:pt idx="4150">
                  <c:v>43815</c:v>
                </c:pt>
                <c:pt idx="4151">
                  <c:v>43816</c:v>
                </c:pt>
                <c:pt idx="4152">
                  <c:v>43817</c:v>
                </c:pt>
                <c:pt idx="4153">
                  <c:v>43818</c:v>
                </c:pt>
                <c:pt idx="4154">
                  <c:v>43819</c:v>
                </c:pt>
                <c:pt idx="4155">
                  <c:v>43822</c:v>
                </c:pt>
                <c:pt idx="4156">
                  <c:v>43823</c:v>
                </c:pt>
                <c:pt idx="4157">
                  <c:v>43824</c:v>
                </c:pt>
                <c:pt idx="4158">
                  <c:v>43825</c:v>
                </c:pt>
                <c:pt idx="4159">
                  <c:v>43826</c:v>
                </c:pt>
                <c:pt idx="4160">
                  <c:v>43829</c:v>
                </c:pt>
                <c:pt idx="4161">
                  <c:v>43830</c:v>
                </c:pt>
                <c:pt idx="4162">
                  <c:v>43831</c:v>
                </c:pt>
                <c:pt idx="4163">
                  <c:v>43832</c:v>
                </c:pt>
                <c:pt idx="4164">
                  <c:v>43833</c:v>
                </c:pt>
                <c:pt idx="4165">
                  <c:v>43836</c:v>
                </c:pt>
                <c:pt idx="4166">
                  <c:v>43837</c:v>
                </c:pt>
                <c:pt idx="4167">
                  <c:v>43838</c:v>
                </c:pt>
                <c:pt idx="4168">
                  <c:v>43839</c:v>
                </c:pt>
                <c:pt idx="4169">
                  <c:v>43840</c:v>
                </c:pt>
                <c:pt idx="4170">
                  <c:v>43843</c:v>
                </c:pt>
                <c:pt idx="4171">
                  <c:v>43844</c:v>
                </c:pt>
                <c:pt idx="4172">
                  <c:v>43845</c:v>
                </c:pt>
                <c:pt idx="4173">
                  <c:v>43846</c:v>
                </c:pt>
                <c:pt idx="4174">
                  <c:v>43847</c:v>
                </c:pt>
                <c:pt idx="4175">
                  <c:v>43850</c:v>
                </c:pt>
                <c:pt idx="4176">
                  <c:v>43851</c:v>
                </c:pt>
                <c:pt idx="4177">
                  <c:v>43852</c:v>
                </c:pt>
                <c:pt idx="4178">
                  <c:v>43853</c:v>
                </c:pt>
                <c:pt idx="4179">
                  <c:v>43854</c:v>
                </c:pt>
                <c:pt idx="4180">
                  <c:v>43857</c:v>
                </c:pt>
                <c:pt idx="4181">
                  <c:v>43858</c:v>
                </c:pt>
                <c:pt idx="4182">
                  <c:v>43859</c:v>
                </c:pt>
                <c:pt idx="4183">
                  <c:v>43860</c:v>
                </c:pt>
                <c:pt idx="4184">
                  <c:v>43861</c:v>
                </c:pt>
                <c:pt idx="4185">
                  <c:v>43864</c:v>
                </c:pt>
                <c:pt idx="4186">
                  <c:v>43865</c:v>
                </c:pt>
                <c:pt idx="4187">
                  <c:v>43866</c:v>
                </c:pt>
                <c:pt idx="4188">
                  <c:v>43867</c:v>
                </c:pt>
                <c:pt idx="4189">
                  <c:v>43868</c:v>
                </c:pt>
                <c:pt idx="4190">
                  <c:v>43871</c:v>
                </c:pt>
                <c:pt idx="4191">
                  <c:v>43872</c:v>
                </c:pt>
                <c:pt idx="4192">
                  <c:v>43873</c:v>
                </c:pt>
                <c:pt idx="4193">
                  <c:v>43874</c:v>
                </c:pt>
                <c:pt idx="4194">
                  <c:v>43875</c:v>
                </c:pt>
                <c:pt idx="4195">
                  <c:v>43878</c:v>
                </c:pt>
                <c:pt idx="4196">
                  <c:v>43879</c:v>
                </c:pt>
                <c:pt idx="4197">
                  <c:v>43880</c:v>
                </c:pt>
                <c:pt idx="4198">
                  <c:v>43881</c:v>
                </c:pt>
                <c:pt idx="4199">
                  <c:v>43882</c:v>
                </c:pt>
                <c:pt idx="4200">
                  <c:v>43885</c:v>
                </c:pt>
                <c:pt idx="4201">
                  <c:v>43886</c:v>
                </c:pt>
                <c:pt idx="4202">
                  <c:v>43887</c:v>
                </c:pt>
                <c:pt idx="4203">
                  <c:v>43888</c:v>
                </c:pt>
                <c:pt idx="4204">
                  <c:v>43889</c:v>
                </c:pt>
                <c:pt idx="4205">
                  <c:v>43892</c:v>
                </c:pt>
                <c:pt idx="4206">
                  <c:v>43893</c:v>
                </c:pt>
                <c:pt idx="4207">
                  <c:v>43894</c:v>
                </c:pt>
                <c:pt idx="4208">
                  <c:v>43895</c:v>
                </c:pt>
                <c:pt idx="4209">
                  <c:v>43896</c:v>
                </c:pt>
                <c:pt idx="4210">
                  <c:v>43899</c:v>
                </c:pt>
                <c:pt idx="4211">
                  <c:v>43900</c:v>
                </c:pt>
                <c:pt idx="4212">
                  <c:v>43901</c:v>
                </c:pt>
                <c:pt idx="4213">
                  <c:v>43902</c:v>
                </c:pt>
                <c:pt idx="4214">
                  <c:v>43903</c:v>
                </c:pt>
                <c:pt idx="4215">
                  <c:v>43906</c:v>
                </c:pt>
                <c:pt idx="4216">
                  <c:v>43907</c:v>
                </c:pt>
                <c:pt idx="4217">
                  <c:v>43908</c:v>
                </c:pt>
                <c:pt idx="4218">
                  <c:v>43909</c:v>
                </c:pt>
                <c:pt idx="4219">
                  <c:v>43910</c:v>
                </c:pt>
                <c:pt idx="4220">
                  <c:v>43913</c:v>
                </c:pt>
                <c:pt idx="4221">
                  <c:v>43914</c:v>
                </c:pt>
                <c:pt idx="4222">
                  <c:v>43915</c:v>
                </c:pt>
                <c:pt idx="4223">
                  <c:v>43916</c:v>
                </c:pt>
                <c:pt idx="4224">
                  <c:v>43917</c:v>
                </c:pt>
                <c:pt idx="4225">
                  <c:v>43920</c:v>
                </c:pt>
                <c:pt idx="4226">
                  <c:v>43921</c:v>
                </c:pt>
                <c:pt idx="4227">
                  <c:v>43922</c:v>
                </c:pt>
                <c:pt idx="4228">
                  <c:v>43923</c:v>
                </c:pt>
                <c:pt idx="4229">
                  <c:v>43924</c:v>
                </c:pt>
                <c:pt idx="4230">
                  <c:v>43927</c:v>
                </c:pt>
                <c:pt idx="4231">
                  <c:v>43928</c:v>
                </c:pt>
                <c:pt idx="4232">
                  <c:v>43929</c:v>
                </c:pt>
                <c:pt idx="4233">
                  <c:v>43930</c:v>
                </c:pt>
                <c:pt idx="4234">
                  <c:v>43931</c:v>
                </c:pt>
                <c:pt idx="4235">
                  <c:v>43934</c:v>
                </c:pt>
                <c:pt idx="4236">
                  <c:v>43935</c:v>
                </c:pt>
                <c:pt idx="4237">
                  <c:v>43936</c:v>
                </c:pt>
                <c:pt idx="4238">
                  <c:v>43937</c:v>
                </c:pt>
                <c:pt idx="4239">
                  <c:v>43938</c:v>
                </c:pt>
                <c:pt idx="4240">
                  <c:v>43941</c:v>
                </c:pt>
                <c:pt idx="4241">
                  <c:v>43942</c:v>
                </c:pt>
                <c:pt idx="4242">
                  <c:v>43943</c:v>
                </c:pt>
                <c:pt idx="4243">
                  <c:v>43944</c:v>
                </c:pt>
                <c:pt idx="4244">
                  <c:v>43945</c:v>
                </c:pt>
                <c:pt idx="4245">
                  <c:v>43948</c:v>
                </c:pt>
                <c:pt idx="4246">
                  <c:v>43949</c:v>
                </c:pt>
                <c:pt idx="4247">
                  <c:v>43950</c:v>
                </c:pt>
                <c:pt idx="4248">
                  <c:v>43951</c:v>
                </c:pt>
                <c:pt idx="4249">
                  <c:v>43952</c:v>
                </c:pt>
                <c:pt idx="4250">
                  <c:v>43955</c:v>
                </c:pt>
                <c:pt idx="4251">
                  <c:v>43956</c:v>
                </c:pt>
                <c:pt idx="4252">
                  <c:v>43957</c:v>
                </c:pt>
                <c:pt idx="4253">
                  <c:v>43958</c:v>
                </c:pt>
                <c:pt idx="4254">
                  <c:v>43959</c:v>
                </c:pt>
                <c:pt idx="4255">
                  <c:v>43962</c:v>
                </c:pt>
                <c:pt idx="4256">
                  <c:v>43963</c:v>
                </c:pt>
                <c:pt idx="4257">
                  <c:v>43964</c:v>
                </c:pt>
                <c:pt idx="4258">
                  <c:v>43965</c:v>
                </c:pt>
                <c:pt idx="4259">
                  <c:v>43966</c:v>
                </c:pt>
                <c:pt idx="4260">
                  <c:v>43969</c:v>
                </c:pt>
                <c:pt idx="4261">
                  <c:v>43970</c:v>
                </c:pt>
                <c:pt idx="4262">
                  <c:v>43971</c:v>
                </c:pt>
                <c:pt idx="4263">
                  <c:v>43972</c:v>
                </c:pt>
                <c:pt idx="4264">
                  <c:v>43973</c:v>
                </c:pt>
                <c:pt idx="4265">
                  <c:v>43976</c:v>
                </c:pt>
                <c:pt idx="4266">
                  <c:v>43977</c:v>
                </c:pt>
                <c:pt idx="4267">
                  <c:v>43978</c:v>
                </c:pt>
                <c:pt idx="4268">
                  <c:v>43979</c:v>
                </c:pt>
                <c:pt idx="4269">
                  <c:v>43980</c:v>
                </c:pt>
                <c:pt idx="4270">
                  <c:v>43983</c:v>
                </c:pt>
                <c:pt idx="4271">
                  <c:v>43984</c:v>
                </c:pt>
                <c:pt idx="4272">
                  <c:v>43985</c:v>
                </c:pt>
                <c:pt idx="4273">
                  <c:v>43986</c:v>
                </c:pt>
                <c:pt idx="4274">
                  <c:v>43987</c:v>
                </c:pt>
                <c:pt idx="4275">
                  <c:v>43990</c:v>
                </c:pt>
                <c:pt idx="4276">
                  <c:v>43991</c:v>
                </c:pt>
                <c:pt idx="4277">
                  <c:v>43992</c:v>
                </c:pt>
                <c:pt idx="4278">
                  <c:v>43993</c:v>
                </c:pt>
                <c:pt idx="4279">
                  <c:v>43994</c:v>
                </c:pt>
                <c:pt idx="4280">
                  <c:v>43997</c:v>
                </c:pt>
                <c:pt idx="4281">
                  <c:v>43998</c:v>
                </c:pt>
                <c:pt idx="4282">
                  <c:v>43999</c:v>
                </c:pt>
                <c:pt idx="4283">
                  <c:v>44000</c:v>
                </c:pt>
                <c:pt idx="4284">
                  <c:v>44001</c:v>
                </c:pt>
                <c:pt idx="4285">
                  <c:v>44004</c:v>
                </c:pt>
                <c:pt idx="4286">
                  <c:v>44005</c:v>
                </c:pt>
                <c:pt idx="4287">
                  <c:v>44006</c:v>
                </c:pt>
                <c:pt idx="4288">
                  <c:v>44007</c:v>
                </c:pt>
                <c:pt idx="4289">
                  <c:v>44008</c:v>
                </c:pt>
                <c:pt idx="4290">
                  <c:v>44011</c:v>
                </c:pt>
                <c:pt idx="4291">
                  <c:v>44012</c:v>
                </c:pt>
                <c:pt idx="4292">
                  <c:v>44013</c:v>
                </c:pt>
                <c:pt idx="4293">
                  <c:v>44014</c:v>
                </c:pt>
                <c:pt idx="4294">
                  <c:v>44015</c:v>
                </c:pt>
                <c:pt idx="4295">
                  <c:v>44018</c:v>
                </c:pt>
                <c:pt idx="4296">
                  <c:v>44019</c:v>
                </c:pt>
                <c:pt idx="4297">
                  <c:v>44020</c:v>
                </c:pt>
                <c:pt idx="4298">
                  <c:v>44021</c:v>
                </c:pt>
                <c:pt idx="4299">
                  <c:v>44022</c:v>
                </c:pt>
                <c:pt idx="4300">
                  <c:v>44025</c:v>
                </c:pt>
                <c:pt idx="4301">
                  <c:v>44026</c:v>
                </c:pt>
                <c:pt idx="4302">
                  <c:v>44027</c:v>
                </c:pt>
                <c:pt idx="4303">
                  <c:v>44028</c:v>
                </c:pt>
                <c:pt idx="4304">
                  <c:v>44029</c:v>
                </c:pt>
                <c:pt idx="4305">
                  <c:v>44032</c:v>
                </c:pt>
                <c:pt idx="4306">
                  <c:v>44033</c:v>
                </c:pt>
                <c:pt idx="4307">
                  <c:v>44034</c:v>
                </c:pt>
                <c:pt idx="4308">
                  <c:v>44035</c:v>
                </c:pt>
                <c:pt idx="4309">
                  <c:v>44036</c:v>
                </c:pt>
                <c:pt idx="4310">
                  <c:v>44039</c:v>
                </c:pt>
                <c:pt idx="4311">
                  <c:v>44040</c:v>
                </c:pt>
                <c:pt idx="4312">
                  <c:v>44041</c:v>
                </c:pt>
                <c:pt idx="4313">
                  <c:v>44042</c:v>
                </c:pt>
                <c:pt idx="4314">
                  <c:v>44043</c:v>
                </c:pt>
                <c:pt idx="4315">
                  <c:v>44046</c:v>
                </c:pt>
                <c:pt idx="4316">
                  <c:v>44047</c:v>
                </c:pt>
                <c:pt idx="4317">
                  <c:v>44048</c:v>
                </c:pt>
                <c:pt idx="4318">
                  <c:v>44049</c:v>
                </c:pt>
                <c:pt idx="4319">
                  <c:v>44050</c:v>
                </c:pt>
                <c:pt idx="4320">
                  <c:v>44053</c:v>
                </c:pt>
                <c:pt idx="4321">
                  <c:v>44054</c:v>
                </c:pt>
                <c:pt idx="4322">
                  <c:v>44055</c:v>
                </c:pt>
                <c:pt idx="4323">
                  <c:v>44056</c:v>
                </c:pt>
                <c:pt idx="4324">
                  <c:v>44057</c:v>
                </c:pt>
                <c:pt idx="4325">
                  <c:v>44060</c:v>
                </c:pt>
                <c:pt idx="4326">
                  <c:v>44061</c:v>
                </c:pt>
                <c:pt idx="4327">
                  <c:v>44062</c:v>
                </c:pt>
                <c:pt idx="4328">
                  <c:v>44063</c:v>
                </c:pt>
                <c:pt idx="4329">
                  <c:v>44064</c:v>
                </c:pt>
                <c:pt idx="4330">
                  <c:v>44067</c:v>
                </c:pt>
                <c:pt idx="4331">
                  <c:v>44068</c:v>
                </c:pt>
                <c:pt idx="4332">
                  <c:v>44069</c:v>
                </c:pt>
                <c:pt idx="4333">
                  <c:v>44070</c:v>
                </c:pt>
                <c:pt idx="4334">
                  <c:v>44071</c:v>
                </c:pt>
                <c:pt idx="4335">
                  <c:v>44074</c:v>
                </c:pt>
                <c:pt idx="4336">
                  <c:v>44075</c:v>
                </c:pt>
                <c:pt idx="4337">
                  <c:v>44076</c:v>
                </c:pt>
                <c:pt idx="4338">
                  <c:v>44077</c:v>
                </c:pt>
                <c:pt idx="4339">
                  <c:v>44078</c:v>
                </c:pt>
                <c:pt idx="4340">
                  <c:v>44081</c:v>
                </c:pt>
                <c:pt idx="4341">
                  <c:v>44082</c:v>
                </c:pt>
                <c:pt idx="4342">
                  <c:v>44083</c:v>
                </c:pt>
                <c:pt idx="4343">
                  <c:v>44084</c:v>
                </c:pt>
                <c:pt idx="4344">
                  <c:v>44085</c:v>
                </c:pt>
                <c:pt idx="4345">
                  <c:v>44088</c:v>
                </c:pt>
                <c:pt idx="4346">
                  <c:v>44089</c:v>
                </c:pt>
                <c:pt idx="4347">
                  <c:v>44090</c:v>
                </c:pt>
                <c:pt idx="4348">
                  <c:v>44091</c:v>
                </c:pt>
                <c:pt idx="4349">
                  <c:v>44092</c:v>
                </c:pt>
                <c:pt idx="4350">
                  <c:v>44095</c:v>
                </c:pt>
                <c:pt idx="4351">
                  <c:v>44096</c:v>
                </c:pt>
                <c:pt idx="4352">
                  <c:v>44097</c:v>
                </c:pt>
                <c:pt idx="4353">
                  <c:v>44098</c:v>
                </c:pt>
                <c:pt idx="4354">
                  <c:v>44099</c:v>
                </c:pt>
                <c:pt idx="4355">
                  <c:v>44102</c:v>
                </c:pt>
                <c:pt idx="4356">
                  <c:v>44103</c:v>
                </c:pt>
                <c:pt idx="4357">
                  <c:v>44104</c:v>
                </c:pt>
                <c:pt idx="4358">
                  <c:v>44105</c:v>
                </c:pt>
                <c:pt idx="4359">
                  <c:v>44106</c:v>
                </c:pt>
                <c:pt idx="4360">
                  <c:v>44109</c:v>
                </c:pt>
                <c:pt idx="4361">
                  <c:v>44110</c:v>
                </c:pt>
                <c:pt idx="4362">
                  <c:v>44111</c:v>
                </c:pt>
                <c:pt idx="4363">
                  <c:v>44112</c:v>
                </c:pt>
                <c:pt idx="4364">
                  <c:v>44113</c:v>
                </c:pt>
                <c:pt idx="4365">
                  <c:v>44116</c:v>
                </c:pt>
                <c:pt idx="4366">
                  <c:v>44117</c:v>
                </c:pt>
                <c:pt idx="4367">
                  <c:v>44118</c:v>
                </c:pt>
                <c:pt idx="4368">
                  <c:v>44119</c:v>
                </c:pt>
                <c:pt idx="4369">
                  <c:v>44120</c:v>
                </c:pt>
                <c:pt idx="4370">
                  <c:v>44123</c:v>
                </c:pt>
                <c:pt idx="4371">
                  <c:v>44124</c:v>
                </c:pt>
                <c:pt idx="4372">
                  <c:v>44125</c:v>
                </c:pt>
                <c:pt idx="4373">
                  <c:v>44126</c:v>
                </c:pt>
                <c:pt idx="4374">
                  <c:v>44127</c:v>
                </c:pt>
                <c:pt idx="4375">
                  <c:v>44130</c:v>
                </c:pt>
                <c:pt idx="4376">
                  <c:v>44131</c:v>
                </c:pt>
                <c:pt idx="4377">
                  <c:v>44132</c:v>
                </c:pt>
                <c:pt idx="4378">
                  <c:v>44133</c:v>
                </c:pt>
                <c:pt idx="4379">
                  <c:v>44134</c:v>
                </c:pt>
                <c:pt idx="4380">
                  <c:v>44137</c:v>
                </c:pt>
                <c:pt idx="4381">
                  <c:v>44138</c:v>
                </c:pt>
                <c:pt idx="4382">
                  <c:v>44139</c:v>
                </c:pt>
                <c:pt idx="4383">
                  <c:v>44140</c:v>
                </c:pt>
                <c:pt idx="4384">
                  <c:v>44141</c:v>
                </c:pt>
                <c:pt idx="4385">
                  <c:v>44144</c:v>
                </c:pt>
                <c:pt idx="4386">
                  <c:v>44145</c:v>
                </c:pt>
                <c:pt idx="4387">
                  <c:v>44146</c:v>
                </c:pt>
                <c:pt idx="4388">
                  <c:v>44147</c:v>
                </c:pt>
                <c:pt idx="4389">
                  <c:v>44148</c:v>
                </c:pt>
                <c:pt idx="4390">
                  <c:v>44151</c:v>
                </c:pt>
                <c:pt idx="4391">
                  <c:v>44152</c:v>
                </c:pt>
                <c:pt idx="4392">
                  <c:v>44153</c:v>
                </c:pt>
                <c:pt idx="4393">
                  <c:v>44154</c:v>
                </c:pt>
                <c:pt idx="4394">
                  <c:v>44155</c:v>
                </c:pt>
                <c:pt idx="4395">
                  <c:v>44158</c:v>
                </c:pt>
                <c:pt idx="4396">
                  <c:v>44159</c:v>
                </c:pt>
                <c:pt idx="4397">
                  <c:v>44160</c:v>
                </c:pt>
                <c:pt idx="4398">
                  <c:v>44161</c:v>
                </c:pt>
                <c:pt idx="4399">
                  <c:v>44162</c:v>
                </c:pt>
                <c:pt idx="4400">
                  <c:v>44165</c:v>
                </c:pt>
                <c:pt idx="4401">
                  <c:v>44166</c:v>
                </c:pt>
                <c:pt idx="4402">
                  <c:v>44167</c:v>
                </c:pt>
                <c:pt idx="4403">
                  <c:v>44168</c:v>
                </c:pt>
                <c:pt idx="4404">
                  <c:v>44169</c:v>
                </c:pt>
                <c:pt idx="4405">
                  <c:v>44172</c:v>
                </c:pt>
                <c:pt idx="4406">
                  <c:v>44173</c:v>
                </c:pt>
                <c:pt idx="4407">
                  <c:v>44174</c:v>
                </c:pt>
                <c:pt idx="4408">
                  <c:v>44175</c:v>
                </c:pt>
                <c:pt idx="4409">
                  <c:v>44176</c:v>
                </c:pt>
                <c:pt idx="4410">
                  <c:v>44179</c:v>
                </c:pt>
                <c:pt idx="4411">
                  <c:v>44180</c:v>
                </c:pt>
                <c:pt idx="4412">
                  <c:v>44181</c:v>
                </c:pt>
                <c:pt idx="4413">
                  <c:v>44182</c:v>
                </c:pt>
                <c:pt idx="4414">
                  <c:v>44183</c:v>
                </c:pt>
                <c:pt idx="4415">
                  <c:v>44186</c:v>
                </c:pt>
                <c:pt idx="4416">
                  <c:v>44187</c:v>
                </c:pt>
                <c:pt idx="4417">
                  <c:v>44188</c:v>
                </c:pt>
                <c:pt idx="4418">
                  <c:v>44189</c:v>
                </c:pt>
                <c:pt idx="4419">
                  <c:v>44190</c:v>
                </c:pt>
                <c:pt idx="4420">
                  <c:v>44193</c:v>
                </c:pt>
                <c:pt idx="4421">
                  <c:v>44194</c:v>
                </c:pt>
                <c:pt idx="4422">
                  <c:v>44195</c:v>
                </c:pt>
                <c:pt idx="4423">
                  <c:v>44196</c:v>
                </c:pt>
                <c:pt idx="4424">
                  <c:v>44197</c:v>
                </c:pt>
                <c:pt idx="4425">
                  <c:v>44200</c:v>
                </c:pt>
                <c:pt idx="4426">
                  <c:v>44201</c:v>
                </c:pt>
                <c:pt idx="4427">
                  <c:v>44202</c:v>
                </c:pt>
                <c:pt idx="4428">
                  <c:v>44203</c:v>
                </c:pt>
                <c:pt idx="4429">
                  <c:v>44204</c:v>
                </c:pt>
                <c:pt idx="4430">
                  <c:v>44207</c:v>
                </c:pt>
                <c:pt idx="4431">
                  <c:v>44208</c:v>
                </c:pt>
                <c:pt idx="4432">
                  <c:v>44209</c:v>
                </c:pt>
                <c:pt idx="4433">
                  <c:v>44210</c:v>
                </c:pt>
                <c:pt idx="4434">
                  <c:v>44211</c:v>
                </c:pt>
                <c:pt idx="4435">
                  <c:v>44214</c:v>
                </c:pt>
                <c:pt idx="4436">
                  <c:v>44215</c:v>
                </c:pt>
                <c:pt idx="4437">
                  <c:v>44216</c:v>
                </c:pt>
                <c:pt idx="4438">
                  <c:v>44217</c:v>
                </c:pt>
                <c:pt idx="4439">
                  <c:v>44218</c:v>
                </c:pt>
                <c:pt idx="4440">
                  <c:v>44221</c:v>
                </c:pt>
                <c:pt idx="4441">
                  <c:v>44222</c:v>
                </c:pt>
                <c:pt idx="4442">
                  <c:v>44223</c:v>
                </c:pt>
                <c:pt idx="4443">
                  <c:v>44224</c:v>
                </c:pt>
                <c:pt idx="4444">
                  <c:v>44225</c:v>
                </c:pt>
                <c:pt idx="4445">
                  <c:v>44228</c:v>
                </c:pt>
                <c:pt idx="4446">
                  <c:v>44229</c:v>
                </c:pt>
                <c:pt idx="4447">
                  <c:v>44230</c:v>
                </c:pt>
                <c:pt idx="4448">
                  <c:v>44231</c:v>
                </c:pt>
                <c:pt idx="4449">
                  <c:v>44232</c:v>
                </c:pt>
                <c:pt idx="4450">
                  <c:v>44235</c:v>
                </c:pt>
                <c:pt idx="4451">
                  <c:v>44236</c:v>
                </c:pt>
                <c:pt idx="4452">
                  <c:v>44237</c:v>
                </c:pt>
                <c:pt idx="4453">
                  <c:v>44238</c:v>
                </c:pt>
                <c:pt idx="4454">
                  <c:v>44239</c:v>
                </c:pt>
                <c:pt idx="4455">
                  <c:v>44242</c:v>
                </c:pt>
                <c:pt idx="4456">
                  <c:v>44243</c:v>
                </c:pt>
                <c:pt idx="4457">
                  <c:v>44244</c:v>
                </c:pt>
                <c:pt idx="4458">
                  <c:v>44245</c:v>
                </c:pt>
                <c:pt idx="4459">
                  <c:v>44246</c:v>
                </c:pt>
                <c:pt idx="4460">
                  <c:v>44249</c:v>
                </c:pt>
                <c:pt idx="4461">
                  <c:v>44250</c:v>
                </c:pt>
                <c:pt idx="4462">
                  <c:v>44251</c:v>
                </c:pt>
                <c:pt idx="4463">
                  <c:v>44252</c:v>
                </c:pt>
                <c:pt idx="4464">
                  <c:v>44253</c:v>
                </c:pt>
                <c:pt idx="4465">
                  <c:v>44256</c:v>
                </c:pt>
                <c:pt idx="4466">
                  <c:v>44257</c:v>
                </c:pt>
                <c:pt idx="4467">
                  <c:v>44258</c:v>
                </c:pt>
                <c:pt idx="4468">
                  <c:v>44259</c:v>
                </c:pt>
                <c:pt idx="4469">
                  <c:v>44260</c:v>
                </c:pt>
                <c:pt idx="4470">
                  <c:v>44263</c:v>
                </c:pt>
                <c:pt idx="4471">
                  <c:v>44264</c:v>
                </c:pt>
                <c:pt idx="4472">
                  <c:v>44265</c:v>
                </c:pt>
                <c:pt idx="4473">
                  <c:v>44266</c:v>
                </c:pt>
                <c:pt idx="4474">
                  <c:v>44267</c:v>
                </c:pt>
                <c:pt idx="4475">
                  <c:v>44270</c:v>
                </c:pt>
                <c:pt idx="4476">
                  <c:v>44271</c:v>
                </c:pt>
                <c:pt idx="4477">
                  <c:v>44272</c:v>
                </c:pt>
                <c:pt idx="4478">
                  <c:v>44273</c:v>
                </c:pt>
                <c:pt idx="4479">
                  <c:v>44274</c:v>
                </c:pt>
                <c:pt idx="4480">
                  <c:v>44277</c:v>
                </c:pt>
                <c:pt idx="4481">
                  <c:v>44278</c:v>
                </c:pt>
                <c:pt idx="4482">
                  <c:v>44279</c:v>
                </c:pt>
                <c:pt idx="4483">
                  <c:v>44280</c:v>
                </c:pt>
                <c:pt idx="4484">
                  <c:v>44281</c:v>
                </c:pt>
                <c:pt idx="4485">
                  <c:v>44284</c:v>
                </c:pt>
                <c:pt idx="4486">
                  <c:v>44285</c:v>
                </c:pt>
                <c:pt idx="4487">
                  <c:v>44286</c:v>
                </c:pt>
                <c:pt idx="4488">
                  <c:v>44287</c:v>
                </c:pt>
                <c:pt idx="4489">
                  <c:v>44288</c:v>
                </c:pt>
                <c:pt idx="4490">
                  <c:v>44291</c:v>
                </c:pt>
                <c:pt idx="4491">
                  <c:v>44292</c:v>
                </c:pt>
                <c:pt idx="4492">
                  <c:v>44293</c:v>
                </c:pt>
                <c:pt idx="4493">
                  <c:v>44294</c:v>
                </c:pt>
                <c:pt idx="4494">
                  <c:v>44295</c:v>
                </c:pt>
                <c:pt idx="4495">
                  <c:v>44298</c:v>
                </c:pt>
                <c:pt idx="4496">
                  <c:v>44299</c:v>
                </c:pt>
                <c:pt idx="4497">
                  <c:v>44300</c:v>
                </c:pt>
                <c:pt idx="4498">
                  <c:v>44301</c:v>
                </c:pt>
                <c:pt idx="4499">
                  <c:v>44302</c:v>
                </c:pt>
                <c:pt idx="4500">
                  <c:v>44305</c:v>
                </c:pt>
                <c:pt idx="4501">
                  <c:v>44306</c:v>
                </c:pt>
                <c:pt idx="4502">
                  <c:v>44307</c:v>
                </c:pt>
                <c:pt idx="4503">
                  <c:v>44308</c:v>
                </c:pt>
                <c:pt idx="4504">
                  <c:v>44309</c:v>
                </c:pt>
                <c:pt idx="4505">
                  <c:v>44312</c:v>
                </c:pt>
                <c:pt idx="4506">
                  <c:v>44313</c:v>
                </c:pt>
                <c:pt idx="4507">
                  <c:v>44314</c:v>
                </c:pt>
                <c:pt idx="4508">
                  <c:v>44315</c:v>
                </c:pt>
                <c:pt idx="4509">
                  <c:v>44316</c:v>
                </c:pt>
                <c:pt idx="4510">
                  <c:v>44319</c:v>
                </c:pt>
                <c:pt idx="4511">
                  <c:v>44320</c:v>
                </c:pt>
                <c:pt idx="4512">
                  <c:v>44321</c:v>
                </c:pt>
                <c:pt idx="4513">
                  <c:v>44322</c:v>
                </c:pt>
                <c:pt idx="4514">
                  <c:v>44323</c:v>
                </c:pt>
                <c:pt idx="4515">
                  <c:v>44326</c:v>
                </c:pt>
                <c:pt idx="4516">
                  <c:v>44327</c:v>
                </c:pt>
                <c:pt idx="4517">
                  <c:v>44328</c:v>
                </c:pt>
                <c:pt idx="4518">
                  <c:v>44329</c:v>
                </c:pt>
                <c:pt idx="4519">
                  <c:v>44330</c:v>
                </c:pt>
                <c:pt idx="4520">
                  <c:v>44333</c:v>
                </c:pt>
                <c:pt idx="4521">
                  <c:v>44334</c:v>
                </c:pt>
                <c:pt idx="4522">
                  <c:v>44335</c:v>
                </c:pt>
                <c:pt idx="4523">
                  <c:v>44336</c:v>
                </c:pt>
                <c:pt idx="4524">
                  <c:v>44337</c:v>
                </c:pt>
                <c:pt idx="4525">
                  <c:v>44340</c:v>
                </c:pt>
                <c:pt idx="4526">
                  <c:v>44341</c:v>
                </c:pt>
                <c:pt idx="4527">
                  <c:v>44342</c:v>
                </c:pt>
                <c:pt idx="4528">
                  <c:v>44343</c:v>
                </c:pt>
                <c:pt idx="4529">
                  <c:v>44344</c:v>
                </c:pt>
                <c:pt idx="4530">
                  <c:v>44347</c:v>
                </c:pt>
                <c:pt idx="4531">
                  <c:v>44348</c:v>
                </c:pt>
                <c:pt idx="4532">
                  <c:v>44349</c:v>
                </c:pt>
                <c:pt idx="4533">
                  <c:v>44350</c:v>
                </c:pt>
                <c:pt idx="4534">
                  <c:v>44351</c:v>
                </c:pt>
                <c:pt idx="4535">
                  <c:v>44354</c:v>
                </c:pt>
                <c:pt idx="4536">
                  <c:v>44355</c:v>
                </c:pt>
                <c:pt idx="4537">
                  <c:v>44356</c:v>
                </c:pt>
                <c:pt idx="4538">
                  <c:v>44357</c:v>
                </c:pt>
                <c:pt idx="4539">
                  <c:v>44358</c:v>
                </c:pt>
                <c:pt idx="4540">
                  <c:v>44361</c:v>
                </c:pt>
                <c:pt idx="4541">
                  <c:v>44362</c:v>
                </c:pt>
                <c:pt idx="4542">
                  <c:v>44363</c:v>
                </c:pt>
                <c:pt idx="4543">
                  <c:v>44364</c:v>
                </c:pt>
                <c:pt idx="4544">
                  <c:v>44365</c:v>
                </c:pt>
                <c:pt idx="4545">
                  <c:v>44368</c:v>
                </c:pt>
                <c:pt idx="4546">
                  <c:v>44369</c:v>
                </c:pt>
                <c:pt idx="4547">
                  <c:v>44370</c:v>
                </c:pt>
                <c:pt idx="4548">
                  <c:v>44371</c:v>
                </c:pt>
                <c:pt idx="4549">
                  <c:v>44372</c:v>
                </c:pt>
                <c:pt idx="4550">
                  <c:v>44375</c:v>
                </c:pt>
                <c:pt idx="4551">
                  <c:v>44376</c:v>
                </c:pt>
                <c:pt idx="4552">
                  <c:v>44377</c:v>
                </c:pt>
                <c:pt idx="4553">
                  <c:v>44378</c:v>
                </c:pt>
                <c:pt idx="4554">
                  <c:v>44379</c:v>
                </c:pt>
                <c:pt idx="4555">
                  <c:v>44382</c:v>
                </c:pt>
                <c:pt idx="4556">
                  <c:v>44383</c:v>
                </c:pt>
                <c:pt idx="4557">
                  <c:v>44384</c:v>
                </c:pt>
                <c:pt idx="4558">
                  <c:v>44385</c:v>
                </c:pt>
                <c:pt idx="4559">
                  <c:v>44386</c:v>
                </c:pt>
                <c:pt idx="4560">
                  <c:v>44389</c:v>
                </c:pt>
                <c:pt idx="4561">
                  <c:v>44390</c:v>
                </c:pt>
                <c:pt idx="4562">
                  <c:v>44391</c:v>
                </c:pt>
                <c:pt idx="4563">
                  <c:v>44392</c:v>
                </c:pt>
                <c:pt idx="4564">
                  <c:v>44393</c:v>
                </c:pt>
                <c:pt idx="4565">
                  <c:v>44396</c:v>
                </c:pt>
                <c:pt idx="4566">
                  <c:v>44397</c:v>
                </c:pt>
                <c:pt idx="4567">
                  <c:v>44398</c:v>
                </c:pt>
                <c:pt idx="4568">
                  <c:v>44399</c:v>
                </c:pt>
                <c:pt idx="4569">
                  <c:v>44400</c:v>
                </c:pt>
                <c:pt idx="4570">
                  <c:v>44403</c:v>
                </c:pt>
                <c:pt idx="4571">
                  <c:v>44404</c:v>
                </c:pt>
                <c:pt idx="4572">
                  <c:v>44405</c:v>
                </c:pt>
                <c:pt idx="4573">
                  <c:v>44406</c:v>
                </c:pt>
                <c:pt idx="4574">
                  <c:v>44407</c:v>
                </c:pt>
                <c:pt idx="4575">
                  <c:v>44410</c:v>
                </c:pt>
                <c:pt idx="4576">
                  <c:v>44411</c:v>
                </c:pt>
                <c:pt idx="4577">
                  <c:v>44412</c:v>
                </c:pt>
                <c:pt idx="4578">
                  <c:v>44413</c:v>
                </c:pt>
                <c:pt idx="4579">
                  <c:v>44414</c:v>
                </c:pt>
                <c:pt idx="4580">
                  <c:v>44417</c:v>
                </c:pt>
                <c:pt idx="4581">
                  <c:v>44418</c:v>
                </c:pt>
                <c:pt idx="4582">
                  <c:v>44419</c:v>
                </c:pt>
                <c:pt idx="4583">
                  <c:v>44420</c:v>
                </c:pt>
                <c:pt idx="4584">
                  <c:v>44421</c:v>
                </c:pt>
                <c:pt idx="4585">
                  <c:v>44424</c:v>
                </c:pt>
                <c:pt idx="4586">
                  <c:v>44425</c:v>
                </c:pt>
                <c:pt idx="4587">
                  <c:v>44426</c:v>
                </c:pt>
                <c:pt idx="4588">
                  <c:v>44427</c:v>
                </c:pt>
                <c:pt idx="4589">
                  <c:v>44428</c:v>
                </c:pt>
                <c:pt idx="4590">
                  <c:v>44431</c:v>
                </c:pt>
                <c:pt idx="4591">
                  <c:v>44432</c:v>
                </c:pt>
                <c:pt idx="4592">
                  <c:v>44433</c:v>
                </c:pt>
                <c:pt idx="4593">
                  <c:v>44434</c:v>
                </c:pt>
                <c:pt idx="4594">
                  <c:v>44435</c:v>
                </c:pt>
                <c:pt idx="4595">
                  <c:v>44438</c:v>
                </c:pt>
                <c:pt idx="4596">
                  <c:v>44439</c:v>
                </c:pt>
                <c:pt idx="4597">
                  <c:v>44440</c:v>
                </c:pt>
                <c:pt idx="4598">
                  <c:v>44441</c:v>
                </c:pt>
                <c:pt idx="4599">
                  <c:v>44442</c:v>
                </c:pt>
                <c:pt idx="4600">
                  <c:v>44445</c:v>
                </c:pt>
                <c:pt idx="4601">
                  <c:v>44446</c:v>
                </c:pt>
                <c:pt idx="4602">
                  <c:v>44447</c:v>
                </c:pt>
                <c:pt idx="4603">
                  <c:v>44448</c:v>
                </c:pt>
                <c:pt idx="4604">
                  <c:v>44449</c:v>
                </c:pt>
                <c:pt idx="4605">
                  <c:v>44452</c:v>
                </c:pt>
                <c:pt idx="4606">
                  <c:v>44453</c:v>
                </c:pt>
                <c:pt idx="4607">
                  <c:v>44454</c:v>
                </c:pt>
                <c:pt idx="4608">
                  <c:v>44455</c:v>
                </c:pt>
                <c:pt idx="4609">
                  <c:v>44456</c:v>
                </c:pt>
                <c:pt idx="4610">
                  <c:v>44459</c:v>
                </c:pt>
                <c:pt idx="4611">
                  <c:v>44460</c:v>
                </c:pt>
                <c:pt idx="4612">
                  <c:v>44461</c:v>
                </c:pt>
                <c:pt idx="4613">
                  <c:v>44462</c:v>
                </c:pt>
                <c:pt idx="4614">
                  <c:v>44463</c:v>
                </c:pt>
                <c:pt idx="4615">
                  <c:v>44466</c:v>
                </c:pt>
                <c:pt idx="4616">
                  <c:v>44467</c:v>
                </c:pt>
                <c:pt idx="4617">
                  <c:v>44468</c:v>
                </c:pt>
                <c:pt idx="4618">
                  <c:v>44469</c:v>
                </c:pt>
                <c:pt idx="4619">
                  <c:v>44470</c:v>
                </c:pt>
                <c:pt idx="4620">
                  <c:v>44473</c:v>
                </c:pt>
                <c:pt idx="4621">
                  <c:v>44474</c:v>
                </c:pt>
                <c:pt idx="4622">
                  <c:v>44475</c:v>
                </c:pt>
                <c:pt idx="4623">
                  <c:v>44476</c:v>
                </c:pt>
                <c:pt idx="4624">
                  <c:v>44477</c:v>
                </c:pt>
                <c:pt idx="4625">
                  <c:v>44480</c:v>
                </c:pt>
                <c:pt idx="4626">
                  <c:v>44481</c:v>
                </c:pt>
                <c:pt idx="4627">
                  <c:v>44482</c:v>
                </c:pt>
                <c:pt idx="4628">
                  <c:v>44483</c:v>
                </c:pt>
                <c:pt idx="4629">
                  <c:v>44484</c:v>
                </c:pt>
                <c:pt idx="4630">
                  <c:v>44487</c:v>
                </c:pt>
                <c:pt idx="4631">
                  <c:v>44488</c:v>
                </c:pt>
                <c:pt idx="4632">
                  <c:v>44489</c:v>
                </c:pt>
                <c:pt idx="4633">
                  <c:v>44490</c:v>
                </c:pt>
                <c:pt idx="4634">
                  <c:v>44491</c:v>
                </c:pt>
                <c:pt idx="4635">
                  <c:v>44494</c:v>
                </c:pt>
                <c:pt idx="4636">
                  <c:v>44495</c:v>
                </c:pt>
                <c:pt idx="4637">
                  <c:v>44496</c:v>
                </c:pt>
                <c:pt idx="4638">
                  <c:v>44497</c:v>
                </c:pt>
                <c:pt idx="4639">
                  <c:v>44498</c:v>
                </c:pt>
                <c:pt idx="4640">
                  <c:v>44501</c:v>
                </c:pt>
                <c:pt idx="4641">
                  <c:v>44502</c:v>
                </c:pt>
                <c:pt idx="4642">
                  <c:v>44503</c:v>
                </c:pt>
                <c:pt idx="4643">
                  <c:v>44504</c:v>
                </c:pt>
                <c:pt idx="4644">
                  <c:v>44505</c:v>
                </c:pt>
                <c:pt idx="4645">
                  <c:v>44508</c:v>
                </c:pt>
                <c:pt idx="4646">
                  <c:v>44509</c:v>
                </c:pt>
                <c:pt idx="4647">
                  <c:v>44510</c:v>
                </c:pt>
                <c:pt idx="4648">
                  <c:v>44511</c:v>
                </c:pt>
                <c:pt idx="4649">
                  <c:v>44512</c:v>
                </c:pt>
                <c:pt idx="4650">
                  <c:v>44515</c:v>
                </c:pt>
                <c:pt idx="4651">
                  <c:v>44516</c:v>
                </c:pt>
                <c:pt idx="4652">
                  <c:v>44517</c:v>
                </c:pt>
                <c:pt idx="4653">
                  <c:v>44518</c:v>
                </c:pt>
                <c:pt idx="4654">
                  <c:v>44519</c:v>
                </c:pt>
                <c:pt idx="4655">
                  <c:v>44522</c:v>
                </c:pt>
                <c:pt idx="4656">
                  <c:v>44523</c:v>
                </c:pt>
                <c:pt idx="4657">
                  <c:v>44524</c:v>
                </c:pt>
                <c:pt idx="4658">
                  <c:v>44525</c:v>
                </c:pt>
                <c:pt idx="4659">
                  <c:v>44526</c:v>
                </c:pt>
                <c:pt idx="4660">
                  <c:v>44529</c:v>
                </c:pt>
                <c:pt idx="4661">
                  <c:v>44530</c:v>
                </c:pt>
                <c:pt idx="4662">
                  <c:v>44531</c:v>
                </c:pt>
                <c:pt idx="4663">
                  <c:v>44532</c:v>
                </c:pt>
                <c:pt idx="4664">
                  <c:v>44533</c:v>
                </c:pt>
                <c:pt idx="4665">
                  <c:v>44536</c:v>
                </c:pt>
                <c:pt idx="4666">
                  <c:v>44537</c:v>
                </c:pt>
                <c:pt idx="4667">
                  <c:v>44538</c:v>
                </c:pt>
                <c:pt idx="4668">
                  <c:v>44539</c:v>
                </c:pt>
                <c:pt idx="4669">
                  <c:v>44540</c:v>
                </c:pt>
                <c:pt idx="4670">
                  <c:v>44543</c:v>
                </c:pt>
                <c:pt idx="4671">
                  <c:v>44544</c:v>
                </c:pt>
                <c:pt idx="4672">
                  <c:v>44545</c:v>
                </c:pt>
                <c:pt idx="4673">
                  <c:v>44546</c:v>
                </c:pt>
                <c:pt idx="4674">
                  <c:v>44547</c:v>
                </c:pt>
                <c:pt idx="4675">
                  <c:v>44550</c:v>
                </c:pt>
                <c:pt idx="4676">
                  <c:v>44551</c:v>
                </c:pt>
                <c:pt idx="4677">
                  <c:v>44552</c:v>
                </c:pt>
                <c:pt idx="4678">
                  <c:v>44553</c:v>
                </c:pt>
                <c:pt idx="4679">
                  <c:v>44554</c:v>
                </c:pt>
                <c:pt idx="4680">
                  <c:v>44557</c:v>
                </c:pt>
                <c:pt idx="4681">
                  <c:v>44558</c:v>
                </c:pt>
                <c:pt idx="4682">
                  <c:v>44559</c:v>
                </c:pt>
                <c:pt idx="4683">
                  <c:v>44560</c:v>
                </c:pt>
                <c:pt idx="4684">
                  <c:v>44561</c:v>
                </c:pt>
                <c:pt idx="4685">
                  <c:v>44564</c:v>
                </c:pt>
                <c:pt idx="4686">
                  <c:v>44565</c:v>
                </c:pt>
                <c:pt idx="4687">
                  <c:v>44566</c:v>
                </c:pt>
                <c:pt idx="4688">
                  <c:v>44567</c:v>
                </c:pt>
                <c:pt idx="4689">
                  <c:v>44568</c:v>
                </c:pt>
                <c:pt idx="4690">
                  <c:v>44571</c:v>
                </c:pt>
                <c:pt idx="4691">
                  <c:v>44572</c:v>
                </c:pt>
                <c:pt idx="4692">
                  <c:v>44573</c:v>
                </c:pt>
                <c:pt idx="4693">
                  <c:v>44574</c:v>
                </c:pt>
                <c:pt idx="4694">
                  <c:v>44575</c:v>
                </c:pt>
                <c:pt idx="4695">
                  <c:v>44578</c:v>
                </c:pt>
                <c:pt idx="4696">
                  <c:v>44579</c:v>
                </c:pt>
                <c:pt idx="4697">
                  <c:v>44580</c:v>
                </c:pt>
                <c:pt idx="4698">
                  <c:v>44581</c:v>
                </c:pt>
                <c:pt idx="4699">
                  <c:v>44582</c:v>
                </c:pt>
                <c:pt idx="4700">
                  <c:v>44585</c:v>
                </c:pt>
                <c:pt idx="4701">
                  <c:v>44586</c:v>
                </c:pt>
                <c:pt idx="4702">
                  <c:v>44587</c:v>
                </c:pt>
                <c:pt idx="4703">
                  <c:v>44588</c:v>
                </c:pt>
                <c:pt idx="4704">
                  <c:v>44589</c:v>
                </c:pt>
                <c:pt idx="4705">
                  <c:v>44592</c:v>
                </c:pt>
                <c:pt idx="4706">
                  <c:v>44593</c:v>
                </c:pt>
                <c:pt idx="4707">
                  <c:v>44594</c:v>
                </c:pt>
                <c:pt idx="4708">
                  <c:v>44595</c:v>
                </c:pt>
                <c:pt idx="4709">
                  <c:v>44596</c:v>
                </c:pt>
                <c:pt idx="4710">
                  <c:v>44599</c:v>
                </c:pt>
                <c:pt idx="4711">
                  <c:v>44600</c:v>
                </c:pt>
                <c:pt idx="4712">
                  <c:v>44601</c:v>
                </c:pt>
                <c:pt idx="4713">
                  <c:v>44602</c:v>
                </c:pt>
                <c:pt idx="4714">
                  <c:v>44603</c:v>
                </c:pt>
                <c:pt idx="4715">
                  <c:v>44606</c:v>
                </c:pt>
                <c:pt idx="4716">
                  <c:v>44607</c:v>
                </c:pt>
                <c:pt idx="4717">
                  <c:v>44608</c:v>
                </c:pt>
                <c:pt idx="4718">
                  <c:v>44609</c:v>
                </c:pt>
                <c:pt idx="4719">
                  <c:v>44610</c:v>
                </c:pt>
                <c:pt idx="4720">
                  <c:v>44613</c:v>
                </c:pt>
                <c:pt idx="4721">
                  <c:v>44614</c:v>
                </c:pt>
                <c:pt idx="4722">
                  <c:v>44615</c:v>
                </c:pt>
                <c:pt idx="4723">
                  <c:v>44616</c:v>
                </c:pt>
                <c:pt idx="4724">
                  <c:v>44617</c:v>
                </c:pt>
                <c:pt idx="4725">
                  <c:v>44620</c:v>
                </c:pt>
                <c:pt idx="4726">
                  <c:v>44621</c:v>
                </c:pt>
                <c:pt idx="4727">
                  <c:v>44622</c:v>
                </c:pt>
                <c:pt idx="4728">
                  <c:v>44623</c:v>
                </c:pt>
                <c:pt idx="4729">
                  <c:v>44624</c:v>
                </c:pt>
                <c:pt idx="4730">
                  <c:v>44627</c:v>
                </c:pt>
                <c:pt idx="4731">
                  <c:v>44628</c:v>
                </c:pt>
                <c:pt idx="4732">
                  <c:v>44629</c:v>
                </c:pt>
                <c:pt idx="4733">
                  <c:v>44630</c:v>
                </c:pt>
                <c:pt idx="4734">
                  <c:v>44631</c:v>
                </c:pt>
                <c:pt idx="4735">
                  <c:v>44634</c:v>
                </c:pt>
                <c:pt idx="4736">
                  <c:v>44635</c:v>
                </c:pt>
                <c:pt idx="4737">
                  <c:v>44636</c:v>
                </c:pt>
                <c:pt idx="4738">
                  <c:v>44637</c:v>
                </c:pt>
                <c:pt idx="4739">
                  <c:v>44638</c:v>
                </c:pt>
                <c:pt idx="4740">
                  <c:v>44641</c:v>
                </c:pt>
                <c:pt idx="4741">
                  <c:v>44642</c:v>
                </c:pt>
                <c:pt idx="4742">
                  <c:v>44643</c:v>
                </c:pt>
                <c:pt idx="4743">
                  <c:v>44644</c:v>
                </c:pt>
                <c:pt idx="4744">
                  <c:v>44645</c:v>
                </c:pt>
                <c:pt idx="4745">
                  <c:v>44648</c:v>
                </c:pt>
                <c:pt idx="4746">
                  <c:v>44649</c:v>
                </c:pt>
                <c:pt idx="4747">
                  <c:v>44650</c:v>
                </c:pt>
                <c:pt idx="4748">
                  <c:v>44651</c:v>
                </c:pt>
                <c:pt idx="4749">
                  <c:v>44652</c:v>
                </c:pt>
                <c:pt idx="4750">
                  <c:v>44655</c:v>
                </c:pt>
                <c:pt idx="4751">
                  <c:v>44656</c:v>
                </c:pt>
                <c:pt idx="4752">
                  <c:v>44657</c:v>
                </c:pt>
                <c:pt idx="4753">
                  <c:v>44658</c:v>
                </c:pt>
                <c:pt idx="4754">
                  <c:v>44659</c:v>
                </c:pt>
                <c:pt idx="4755">
                  <c:v>44662</c:v>
                </c:pt>
                <c:pt idx="4756">
                  <c:v>44663</c:v>
                </c:pt>
                <c:pt idx="4757">
                  <c:v>44664</c:v>
                </c:pt>
                <c:pt idx="4758">
                  <c:v>44665</c:v>
                </c:pt>
                <c:pt idx="4759">
                  <c:v>44666</c:v>
                </c:pt>
                <c:pt idx="4760">
                  <c:v>44669</c:v>
                </c:pt>
                <c:pt idx="4761">
                  <c:v>44670</c:v>
                </c:pt>
                <c:pt idx="4762">
                  <c:v>44671</c:v>
                </c:pt>
                <c:pt idx="4763">
                  <c:v>44672</c:v>
                </c:pt>
                <c:pt idx="4764">
                  <c:v>44673</c:v>
                </c:pt>
                <c:pt idx="4765">
                  <c:v>44676</c:v>
                </c:pt>
                <c:pt idx="4766">
                  <c:v>44677</c:v>
                </c:pt>
                <c:pt idx="4767">
                  <c:v>44678</c:v>
                </c:pt>
                <c:pt idx="4768">
                  <c:v>44679</c:v>
                </c:pt>
                <c:pt idx="4769">
                  <c:v>44680</c:v>
                </c:pt>
                <c:pt idx="4770">
                  <c:v>44683</c:v>
                </c:pt>
                <c:pt idx="4771">
                  <c:v>44684</c:v>
                </c:pt>
                <c:pt idx="4772">
                  <c:v>44685</c:v>
                </c:pt>
                <c:pt idx="4773">
                  <c:v>44686</c:v>
                </c:pt>
                <c:pt idx="4774">
                  <c:v>44687</c:v>
                </c:pt>
                <c:pt idx="4775">
                  <c:v>44690</c:v>
                </c:pt>
                <c:pt idx="4776">
                  <c:v>44691</c:v>
                </c:pt>
                <c:pt idx="4777">
                  <c:v>44692</c:v>
                </c:pt>
                <c:pt idx="4778">
                  <c:v>44693</c:v>
                </c:pt>
                <c:pt idx="4779">
                  <c:v>44694</c:v>
                </c:pt>
                <c:pt idx="4780">
                  <c:v>44697</c:v>
                </c:pt>
                <c:pt idx="4781">
                  <c:v>44698</c:v>
                </c:pt>
                <c:pt idx="4782">
                  <c:v>44699</c:v>
                </c:pt>
                <c:pt idx="4783">
                  <c:v>44700</c:v>
                </c:pt>
                <c:pt idx="4784">
                  <c:v>44701</c:v>
                </c:pt>
                <c:pt idx="4785">
                  <c:v>44704</c:v>
                </c:pt>
                <c:pt idx="4786">
                  <c:v>44705</c:v>
                </c:pt>
                <c:pt idx="4787">
                  <c:v>44706</c:v>
                </c:pt>
                <c:pt idx="4788">
                  <c:v>44707</c:v>
                </c:pt>
                <c:pt idx="4789">
                  <c:v>44708</c:v>
                </c:pt>
                <c:pt idx="4790">
                  <c:v>44711</c:v>
                </c:pt>
                <c:pt idx="4791">
                  <c:v>44712</c:v>
                </c:pt>
                <c:pt idx="4792">
                  <c:v>44713</c:v>
                </c:pt>
                <c:pt idx="4793">
                  <c:v>44714</c:v>
                </c:pt>
                <c:pt idx="4794">
                  <c:v>44715</c:v>
                </c:pt>
                <c:pt idx="4795">
                  <c:v>44718</c:v>
                </c:pt>
                <c:pt idx="4796">
                  <c:v>44719</c:v>
                </c:pt>
                <c:pt idx="4797">
                  <c:v>44720</c:v>
                </c:pt>
                <c:pt idx="4798">
                  <c:v>44721</c:v>
                </c:pt>
                <c:pt idx="4799">
                  <c:v>44722</c:v>
                </c:pt>
                <c:pt idx="4800">
                  <c:v>44725</c:v>
                </c:pt>
                <c:pt idx="4801">
                  <c:v>44726</c:v>
                </c:pt>
                <c:pt idx="4802">
                  <c:v>44727</c:v>
                </c:pt>
                <c:pt idx="4803">
                  <c:v>44728</c:v>
                </c:pt>
                <c:pt idx="4804">
                  <c:v>44729</c:v>
                </c:pt>
                <c:pt idx="4805">
                  <c:v>44732</c:v>
                </c:pt>
                <c:pt idx="4806">
                  <c:v>44733</c:v>
                </c:pt>
                <c:pt idx="4807">
                  <c:v>44734</c:v>
                </c:pt>
                <c:pt idx="4808">
                  <c:v>44735</c:v>
                </c:pt>
                <c:pt idx="4809">
                  <c:v>44736</c:v>
                </c:pt>
                <c:pt idx="4810">
                  <c:v>44739</c:v>
                </c:pt>
                <c:pt idx="4811">
                  <c:v>44740</c:v>
                </c:pt>
                <c:pt idx="4812">
                  <c:v>44741</c:v>
                </c:pt>
                <c:pt idx="4813">
                  <c:v>44742</c:v>
                </c:pt>
                <c:pt idx="4814">
                  <c:v>44743</c:v>
                </c:pt>
                <c:pt idx="4815">
                  <c:v>44746</c:v>
                </c:pt>
                <c:pt idx="4816">
                  <c:v>44747</c:v>
                </c:pt>
                <c:pt idx="4817">
                  <c:v>44748</c:v>
                </c:pt>
                <c:pt idx="4818">
                  <c:v>44749</c:v>
                </c:pt>
                <c:pt idx="4819">
                  <c:v>44750</c:v>
                </c:pt>
                <c:pt idx="4820">
                  <c:v>44753</c:v>
                </c:pt>
                <c:pt idx="4821">
                  <c:v>44754</c:v>
                </c:pt>
                <c:pt idx="4822">
                  <c:v>44755</c:v>
                </c:pt>
                <c:pt idx="4823">
                  <c:v>44756</c:v>
                </c:pt>
                <c:pt idx="4824">
                  <c:v>44757</c:v>
                </c:pt>
                <c:pt idx="4825">
                  <c:v>44760</c:v>
                </c:pt>
                <c:pt idx="4826">
                  <c:v>44761</c:v>
                </c:pt>
                <c:pt idx="4827">
                  <c:v>44762</c:v>
                </c:pt>
                <c:pt idx="4828">
                  <c:v>44763</c:v>
                </c:pt>
                <c:pt idx="4829">
                  <c:v>44764</c:v>
                </c:pt>
                <c:pt idx="4830">
                  <c:v>44767</c:v>
                </c:pt>
                <c:pt idx="4831">
                  <c:v>44768</c:v>
                </c:pt>
                <c:pt idx="4832">
                  <c:v>44769</c:v>
                </c:pt>
                <c:pt idx="4833">
                  <c:v>44770</c:v>
                </c:pt>
                <c:pt idx="4834">
                  <c:v>44771</c:v>
                </c:pt>
                <c:pt idx="4835">
                  <c:v>44774</c:v>
                </c:pt>
                <c:pt idx="4836">
                  <c:v>44775</c:v>
                </c:pt>
                <c:pt idx="4837">
                  <c:v>44776</c:v>
                </c:pt>
                <c:pt idx="4838">
                  <c:v>44777</c:v>
                </c:pt>
                <c:pt idx="4839">
                  <c:v>44778</c:v>
                </c:pt>
                <c:pt idx="4840">
                  <c:v>44781</c:v>
                </c:pt>
                <c:pt idx="4841">
                  <c:v>44782</c:v>
                </c:pt>
                <c:pt idx="4842">
                  <c:v>44783</c:v>
                </c:pt>
                <c:pt idx="4843">
                  <c:v>44784</c:v>
                </c:pt>
                <c:pt idx="4844">
                  <c:v>44785</c:v>
                </c:pt>
                <c:pt idx="4845">
                  <c:v>44788</c:v>
                </c:pt>
                <c:pt idx="4846">
                  <c:v>44789</c:v>
                </c:pt>
                <c:pt idx="4847">
                  <c:v>44790</c:v>
                </c:pt>
                <c:pt idx="4848">
                  <c:v>44791</c:v>
                </c:pt>
                <c:pt idx="4849">
                  <c:v>44792</c:v>
                </c:pt>
                <c:pt idx="4850">
                  <c:v>44795</c:v>
                </c:pt>
                <c:pt idx="4851">
                  <c:v>44796</c:v>
                </c:pt>
                <c:pt idx="4852">
                  <c:v>44797</c:v>
                </c:pt>
                <c:pt idx="4853">
                  <c:v>44798</c:v>
                </c:pt>
                <c:pt idx="4854">
                  <c:v>44799</c:v>
                </c:pt>
                <c:pt idx="4855">
                  <c:v>44802</c:v>
                </c:pt>
                <c:pt idx="4856">
                  <c:v>44803</c:v>
                </c:pt>
                <c:pt idx="4857">
                  <c:v>44804</c:v>
                </c:pt>
                <c:pt idx="4858">
                  <c:v>44805</c:v>
                </c:pt>
                <c:pt idx="4859">
                  <c:v>44806</c:v>
                </c:pt>
                <c:pt idx="4860">
                  <c:v>44809</c:v>
                </c:pt>
                <c:pt idx="4861">
                  <c:v>44810</c:v>
                </c:pt>
                <c:pt idx="4862">
                  <c:v>44811</c:v>
                </c:pt>
                <c:pt idx="4863">
                  <c:v>44812</c:v>
                </c:pt>
                <c:pt idx="4864">
                  <c:v>44813</c:v>
                </c:pt>
                <c:pt idx="4865">
                  <c:v>44816</c:v>
                </c:pt>
                <c:pt idx="4866">
                  <c:v>44817</c:v>
                </c:pt>
                <c:pt idx="4867">
                  <c:v>44818</c:v>
                </c:pt>
                <c:pt idx="4868">
                  <c:v>44819</c:v>
                </c:pt>
                <c:pt idx="4869">
                  <c:v>44820</c:v>
                </c:pt>
                <c:pt idx="4870">
                  <c:v>44823</c:v>
                </c:pt>
                <c:pt idx="4871">
                  <c:v>44824</c:v>
                </c:pt>
                <c:pt idx="4872">
                  <c:v>44825</c:v>
                </c:pt>
                <c:pt idx="4873">
                  <c:v>44826</c:v>
                </c:pt>
                <c:pt idx="4874">
                  <c:v>44827</c:v>
                </c:pt>
                <c:pt idx="4875">
                  <c:v>44830</c:v>
                </c:pt>
                <c:pt idx="4876">
                  <c:v>44831</c:v>
                </c:pt>
                <c:pt idx="4877">
                  <c:v>44832</c:v>
                </c:pt>
                <c:pt idx="4878">
                  <c:v>44833</c:v>
                </c:pt>
                <c:pt idx="4879">
                  <c:v>44834</c:v>
                </c:pt>
                <c:pt idx="4880">
                  <c:v>44837</c:v>
                </c:pt>
                <c:pt idx="4881">
                  <c:v>44838</c:v>
                </c:pt>
                <c:pt idx="4882">
                  <c:v>44839</c:v>
                </c:pt>
                <c:pt idx="4883">
                  <c:v>44840</c:v>
                </c:pt>
                <c:pt idx="4884">
                  <c:v>44841</c:v>
                </c:pt>
                <c:pt idx="4885">
                  <c:v>44844</c:v>
                </c:pt>
                <c:pt idx="4886">
                  <c:v>44845</c:v>
                </c:pt>
                <c:pt idx="4887">
                  <c:v>44846</c:v>
                </c:pt>
                <c:pt idx="4888">
                  <c:v>44847</c:v>
                </c:pt>
                <c:pt idx="4889">
                  <c:v>44848</c:v>
                </c:pt>
                <c:pt idx="4890">
                  <c:v>44851</c:v>
                </c:pt>
                <c:pt idx="4891">
                  <c:v>44852</c:v>
                </c:pt>
                <c:pt idx="4892">
                  <c:v>44853</c:v>
                </c:pt>
                <c:pt idx="4893">
                  <c:v>44854</c:v>
                </c:pt>
                <c:pt idx="4894">
                  <c:v>44855</c:v>
                </c:pt>
                <c:pt idx="4895">
                  <c:v>44858</c:v>
                </c:pt>
                <c:pt idx="4896">
                  <c:v>44859</c:v>
                </c:pt>
                <c:pt idx="4897">
                  <c:v>44860</c:v>
                </c:pt>
                <c:pt idx="4898">
                  <c:v>44861</c:v>
                </c:pt>
                <c:pt idx="4899">
                  <c:v>44862</c:v>
                </c:pt>
                <c:pt idx="4900">
                  <c:v>44865</c:v>
                </c:pt>
                <c:pt idx="4901">
                  <c:v>44866</c:v>
                </c:pt>
                <c:pt idx="4902">
                  <c:v>44867</c:v>
                </c:pt>
                <c:pt idx="4903">
                  <c:v>44868</c:v>
                </c:pt>
                <c:pt idx="4904">
                  <c:v>44869</c:v>
                </c:pt>
                <c:pt idx="4905">
                  <c:v>44872</c:v>
                </c:pt>
                <c:pt idx="4906">
                  <c:v>44873</c:v>
                </c:pt>
                <c:pt idx="4907">
                  <c:v>44874</c:v>
                </c:pt>
                <c:pt idx="4908">
                  <c:v>44875</c:v>
                </c:pt>
                <c:pt idx="4909">
                  <c:v>44876</c:v>
                </c:pt>
                <c:pt idx="4910">
                  <c:v>44879</c:v>
                </c:pt>
                <c:pt idx="4911">
                  <c:v>44880</c:v>
                </c:pt>
                <c:pt idx="4912">
                  <c:v>44881</c:v>
                </c:pt>
                <c:pt idx="4913">
                  <c:v>44882</c:v>
                </c:pt>
                <c:pt idx="4914">
                  <c:v>44883</c:v>
                </c:pt>
                <c:pt idx="4915">
                  <c:v>44886</c:v>
                </c:pt>
                <c:pt idx="4916">
                  <c:v>44887</c:v>
                </c:pt>
                <c:pt idx="4917">
                  <c:v>44888</c:v>
                </c:pt>
                <c:pt idx="4918">
                  <c:v>44889</c:v>
                </c:pt>
                <c:pt idx="4919">
                  <c:v>44890</c:v>
                </c:pt>
                <c:pt idx="4920">
                  <c:v>44893</c:v>
                </c:pt>
                <c:pt idx="4921">
                  <c:v>44894</c:v>
                </c:pt>
                <c:pt idx="4922">
                  <c:v>44895</c:v>
                </c:pt>
                <c:pt idx="4923">
                  <c:v>44896</c:v>
                </c:pt>
                <c:pt idx="4924">
                  <c:v>44897</c:v>
                </c:pt>
                <c:pt idx="4925">
                  <c:v>44900</c:v>
                </c:pt>
                <c:pt idx="4926">
                  <c:v>44901</c:v>
                </c:pt>
                <c:pt idx="4927">
                  <c:v>44902</c:v>
                </c:pt>
                <c:pt idx="4928">
                  <c:v>44903</c:v>
                </c:pt>
                <c:pt idx="4929">
                  <c:v>44904</c:v>
                </c:pt>
                <c:pt idx="4930">
                  <c:v>44907</c:v>
                </c:pt>
                <c:pt idx="4931">
                  <c:v>44908</c:v>
                </c:pt>
                <c:pt idx="4932">
                  <c:v>44909</c:v>
                </c:pt>
                <c:pt idx="4933">
                  <c:v>44910</c:v>
                </c:pt>
                <c:pt idx="4934">
                  <c:v>44911</c:v>
                </c:pt>
                <c:pt idx="4935">
                  <c:v>44914</c:v>
                </c:pt>
                <c:pt idx="4936">
                  <c:v>44915</c:v>
                </c:pt>
                <c:pt idx="4937">
                  <c:v>44916</c:v>
                </c:pt>
                <c:pt idx="4938">
                  <c:v>44917</c:v>
                </c:pt>
                <c:pt idx="4939">
                  <c:v>44918</c:v>
                </c:pt>
                <c:pt idx="4940">
                  <c:v>44921</c:v>
                </c:pt>
                <c:pt idx="4941">
                  <c:v>44922</c:v>
                </c:pt>
                <c:pt idx="4942">
                  <c:v>44923</c:v>
                </c:pt>
                <c:pt idx="4943">
                  <c:v>44924</c:v>
                </c:pt>
                <c:pt idx="4944">
                  <c:v>44925</c:v>
                </c:pt>
                <c:pt idx="4945">
                  <c:v>44928</c:v>
                </c:pt>
                <c:pt idx="4946">
                  <c:v>44929</c:v>
                </c:pt>
                <c:pt idx="4947">
                  <c:v>44930</c:v>
                </c:pt>
                <c:pt idx="4948">
                  <c:v>44931</c:v>
                </c:pt>
                <c:pt idx="4949">
                  <c:v>44932</c:v>
                </c:pt>
                <c:pt idx="4950">
                  <c:v>44935</c:v>
                </c:pt>
                <c:pt idx="4951">
                  <c:v>44936</c:v>
                </c:pt>
                <c:pt idx="4952">
                  <c:v>44937</c:v>
                </c:pt>
                <c:pt idx="4953">
                  <c:v>44938</c:v>
                </c:pt>
                <c:pt idx="4954">
                  <c:v>44939</c:v>
                </c:pt>
                <c:pt idx="4955">
                  <c:v>44942</c:v>
                </c:pt>
                <c:pt idx="4956">
                  <c:v>44943</c:v>
                </c:pt>
                <c:pt idx="4957">
                  <c:v>44944</c:v>
                </c:pt>
                <c:pt idx="4958">
                  <c:v>44945</c:v>
                </c:pt>
                <c:pt idx="4959">
                  <c:v>44946</c:v>
                </c:pt>
                <c:pt idx="4960">
                  <c:v>44949</c:v>
                </c:pt>
                <c:pt idx="4961">
                  <c:v>44950</c:v>
                </c:pt>
                <c:pt idx="4962">
                  <c:v>44951</c:v>
                </c:pt>
                <c:pt idx="4963">
                  <c:v>44952</c:v>
                </c:pt>
                <c:pt idx="4964">
                  <c:v>44953</c:v>
                </c:pt>
                <c:pt idx="4965">
                  <c:v>44956</c:v>
                </c:pt>
                <c:pt idx="4966">
                  <c:v>44957</c:v>
                </c:pt>
                <c:pt idx="4967">
                  <c:v>44958</c:v>
                </c:pt>
                <c:pt idx="4968">
                  <c:v>44959</c:v>
                </c:pt>
                <c:pt idx="4969">
                  <c:v>44960</c:v>
                </c:pt>
                <c:pt idx="4970">
                  <c:v>44963</c:v>
                </c:pt>
                <c:pt idx="4971">
                  <c:v>44964</c:v>
                </c:pt>
                <c:pt idx="4972">
                  <c:v>44965</c:v>
                </c:pt>
                <c:pt idx="4973">
                  <c:v>44966</c:v>
                </c:pt>
                <c:pt idx="4974">
                  <c:v>44967</c:v>
                </c:pt>
                <c:pt idx="4975">
                  <c:v>44970</c:v>
                </c:pt>
                <c:pt idx="4976">
                  <c:v>44971</c:v>
                </c:pt>
                <c:pt idx="4977">
                  <c:v>44972</c:v>
                </c:pt>
                <c:pt idx="4978">
                  <c:v>44973</c:v>
                </c:pt>
                <c:pt idx="4979">
                  <c:v>44974</c:v>
                </c:pt>
                <c:pt idx="4980">
                  <c:v>44977</c:v>
                </c:pt>
                <c:pt idx="4981">
                  <c:v>44978</c:v>
                </c:pt>
                <c:pt idx="4982">
                  <c:v>44979</c:v>
                </c:pt>
                <c:pt idx="4983">
                  <c:v>44980</c:v>
                </c:pt>
                <c:pt idx="4984">
                  <c:v>44981</c:v>
                </c:pt>
                <c:pt idx="4985">
                  <c:v>44984</c:v>
                </c:pt>
                <c:pt idx="4986">
                  <c:v>44985</c:v>
                </c:pt>
                <c:pt idx="4987">
                  <c:v>44986</c:v>
                </c:pt>
                <c:pt idx="4988">
                  <c:v>44987</c:v>
                </c:pt>
                <c:pt idx="4989">
                  <c:v>44988</c:v>
                </c:pt>
                <c:pt idx="4990">
                  <c:v>44991</c:v>
                </c:pt>
                <c:pt idx="4991">
                  <c:v>44992</c:v>
                </c:pt>
                <c:pt idx="4992">
                  <c:v>44993</c:v>
                </c:pt>
                <c:pt idx="4993">
                  <c:v>44994</c:v>
                </c:pt>
                <c:pt idx="4994">
                  <c:v>44995</c:v>
                </c:pt>
                <c:pt idx="4995">
                  <c:v>44998</c:v>
                </c:pt>
                <c:pt idx="4996">
                  <c:v>44999</c:v>
                </c:pt>
                <c:pt idx="4997">
                  <c:v>45000</c:v>
                </c:pt>
                <c:pt idx="4998">
                  <c:v>45001</c:v>
                </c:pt>
                <c:pt idx="4999">
                  <c:v>45002</c:v>
                </c:pt>
                <c:pt idx="5000">
                  <c:v>45005</c:v>
                </c:pt>
                <c:pt idx="5001">
                  <c:v>45006</c:v>
                </c:pt>
                <c:pt idx="5002">
                  <c:v>45007</c:v>
                </c:pt>
                <c:pt idx="5003">
                  <c:v>45008</c:v>
                </c:pt>
                <c:pt idx="5004">
                  <c:v>45009</c:v>
                </c:pt>
                <c:pt idx="5005">
                  <c:v>45012</c:v>
                </c:pt>
                <c:pt idx="5006">
                  <c:v>45013</c:v>
                </c:pt>
                <c:pt idx="5007">
                  <c:v>45014</c:v>
                </c:pt>
                <c:pt idx="5008">
                  <c:v>45015</c:v>
                </c:pt>
                <c:pt idx="5009">
                  <c:v>45016</c:v>
                </c:pt>
                <c:pt idx="5010">
                  <c:v>45019</c:v>
                </c:pt>
                <c:pt idx="5011">
                  <c:v>45020</c:v>
                </c:pt>
                <c:pt idx="5012">
                  <c:v>45021</c:v>
                </c:pt>
                <c:pt idx="5013">
                  <c:v>45022</c:v>
                </c:pt>
                <c:pt idx="5014">
                  <c:v>45023</c:v>
                </c:pt>
                <c:pt idx="5015">
                  <c:v>45026</c:v>
                </c:pt>
                <c:pt idx="5016">
                  <c:v>45027</c:v>
                </c:pt>
                <c:pt idx="5017">
                  <c:v>45028</c:v>
                </c:pt>
                <c:pt idx="5018">
                  <c:v>45029</c:v>
                </c:pt>
                <c:pt idx="5019">
                  <c:v>45030</c:v>
                </c:pt>
                <c:pt idx="5020">
                  <c:v>45033</c:v>
                </c:pt>
                <c:pt idx="5021">
                  <c:v>45034</c:v>
                </c:pt>
                <c:pt idx="5022">
                  <c:v>45035</c:v>
                </c:pt>
                <c:pt idx="5023">
                  <c:v>45036</c:v>
                </c:pt>
                <c:pt idx="5024">
                  <c:v>45037</c:v>
                </c:pt>
                <c:pt idx="5025">
                  <c:v>45040</c:v>
                </c:pt>
                <c:pt idx="5026">
                  <c:v>45041</c:v>
                </c:pt>
                <c:pt idx="5027">
                  <c:v>45042</c:v>
                </c:pt>
                <c:pt idx="5028">
                  <c:v>45043</c:v>
                </c:pt>
                <c:pt idx="5029">
                  <c:v>45044</c:v>
                </c:pt>
                <c:pt idx="5030">
                  <c:v>45047</c:v>
                </c:pt>
                <c:pt idx="5031">
                  <c:v>45048</c:v>
                </c:pt>
                <c:pt idx="5032">
                  <c:v>45049</c:v>
                </c:pt>
                <c:pt idx="5033">
                  <c:v>45050</c:v>
                </c:pt>
                <c:pt idx="5034">
                  <c:v>45051</c:v>
                </c:pt>
                <c:pt idx="5035">
                  <c:v>45054</c:v>
                </c:pt>
                <c:pt idx="5036">
                  <c:v>45055</c:v>
                </c:pt>
                <c:pt idx="5037">
                  <c:v>45056</c:v>
                </c:pt>
                <c:pt idx="5038">
                  <c:v>45057</c:v>
                </c:pt>
                <c:pt idx="5039">
                  <c:v>45058</c:v>
                </c:pt>
                <c:pt idx="5040">
                  <c:v>45061</c:v>
                </c:pt>
                <c:pt idx="5041">
                  <c:v>45062</c:v>
                </c:pt>
                <c:pt idx="5042">
                  <c:v>45063</c:v>
                </c:pt>
                <c:pt idx="5043">
                  <c:v>45064</c:v>
                </c:pt>
                <c:pt idx="5044">
                  <c:v>45065</c:v>
                </c:pt>
                <c:pt idx="5045">
                  <c:v>45068</c:v>
                </c:pt>
                <c:pt idx="5046">
                  <c:v>45069</c:v>
                </c:pt>
                <c:pt idx="5047">
                  <c:v>45070</c:v>
                </c:pt>
                <c:pt idx="5048">
                  <c:v>45071</c:v>
                </c:pt>
                <c:pt idx="5049">
                  <c:v>45072</c:v>
                </c:pt>
                <c:pt idx="5050">
                  <c:v>45075</c:v>
                </c:pt>
                <c:pt idx="5051">
                  <c:v>45076</c:v>
                </c:pt>
                <c:pt idx="5052">
                  <c:v>45077</c:v>
                </c:pt>
                <c:pt idx="5053">
                  <c:v>45078</c:v>
                </c:pt>
                <c:pt idx="5054">
                  <c:v>45079</c:v>
                </c:pt>
                <c:pt idx="5055">
                  <c:v>45082</c:v>
                </c:pt>
                <c:pt idx="5056">
                  <c:v>45083</c:v>
                </c:pt>
                <c:pt idx="5057">
                  <c:v>45084</c:v>
                </c:pt>
                <c:pt idx="5058">
                  <c:v>45085</c:v>
                </c:pt>
                <c:pt idx="5059">
                  <c:v>45086</c:v>
                </c:pt>
                <c:pt idx="5060">
                  <c:v>45089</c:v>
                </c:pt>
                <c:pt idx="5061">
                  <c:v>45090</c:v>
                </c:pt>
                <c:pt idx="5062">
                  <c:v>45091</c:v>
                </c:pt>
                <c:pt idx="5063">
                  <c:v>45092</c:v>
                </c:pt>
                <c:pt idx="5064">
                  <c:v>45093</c:v>
                </c:pt>
                <c:pt idx="5065">
                  <c:v>45096</c:v>
                </c:pt>
                <c:pt idx="5066">
                  <c:v>45097</c:v>
                </c:pt>
                <c:pt idx="5067">
                  <c:v>45098</c:v>
                </c:pt>
                <c:pt idx="5068">
                  <c:v>45099</c:v>
                </c:pt>
                <c:pt idx="5069">
                  <c:v>45100</c:v>
                </c:pt>
                <c:pt idx="5070">
                  <c:v>45103</c:v>
                </c:pt>
                <c:pt idx="5071">
                  <c:v>45104</c:v>
                </c:pt>
                <c:pt idx="5072">
                  <c:v>45105</c:v>
                </c:pt>
                <c:pt idx="5073">
                  <c:v>45106</c:v>
                </c:pt>
                <c:pt idx="5074">
                  <c:v>45107</c:v>
                </c:pt>
                <c:pt idx="5075">
                  <c:v>45110</c:v>
                </c:pt>
                <c:pt idx="5076">
                  <c:v>45111</c:v>
                </c:pt>
                <c:pt idx="5077">
                  <c:v>45112</c:v>
                </c:pt>
                <c:pt idx="5078">
                  <c:v>45113</c:v>
                </c:pt>
                <c:pt idx="5079">
                  <c:v>45114</c:v>
                </c:pt>
                <c:pt idx="5080">
                  <c:v>45117</c:v>
                </c:pt>
                <c:pt idx="5081">
                  <c:v>45118</c:v>
                </c:pt>
                <c:pt idx="5082">
                  <c:v>45119</c:v>
                </c:pt>
                <c:pt idx="5083">
                  <c:v>45120</c:v>
                </c:pt>
                <c:pt idx="5084">
                  <c:v>45121</c:v>
                </c:pt>
                <c:pt idx="5085">
                  <c:v>45124</c:v>
                </c:pt>
                <c:pt idx="5086">
                  <c:v>45125</c:v>
                </c:pt>
                <c:pt idx="5087">
                  <c:v>45126</c:v>
                </c:pt>
                <c:pt idx="5088">
                  <c:v>45127</c:v>
                </c:pt>
                <c:pt idx="5089">
                  <c:v>45128</c:v>
                </c:pt>
                <c:pt idx="5090">
                  <c:v>45131</c:v>
                </c:pt>
                <c:pt idx="5091">
                  <c:v>45132</c:v>
                </c:pt>
                <c:pt idx="5092">
                  <c:v>45133</c:v>
                </c:pt>
                <c:pt idx="5093">
                  <c:v>45134</c:v>
                </c:pt>
                <c:pt idx="5094">
                  <c:v>45135</c:v>
                </c:pt>
                <c:pt idx="5095">
                  <c:v>45138</c:v>
                </c:pt>
                <c:pt idx="5096">
                  <c:v>45139</c:v>
                </c:pt>
                <c:pt idx="5097">
                  <c:v>45140</c:v>
                </c:pt>
                <c:pt idx="5098">
                  <c:v>45141</c:v>
                </c:pt>
                <c:pt idx="5099">
                  <c:v>45142</c:v>
                </c:pt>
                <c:pt idx="5100">
                  <c:v>45145</c:v>
                </c:pt>
                <c:pt idx="5101">
                  <c:v>45146</c:v>
                </c:pt>
                <c:pt idx="5102">
                  <c:v>45147</c:v>
                </c:pt>
                <c:pt idx="5103">
                  <c:v>45148</c:v>
                </c:pt>
                <c:pt idx="5104">
                  <c:v>45149</c:v>
                </c:pt>
                <c:pt idx="5105">
                  <c:v>45152</c:v>
                </c:pt>
                <c:pt idx="5106">
                  <c:v>45153</c:v>
                </c:pt>
                <c:pt idx="5107">
                  <c:v>45154</c:v>
                </c:pt>
                <c:pt idx="5108">
                  <c:v>45155</c:v>
                </c:pt>
                <c:pt idx="5109">
                  <c:v>45156</c:v>
                </c:pt>
                <c:pt idx="5110">
                  <c:v>45159</c:v>
                </c:pt>
                <c:pt idx="5111">
                  <c:v>45160</c:v>
                </c:pt>
                <c:pt idx="5112">
                  <c:v>45161</c:v>
                </c:pt>
                <c:pt idx="5113">
                  <c:v>45162</c:v>
                </c:pt>
                <c:pt idx="5114">
                  <c:v>45163</c:v>
                </c:pt>
                <c:pt idx="5115">
                  <c:v>45166</c:v>
                </c:pt>
                <c:pt idx="5116">
                  <c:v>45167</c:v>
                </c:pt>
                <c:pt idx="5117">
                  <c:v>45168</c:v>
                </c:pt>
                <c:pt idx="5118">
                  <c:v>45169</c:v>
                </c:pt>
                <c:pt idx="5119">
                  <c:v>45170</c:v>
                </c:pt>
                <c:pt idx="5120">
                  <c:v>45173</c:v>
                </c:pt>
                <c:pt idx="5121">
                  <c:v>45174</c:v>
                </c:pt>
                <c:pt idx="5122">
                  <c:v>45175</c:v>
                </c:pt>
                <c:pt idx="5123">
                  <c:v>45176</c:v>
                </c:pt>
                <c:pt idx="5124">
                  <c:v>45177</c:v>
                </c:pt>
                <c:pt idx="5125">
                  <c:v>45180</c:v>
                </c:pt>
                <c:pt idx="5126">
                  <c:v>45181</c:v>
                </c:pt>
                <c:pt idx="5127">
                  <c:v>45182</c:v>
                </c:pt>
                <c:pt idx="5128">
                  <c:v>45183</c:v>
                </c:pt>
                <c:pt idx="5129">
                  <c:v>45184</c:v>
                </c:pt>
                <c:pt idx="5130">
                  <c:v>45187</c:v>
                </c:pt>
                <c:pt idx="5131">
                  <c:v>45188</c:v>
                </c:pt>
                <c:pt idx="5132">
                  <c:v>45189</c:v>
                </c:pt>
                <c:pt idx="5133">
                  <c:v>45190</c:v>
                </c:pt>
                <c:pt idx="5134">
                  <c:v>45191</c:v>
                </c:pt>
                <c:pt idx="5135">
                  <c:v>45194</c:v>
                </c:pt>
                <c:pt idx="5136">
                  <c:v>45195</c:v>
                </c:pt>
                <c:pt idx="5137">
                  <c:v>45196</c:v>
                </c:pt>
                <c:pt idx="5138">
                  <c:v>45197</c:v>
                </c:pt>
                <c:pt idx="5139">
                  <c:v>45198</c:v>
                </c:pt>
                <c:pt idx="5140">
                  <c:v>45201</c:v>
                </c:pt>
                <c:pt idx="5141">
                  <c:v>45202</c:v>
                </c:pt>
                <c:pt idx="5142">
                  <c:v>45203</c:v>
                </c:pt>
                <c:pt idx="5143">
                  <c:v>45204</c:v>
                </c:pt>
                <c:pt idx="5144">
                  <c:v>45205</c:v>
                </c:pt>
                <c:pt idx="5145">
                  <c:v>45208</c:v>
                </c:pt>
                <c:pt idx="5146">
                  <c:v>45209</c:v>
                </c:pt>
                <c:pt idx="5147">
                  <c:v>45210</c:v>
                </c:pt>
                <c:pt idx="5148">
                  <c:v>45211</c:v>
                </c:pt>
                <c:pt idx="5149">
                  <c:v>45212</c:v>
                </c:pt>
                <c:pt idx="5150">
                  <c:v>45215</c:v>
                </c:pt>
                <c:pt idx="5151">
                  <c:v>45216</c:v>
                </c:pt>
                <c:pt idx="5152">
                  <c:v>45217</c:v>
                </c:pt>
                <c:pt idx="5153">
                  <c:v>45218</c:v>
                </c:pt>
                <c:pt idx="5154">
                  <c:v>45219</c:v>
                </c:pt>
                <c:pt idx="5155">
                  <c:v>45222</c:v>
                </c:pt>
                <c:pt idx="5156">
                  <c:v>45223</c:v>
                </c:pt>
                <c:pt idx="5157">
                  <c:v>45224</c:v>
                </c:pt>
                <c:pt idx="5158">
                  <c:v>45225</c:v>
                </c:pt>
                <c:pt idx="5159">
                  <c:v>45226</c:v>
                </c:pt>
                <c:pt idx="5160">
                  <c:v>45229</c:v>
                </c:pt>
                <c:pt idx="5161">
                  <c:v>45230</c:v>
                </c:pt>
                <c:pt idx="5162">
                  <c:v>45231</c:v>
                </c:pt>
                <c:pt idx="5163">
                  <c:v>45232</c:v>
                </c:pt>
                <c:pt idx="5164">
                  <c:v>45233</c:v>
                </c:pt>
                <c:pt idx="5165">
                  <c:v>45236</c:v>
                </c:pt>
                <c:pt idx="5166">
                  <c:v>45237</c:v>
                </c:pt>
                <c:pt idx="5167">
                  <c:v>45238</c:v>
                </c:pt>
                <c:pt idx="5168">
                  <c:v>45239</c:v>
                </c:pt>
                <c:pt idx="5169">
                  <c:v>45240</c:v>
                </c:pt>
                <c:pt idx="5170">
                  <c:v>45243</c:v>
                </c:pt>
                <c:pt idx="5171">
                  <c:v>45244</c:v>
                </c:pt>
                <c:pt idx="5172">
                  <c:v>45245</c:v>
                </c:pt>
                <c:pt idx="5173">
                  <c:v>45246</c:v>
                </c:pt>
                <c:pt idx="5174">
                  <c:v>45247</c:v>
                </c:pt>
                <c:pt idx="5175">
                  <c:v>45250</c:v>
                </c:pt>
                <c:pt idx="5176">
                  <c:v>45251</c:v>
                </c:pt>
                <c:pt idx="5177">
                  <c:v>45252</c:v>
                </c:pt>
                <c:pt idx="5178">
                  <c:v>45253</c:v>
                </c:pt>
                <c:pt idx="5179">
                  <c:v>45254</c:v>
                </c:pt>
                <c:pt idx="5180">
                  <c:v>45257</c:v>
                </c:pt>
                <c:pt idx="5181">
                  <c:v>45258</c:v>
                </c:pt>
                <c:pt idx="5182">
                  <c:v>45259</c:v>
                </c:pt>
                <c:pt idx="5183">
                  <c:v>45260</c:v>
                </c:pt>
                <c:pt idx="5184">
                  <c:v>45261</c:v>
                </c:pt>
                <c:pt idx="5185">
                  <c:v>45264</c:v>
                </c:pt>
                <c:pt idx="5186">
                  <c:v>45265</c:v>
                </c:pt>
                <c:pt idx="5187">
                  <c:v>45266</c:v>
                </c:pt>
                <c:pt idx="5188">
                  <c:v>45267</c:v>
                </c:pt>
                <c:pt idx="5189">
                  <c:v>45268</c:v>
                </c:pt>
                <c:pt idx="5190">
                  <c:v>45271</c:v>
                </c:pt>
                <c:pt idx="5191">
                  <c:v>45272</c:v>
                </c:pt>
                <c:pt idx="5192">
                  <c:v>45273</c:v>
                </c:pt>
                <c:pt idx="5193">
                  <c:v>45274</c:v>
                </c:pt>
                <c:pt idx="5194">
                  <c:v>45275</c:v>
                </c:pt>
                <c:pt idx="5195">
                  <c:v>45278</c:v>
                </c:pt>
                <c:pt idx="5196">
                  <c:v>45279</c:v>
                </c:pt>
                <c:pt idx="5197">
                  <c:v>45280</c:v>
                </c:pt>
                <c:pt idx="5198">
                  <c:v>45281</c:v>
                </c:pt>
                <c:pt idx="5199">
                  <c:v>45282</c:v>
                </c:pt>
                <c:pt idx="5200">
                  <c:v>45285</c:v>
                </c:pt>
                <c:pt idx="5201">
                  <c:v>45286</c:v>
                </c:pt>
                <c:pt idx="5202">
                  <c:v>45287</c:v>
                </c:pt>
                <c:pt idx="5203">
                  <c:v>45288</c:v>
                </c:pt>
                <c:pt idx="5204">
                  <c:v>45289</c:v>
                </c:pt>
                <c:pt idx="5205">
                  <c:v>45292</c:v>
                </c:pt>
                <c:pt idx="5206">
                  <c:v>45293</c:v>
                </c:pt>
                <c:pt idx="5207">
                  <c:v>45294</c:v>
                </c:pt>
                <c:pt idx="5208">
                  <c:v>45295</c:v>
                </c:pt>
                <c:pt idx="5209">
                  <c:v>45296</c:v>
                </c:pt>
                <c:pt idx="5210">
                  <c:v>45299</c:v>
                </c:pt>
                <c:pt idx="5211">
                  <c:v>45300</c:v>
                </c:pt>
                <c:pt idx="5212">
                  <c:v>45301</c:v>
                </c:pt>
                <c:pt idx="5213">
                  <c:v>45302</c:v>
                </c:pt>
                <c:pt idx="5214">
                  <c:v>45303</c:v>
                </c:pt>
                <c:pt idx="5215">
                  <c:v>45306</c:v>
                </c:pt>
                <c:pt idx="5216">
                  <c:v>45307</c:v>
                </c:pt>
                <c:pt idx="5217">
                  <c:v>45308</c:v>
                </c:pt>
                <c:pt idx="5218">
                  <c:v>45309</c:v>
                </c:pt>
                <c:pt idx="5219">
                  <c:v>45310</c:v>
                </c:pt>
              </c:numCache>
            </c:numRef>
          </c:cat>
          <c:val>
            <c:numRef>
              <c:f>'Portfolio 70-30'!$D$2:$D$5221</c:f>
              <c:numCache>
                <c:formatCode>0.00%</c:formatCode>
                <c:ptCount val="5220"/>
                <c:pt idx="0">
                  <c:v>0</c:v>
                </c:pt>
                <c:pt idx="1">
                  <c:v>-7.5340000000000407E-3</c:v>
                </c:pt>
                <c:pt idx="2">
                  <c:v>-6.4029999999999365E-3</c:v>
                </c:pt>
                <c:pt idx="3">
                  <c:v>-9.5089999999999897E-3</c:v>
                </c:pt>
                <c:pt idx="4">
                  <c:v>-9.0459999999999985E-3</c:v>
                </c:pt>
                <c:pt idx="5">
                  <c:v>-2.9099999999999682E-3</c:v>
                </c:pt>
                <c:pt idx="6">
                  <c:v>-6.7189999999999195E-3</c:v>
                </c:pt>
                <c:pt idx="7">
                  <c:v>-1.1217000000000033E-2</c:v>
                </c:pt>
                <c:pt idx="8">
                  <c:v>-5.7099999999999929E-3</c:v>
                </c:pt>
                <c:pt idx="9">
                  <c:v>-7.4030000000000484E-3</c:v>
                </c:pt>
                <c:pt idx="10">
                  <c:v>-6.5159999999999663E-3</c:v>
                </c:pt>
                <c:pt idx="11">
                  <c:v>-1.137699999999997E-2</c:v>
                </c:pt>
                <c:pt idx="12">
                  <c:v>-1.5363000000000016E-2</c:v>
                </c:pt>
                <c:pt idx="13">
                  <c:v>-1.7986999999999975E-2</c:v>
                </c:pt>
                <c:pt idx="14">
                  <c:v>-1.543300000000003E-2</c:v>
                </c:pt>
                <c:pt idx="15">
                  <c:v>-1.2565000000000048E-2</c:v>
                </c:pt>
                <c:pt idx="16">
                  <c:v>-1.115300000000008E-2</c:v>
                </c:pt>
                <c:pt idx="17">
                  <c:v>-5.5240000000000844E-3</c:v>
                </c:pt>
                <c:pt idx="18">
                  <c:v>-1.2479000000000018E-2</c:v>
                </c:pt>
                <c:pt idx="19">
                  <c:v>-1.3090999999999964E-2</c:v>
                </c:pt>
                <c:pt idx="20">
                  <c:v>-1.2098000000000053E-2</c:v>
                </c:pt>
                <c:pt idx="21">
                  <c:v>-7.1109999999999784E-3</c:v>
                </c:pt>
                <c:pt idx="22">
                  <c:v>-9.8470000000000502E-3</c:v>
                </c:pt>
                <c:pt idx="23">
                  <c:v>-4.3189999999999618E-3</c:v>
                </c:pt>
                <c:pt idx="24">
                  <c:v>-3.3309999999999729E-3</c:v>
                </c:pt>
                <c:pt idx="25">
                  <c:v>-2.8310000000000279E-3</c:v>
                </c:pt>
                <c:pt idx="26">
                  <c:v>-9.8319999999999519E-3</c:v>
                </c:pt>
                <c:pt idx="27">
                  <c:v>-3.7009999999999543E-3</c:v>
                </c:pt>
                <c:pt idx="28">
                  <c:v>0</c:v>
                </c:pt>
                <c:pt idx="29">
                  <c:v>0</c:v>
                </c:pt>
                <c:pt idx="30">
                  <c:v>0</c:v>
                </c:pt>
                <c:pt idx="31">
                  <c:v>0</c:v>
                </c:pt>
                <c:pt idx="32">
                  <c:v>0</c:v>
                </c:pt>
                <c:pt idx="33">
                  <c:v>0</c:v>
                </c:pt>
                <c:pt idx="34">
                  <c:v>-7.1078225176911536E-3</c:v>
                </c:pt>
                <c:pt idx="35">
                  <c:v>-8.2278963936555094E-3</c:v>
                </c:pt>
                <c:pt idx="36">
                  <c:v>-1.480747446329389E-2</c:v>
                </c:pt>
                <c:pt idx="37">
                  <c:v>-1.537778282109914E-2</c:v>
                </c:pt>
                <c:pt idx="38">
                  <c:v>-2.7609576484904808E-2</c:v>
                </c:pt>
                <c:pt idx="39">
                  <c:v>-2.148683203978663E-2</c:v>
                </c:pt>
                <c:pt idx="40">
                  <c:v>-3.0797629551950756E-2</c:v>
                </c:pt>
                <c:pt idx="41">
                  <c:v>-3.208204614508714E-2</c:v>
                </c:pt>
                <c:pt idx="42">
                  <c:v>-1.5692773029012286E-2</c:v>
                </c:pt>
                <c:pt idx="43">
                  <c:v>-2.5581704742656863E-2</c:v>
                </c:pt>
                <c:pt idx="44">
                  <c:v>-2.7918697310061913E-2</c:v>
                </c:pt>
                <c:pt idx="45">
                  <c:v>-3.853738894638703E-2</c:v>
                </c:pt>
                <c:pt idx="46">
                  <c:v>-3.5991055060679567E-2</c:v>
                </c:pt>
                <c:pt idx="47">
                  <c:v>-3.2161282812295022E-2</c:v>
                </c:pt>
                <c:pt idx="48">
                  <c:v>-2.1080866399153075E-2</c:v>
                </c:pt>
                <c:pt idx="49">
                  <c:v>-1.6840237357838572E-2</c:v>
                </c:pt>
                <c:pt idx="50">
                  <c:v>-1.2121253621898198E-2</c:v>
                </c:pt>
                <c:pt idx="51">
                  <c:v>-1.0429893157669179E-2</c:v>
                </c:pt>
                <c:pt idx="52">
                  <c:v>-1.4048367626832481E-2</c:v>
                </c:pt>
                <c:pt idx="53">
                  <c:v>-1.3373388609875803E-2</c:v>
                </c:pt>
                <c:pt idx="54">
                  <c:v>0</c:v>
                </c:pt>
                <c:pt idx="55">
                  <c:v>0</c:v>
                </c:pt>
                <c:pt idx="56">
                  <c:v>-2.9960644670422587E-3</c:v>
                </c:pt>
                <c:pt idx="57">
                  <c:v>-9.6949672296396949E-3</c:v>
                </c:pt>
                <c:pt idx="58">
                  <c:v>-7.3013984852638991E-3</c:v>
                </c:pt>
                <c:pt idx="59">
                  <c:v>-8.2959026428707228E-3</c:v>
                </c:pt>
                <c:pt idx="60">
                  <c:v>-3.740494278221651E-3</c:v>
                </c:pt>
                <c:pt idx="61">
                  <c:v>-2.5306751428029184E-3</c:v>
                </c:pt>
                <c:pt idx="62">
                  <c:v>-8.0998984254005979E-3</c:v>
                </c:pt>
                <c:pt idx="63">
                  <c:v>-9.1948185367850543E-3</c:v>
                </c:pt>
                <c:pt idx="64">
                  <c:v>-8.9186746638961756E-3</c:v>
                </c:pt>
                <c:pt idx="65">
                  <c:v>-9.3454424674517256E-3</c:v>
                </c:pt>
                <c:pt idx="66">
                  <c:v>-8.6792212356568976E-3</c:v>
                </c:pt>
                <c:pt idx="67">
                  <c:v>-7.4983682407511187E-3</c:v>
                </c:pt>
                <c:pt idx="68">
                  <c:v>-1.9310760341872957E-4</c:v>
                </c:pt>
                <c:pt idx="69">
                  <c:v>0</c:v>
                </c:pt>
                <c:pt idx="70">
                  <c:v>-1.4025407453970296E-3</c:v>
                </c:pt>
                <c:pt idx="71">
                  <c:v>-3.9005457106030539E-3</c:v>
                </c:pt>
                <c:pt idx="72">
                  <c:v>-1.0574406374870171E-2</c:v>
                </c:pt>
                <c:pt idx="73">
                  <c:v>-1.9459410547838063E-2</c:v>
                </c:pt>
                <c:pt idx="74">
                  <c:v>-2.6592442066981192E-2</c:v>
                </c:pt>
                <c:pt idx="75">
                  <c:v>-2.0763763814833913E-2</c:v>
                </c:pt>
                <c:pt idx="76">
                  <c:v>-2.3091384626343747E-2</c:v>
                </c:pt>
                <c:pt idx="77">
                  <c:v>-2.2439689304014521E-2</c:v>
                </c:pt>
                <c:pt idx="78">
                  <c:v>-2.8426237619473493E-2</c:v>
                </c:pt>
                <c:pt idx="79">
                  <c:v>-3.0117565066050456E-2</c:v>
                </c:pt>
                <c:pt idx="80">
                  <c:v>-4.1264731731594062E-2</c:v>
                </c:pt>
                <c:pt idx="81">
                  <c:v>-3.363498708642132E-2</c:v>
                </c:pt>
                <c:pt idx="82">
                  <c:v>-3.6813566044074708E-2</c:v>
                </c:pt>
                <c:pt idx="83">
                  <c:v>-3.5156893001639378E-2</c:v>
                </c:pt>
                <c:pt idx="84">
                  <c:v>-3.6754846081501369E-2</c:v>
                </c:pt>
                <c:pt idx="85">
                  <c:v>-5.0927534753072989E-2</c:v>
                </c:pt>
                <c:pt idx="86">
                  <c:v>-4.5352026175626725E-2</c:v>
                </c:pt>
                <c:pt idx="87">
                  <c:v>-4.263935642921024E-2</c:v>
                </c:pt>
                <c:pt idx="88">
                  <c:v>-3.9509871210757663E-2</c:v>
                </c:pt>
                <c:pt idx="89">
                  <c:v>-3.950794596608298E-2</c:v>
                </c:pt>
                <c:pt idx="90">
                  <c:v>-3.569307364349672E-2</c:v>
                </c:pt>
                <c:pt idx="91">
                  <c:v>-3.6179197923816186E-2</c:v>
                </c:pt>
                <c:pt idx="92">
                  <c:v>-3.191093048037752E-2</c:v>
                </c:pt>
                <c:pt idx="93">
                  <c:v>-3.406912976052856E-2</c:v>
                </c:pt>
                <c:pt idx="94">
                  <c:v>-3.3653276910829533E-2</c:v>
                </c:pt>
                <c:pt idx="95">
                  <c:v>-3.2620383142942688E-2</c:v>
                </c:pt>
                <c:pt idx="96">
                  <c:v>-3.432807516925318E-2</c:v>
                </c:pt>
                <c:pt idx="97">
                  <c:v>-3.4527337993067286E-2</c:v>
                </c:pt>
                <c:pt idx="98">
                  <c:v>-3.7071548830462042E-2</c:v>
                </c:pt>
                <c:pt idx="99">
                  <c:v>-3.3519472405949435E-2</c:v>
                </c:pt>
                <c:pt idx="100">
                  <c:v>-2.5177387231199888E-2</c:v>
                </c:pt>
                <c:pt idx="101">
                  <c:v>-2.1739862864821879E-2</c:v>
                </c:pt>
                <c:pt idx="102">
                  <c:v>-1.9860824062478133E-2</c:v>
                </c:pt>
                <c:pt idx="103">
                  <c:v>-1.6949854114584828E-2</c:v>
                </c:pt>
                <c:pt idx="104">
                  <c:v>-1.493797342969827E-2</c:v>
                </c:pt>
                <c:pt idx="105">
                  <c:v>-2.4881862173658953E-2</c:v>
                </c:pt>
                <c:pt idx="106">
                  <c:v>-1.9387213872543163E-2</c:v>
                </c:pt>
                <c:pt idx="107">
                  <c:v>-1.4321895133847851E-2</c:v>
                </c:pt>
                <c:pt idx="108">
                  <c:v>-1.5038086152774022E-2</c:v>
                </c:pt>
                <c:pt idx="109">
                  <c:v>-1.7070181906743143E-2</c:v>
                </c:pt>
                <c:pt idx="110">
                  <c:v>-1.6805460763994917E-2</c:v>
                </c:pt>
                <c:pt idx="111">
                  <c:v>-1.8270571961314208E-2</c:v>
                </c:pt>
                <c:pt idx="112">
                  <c:v>-1.3696190614624792E-2</c:v>
                </c:pt>
                <c:pt idx="113">
                  <c:v>-1.4159211958849838E-2</c:v>
                </c:pt>
                <c:pt idx="114">
                  <c:v>-1.6567693046690146E-2</c:v>
                </c:pt>
                <c:pt idx="115">
                  <c:v>-1.7146229071387187E-2</c:v>
                </c:pt>
                <c:pt idx="116">
                  <c:v>-1.4052360879413306E-2</c:v>
                </c:pt>
                <c:pt idx="117">
                  <c:v>-1.50871798919745E-2</c:v>
                </c:pt>
                <c:pt idx="118">
                  <c:v>-1.9136932064853784E-2</c:v>
                </c:pt>
                <c:pt idx="119">
                  <c:v>-2.7189267916086335E-2</c:v>
                </c:pt>
                <c:pt idx="120">
                  <c:v>-2.8584107682785187E-2</c:v>
                </c:pt>
                <c:pt idx="121">
                  <c:v>-3.2810982365721442E-2</c:v>
                </c:pt>
                <c:pt idx="122">
                  <c:v>-3.5193472650455471E-2</c:v>
                </c:pt>
                <c:pt idx="123">
                  <c:v>-3.996326633161007E-2</c:v>
                </c:pt>
                <c:pt idx="124">
                  <c:v>-3.7423868605901522E-2</c:v>
                </c:pt>
                <c:pt idx="125">
                  <c:v>-3.7353597175281084E-2</c:v>
                </c:pt>
                <c:pt idx="126">
                  <c:v>-3.4901798082263902E-2</c:v>
                </c:pt>
                <c:pt idx="127">
                  <c:v>-3.9180654371412382E-2</c:v>
                </c:pt>
                <c:pt idx="128">
                  <c:v>-4.2450682451106059E-2</c:v>
                </c:pt>
                <c:pt idx="129">
                  <c:v>-4.4874565496342611E-2</c:v>
                </c:pt>
                <c:pt idx="130">
                  <c:v>-4.5601345360978596E-2</c:v>
                </c:pt>
                <c:pt idx="131">
                  <c:v>-4.2033866979069745E-2</c:v>
                </c:pt>
                <c:pt idx="132">
                  <c:v>-4.0605335430566658E-2</c:v>
                </c:pt>
                <c:pt idx="133">
                  <c:v>-4.3126443331866993E-2</c:v>
                </c:pt>
                <c:pt idx="134">
                  <c:v>-4.243624311604699E-2</c:v>
                </c:pt>
                <c:pt idx="135">
                  <c:v>-4.7166569281373638E-2</c:v>
                </c:pt>
                <c:pt idx="136">
                  <c:v>-4.0079743634419129E-2</c:v>
                </c:pt>
                <c:pt idx="137">
                  <c:v>-3.7497027903533708E-2</c:v>
                </c:pt>
                <c:pt idx="138">
                  <c:v>-3.4181756573988697E-2</c:v>
                </c:pt>
                <c:pt idx="139">
                  <c:v>-3.0142593246819338E-2</c:v>
                </c:pt>
                <c:pt idx="140">
                  <c:v>-2.8906586165769466E-2</c:v>
                </c:pt>
                <c:pt idx="141">
                  <c:v>-3.1681826364108101E-2</c:v>
                </c:pt>
                <c:pt idx="142">
                  <c:v>-3.4471505897505805E-2</c:v>
                </c:pt>
                <c:pt idx="143">
                  <c:v>-3.9801545778949232E-2</c:v>
                </c:pt>
                <c:pt idx="144">
                  <c:v>-5.6791830031699297E-2</c:v>
                </c:pt>
                <c:pt idx="145">
                  <c:v>-5.9883772978998495E-2</c:v>
                </c:pt>
                <c:pt idx="146">
                  <c:v>-5.6062162300051344E-2</c:v>
                </c:pt>
                <c:pt idx="147">
                  <c:v>-5.4305376534540373E-2</c:v>
                </c:pt>
                <c:pt idx="148">
                  <c:v>-5.9634453793646514E-2</c:v>
                </c:pt>
                <c:pt idx="149">
                  <c:v>-6.5059793286479262E-2</c:v>
                </c:pt>
                <c:pt idx="150">
                  <c:v>-5.9266732060810789E-2</c:v>
                </c:pt>
                <c:pt idx="151">
                  <c:v>-5.614687306573074E-2</c:v>
                </c:pt>
                <c:pt idx="152">
                  <c:v>-4.9831107910926709E-2</c:v>
                </c:pt>
                <c:pt idx="153">
                  <c:v>-5.1348200714458336E-2</c:v>
                </c:pt>
                <c:pt idx="154">
                  <c:v>-4.7701787300893694E-2</c:v>
                </c:pt>
                <c:pt idx="155">
                  <c:v>-4.2455495562792378E-2</c:v>
                </c:pt>
                <c:pt idx="156">
                  <c:v>-3.8132358646129516E-2</c:v>
                </c:pt>
                <c:pt idx="157">
                  <c:v>-3.2608831674895478E-2</c:v>
                </c:pt>
                <c:pt idx="158">
                  <c:v>-3.0803914792521203E-2</c:v>
                </c:pt>
                <c:pt idx="159">
                  <c:v>-2.5627894485040437E-2</c:v>
                </c:pt>
                <c:pt idx="160">
                  <c:v>-2.9567907711471331E-2</c:v>
                </c:pt>
                <c:pt idx="161">
                  <c:v>-3.328266731098195E-2</c:v>
                </c:pt>
                <c:pt idx="162">
                  <c:v>-3.1993716001382455E-2</c:v>
                </c:pt>
                <c:pt idx="163">
                  <c:v>-2.6598217801004909E-2</c:v>
                </c:pt>
                <c:pt idx="164">
                  <c:v>-2.5223593103388509E-2</c:v>
                </c:pt>
                <c:pt idx="165">
                  <c:v>-2.2491670910226857E-2</c:v>
                </c:pt>
                <c:pt idx="166">
                  <c:v>-1.9511392154050511E-2</c:v>
                </c:pt>
                <c:pt idx="167">
                  <c:v>-2.3049991865841335E-2</c:v>
                </c:pt>
                <c:pt idx="168">
                  <c:v>-2.5437295262261794E-2</c:v>
                </c:pt>
                <c:pt idx="169">
                  <c:v>-2.8168254833086159E-2</c:v>
                </c:pt>
                <c:pt idx="170">
                  <c:v>-2.3871108719529466E-2</c:v>
                </c:pt>
                <c:pt idx="171">
                  <c:v>-2.3878809698227643E-2</c:v>
                </c:pt>
                <c:pt idx="172">
                  <c:v>-2.3426377199712523E-2</c:v>
                </c:pt>
                <c:pt idx="173">
                  <c:v>-2.0745473990425811E-2</c:v>
                </c:pt>
                <c:pt idx="174">
                  <c:v>-1.933426964399354E-2</c:v>
                </c:pt>
                <c:pt idx="175">
                  <c:v>-2.1141111771042276E-2</c:v>
                </c:pt>
                <c:pt idx="176">
                  <c:v>-2.1976667959789364E-2</c:v>
                </c:pt>
                <c:pt idx="177">
                  <c:v>-2.7508858532058755E-2</c:v>
                </c:pt>
                <c:pt idx="178">
                  <c:v>-3.2546261222973216E-2</c:v>
                </c:pt>
                <c:pt idx="179">
                  <c:v>-3.2292128925934915E-2</c:v>
                </c:pt>
                <c:pt idx="180">
                  <c:v>-3.6725004789046167E-2</c:v>
                </c:pt>
                <c:pt idx="181">
                  <c:v>-3.4812274204898186E-2</c:v>
                </c:pt>
                <c:pt idx="182">
                  <c:v>-3.2669476882143389E-2</c:v>
                </c:pt>
                <c:pt idx="183">
                  <c:v>-3.5668045462727838E-2</c:v>
                </c:pt>
                <c:pt idx="184">
                  <c:v>-2.5065723040076926E-2</c:v>
                </c:pt>
                <c:pt idx="185">
                  <c:v>-1.5331685965640274E-2</c:v>
                </c:pt>
                <c:pt idx="186">
                  <c:v>-1.606520418663715E-2</c:v>
                </c:pt>
                <c:pt idx="187">
                  <c:v>-1.3541208418324846E-2</c:v>
                </c:pt>
                <c:pt idx="188">
                  <c:v>-1.7360893852597536E-2</c:v>
                </c:pt>
                <c:pt idx="189">
                  <c:v>-2.369494883180967E-2</c:v>
                </c:pt>
                <c:pt idx="190">
                  <c:v>-2.2530175803717523E-2</c:v>
                </c:pt>
                <c:pt idx="191">
                  <c:v>-2.2849766419689832E-2</c:v>
                </c:pt>
                <c:pt idx="192">
                  <c:v>-2.4496813238752524E-2</c:v>
                </c:pt>
                <c:pt idx="193">
                  <c:v>-3.4033512734049753E-2</c:v>
                </c:pt>
                <c:pt idx="194">
                  <c:v>-3.6470872492007866E-2</c:v>
                </c:pt>
                <c:pt idx="195">
                  <c:v>-3.687132338431065E-2</c:v>
                </c:pt>
                <c:pt idx="196">
                  <c:v>-3.8039946901751942E-2</c:v>
                </c:pt>
                <c:pt idx="197">
                  <c:v>-4.2425654270337176E-2</c:v>
                </c:pt>
                <c:pt idx="198">
                  <c:v>-4.1099160689584191E-2</c:v>
                </c:pt>
                <c:pt idx="199">
                  <c:v>-4.5247100340864543E-2</c:v>
                </c:pt>
                <c:pt idx="200">
                  <c:v>-5.4083973396969132E-2</c:v>
                </c:pt>
                <c:pt idx="201">
                  <c:v>-4.8543119223664277E-2</c:v>
                </c:pt>
                <c:pt idx="202">
                  <c:v>-4.1039478104673677E-2</c:v>
                </c:pt>
                <c:pt idx="203">
                  <c:v>-3.6799126709015639E-2</c:v>
                </c:pt>
                <c:pt idx="204">
                  <c:v>-3.507218223595987E-2</c:v>
                </c:pt>
                <c:pt idx="205">
                  <c:v>-3.458702057797769E-2</c:v>
                </c:pt>
                <c:pt idx="206">
                  <c:v>-3.0847232797698299E-2</c:v>
                </c:pt>
                <c:pt idx="207">
                  <c:v>-2.8083544067406652E-2</c:v>
                </c:pt>
                <c:pt idx="208">
                  <c:v>-2.456323418002393E-2</c:v>
                </c:pt>
                <c:pt idx="209">
                  <c:v>-2.3713238656217772E-2</c:v>
                </c:pt>
                <c:pt idx="210">
                  <c:v>-2.5303490757381697E-2</c:v>
                </c:pt>
                <c:pt idx="211">
                  <c:v>-2.4210914404584449E-2</c:v>
                </c:pt>
                <c:pt idx="212">
                  <c:v>-2.5101340066555733E-2</c:v>
                </c:pt>
                <c:pt idx="213">
                  <c:v>-1.8614228135718225E-2</c:v>
                </c:pt>
                <c:pt idx="214">
                  <c:v>-1.4132258533406383E-2</c:v>
                </c:pt>
                <c:pt idx="215">
                  <c:v>-1.3961874379710304E-2</c:v>
                </c:pt>
                <c:pt idx="216">
                  <c:v>-1.8903977459235444E-2</c:v>
                </c:pt>
                <c:pt idx="217">
                  <c:v>-1.6488758015034244E-2</c:v>
                </c:pt>
                <c:pt idx="218">
                  <c:v>-1.5519397321407058E-2</c:v>
                </c:pt>
                <c:pt idx="219">
                  <c:v>-2.1863078523991941E-2</c:v>
                </c:pt>
                <c:pt idx="220">
                  <c:v>-2.1250850717490666E-2</c:v>
                </c:pt>
                <c:pt idx="221">
                  <c:v>-2.2971056834185433E-2</c:v>
                </c:pt>
                <c:pt idx="222">
                  <c:v>-2.3424451955037839E-2</c:v>
                </c:pt>
                <c:pt idx="223">
                  <c:v>-2.3653556071307258E-2</c:v>
                </c:pt>
                <c:pt idx="224">
                  <c:v>-2.513695709303454E-2</c:v>
                </c:pt>
                <c:pt idx="225">
                  <c:v>-2.7052575544194601E-2</c:v>
                </c:pt>
                <c:pt idx="226">
                  <c:v>-2.9687272881292359E-2</c:v>
                </c:pt>
                <c:pt idx="227">
                  <c:v>-2.3242516333294549E-2</c:v>
                </c:pt>
                <c:pt idx="228">
                  <c:v>-2.1191168132580152E-2</c:v>
                </c:pt>
                <c:pt idx="229">
                  <c:v>-2.2566755452533616E-2</c:v>
                </c:pt>
                <c:pt idx="230">
                  <c:v>-2.6686779056033338E-2</c:v>
                </c:pt>
                <c:pt idx="231">
                  <c:v>-3.1572087417659822E-2</c:v>
                </c:pt>
                <c:pt idx="232">
                  <c:v>-2.6081289605892843E-2</c:v>
                </c:pt>
                <c:pt idx="233">
                  <c:v>-2.6230496068169074E-2</c:v>
                </c:pt>
                <c:pt idx="234">
                  <c:v>-2.5568211900129922E-2</c:v>
                </c:pt>
                <c:pt idx="235">
                  <c:v>-2.2308772666146282E-2</c:v>
                </c:pt>
                <c:pt idx="236">
                  <c:v>-1.9831945392360106E-2</c:v>
                </c:pt>
                <c:pt idx="237">
                  <c:v>-2.1659965210828802E-2</c:v>
                </c:pt>
                <c:pt idx="238">
                  <c:v>-1.8574760619890385E-2</c:v>
                </c:pt>
                <c:pt idx="239">
                  <c:v>-2.1070840340421837E-2</c:v>
                </c:pt>
                <c:pt idx="240">
                  <c:v>-2.3747893060359404E-2</c:v>
                </c:pt>
                <c:pt idx="241">
                  <c:v>-2.0192928768834939E-2</c:v>
                </c:pt>
                <c:pt idx="242">
                  <c:v>-1.7483146889430423E-2</c:v>
                </c:pt>
                <c:pt idx="243">
                  <c:v>-2.0235284151674748E-2</c:v>
                </c:pt>
                <c:pt idx="244">
                  <c:v>-2.0583753437765084E-2</c:v>
                </c:pt>
                <c:pt idx="245">
                  <c:v>-2.4930955912859543E-2</c:v>
                </c:pt>
                <c:pt idx="246">
                  <c:v>-2.1088167542492653E-2</c:v>
                </c:pt>
                <c:pt idx="247">
                  <c:v>-2.2763130409335974E-2</c:v>
                </c:pt>
                <c:pt idx="248">
                  <c:v>-2.06010806398359E-2</c:v>
                </c:pt>
                <c:pt idx="249">
                  <c:v>-1.9461335792512635E-2</c:v>
                </c:pt>
                <c:pt idx="250">
                  <c:v>-1.7402286613099949E-2</c:v>
                </c:pt>
                <c:pt idx="251">
                  <c:v>-1.5825511224657807E-2</c:v>
                </c:pt>
                <c:pt idx="252">
                  <c:v>-1.9223568075207753E-2</c:v>
                </c:pt>
                <c:pt idx="253">
                  <c:v>-1.3310179057380966E-2</c:v>
                </c:pt>
                <c:pt idx="254">
                  <c:v>-8.3478609087733746E-3</c:v>
                </c:pt>
                <c:pt idx="255">
                  <c:v>-8.2756642334782526E-3</c:v>
                </c:pt>
                <c:pt idx="256">
                  <c:v>-1.3360235418918842E-2</c:v>
                </c:pt>
                <c:pt idx="257">
                  <c:v>-1.7344529272864007E-2</c:v>
                </c:pt>
                <c:pt idx="258">
                  <c:v>-1.6739039822723512E-2</c:v>
                </c:pt>
                <c:pt idx="259">
                  <c:v>-1.019898366333627E-2</c:v>
                </c:pt>
                <c:pt idx="260">
                  <c:v>-8.1322335052256278E-3</c:v>
                </c:pt>
                <c:pt idx="261">
                  <c:v>-3.0909803249620227E-3</c:v>
                </c:pt>
                <c:pt idx="262">
                  <c:v>-6.487111930837508E-3</c:v>
                </c:pt>
                <c:pt idx="263">
                  <c:v>-9.6069709259175573E-3</c:v>
                </c:pt>
                <c:pt idx="264">
                  <c:v>-1.2759559080464666E-2</c:v>
                </c:pt>
                <c:pt idx="265">
                  <c:v>-1.4793580079108248E-2</c:v>
                </c:pt>
                <c:pt idx="266">
                  <c:v>-1.0351077992624469E-2</c:v>
                </c:pt>
                <c:pt idx="267">
                  <c:v>-1.1104811282704019E-2</c:v>
                </c:pt>
                <c:pt idx="268">
                  <c:v>-9.4009697457425601E-3</c:v>
                </c:pt>
                <c:pt idx="269">
                  <c:v>-9.6185223939647679E-3</c:v>
                </c:pt>
                <c:pt idx="270">
                  <c:v>-5.8065379383902549E-3</c:v>
                </c:pt>
                <c:pt idx="271">
                  <c:v>-1.1185671559035271E-3</c:v>
                </c:pt>
                <c:pt idx="272">
                  <c:v>0</c:v>
                </c:pt>
                <c:pt idx="273">
                  <c:v>0</c:v>
                </c:pt>
                <c:pt idx="274">
                  <c:v>0</c:v>
                </c:pt>
                <c:pt idx="275">
                  <c:v>0</c:v>
                </c:pt>
                <c:pt idx="276">
                  <c:v>0</c:v>
                </c:pt>
                <c:pt idx="277">
                  <c:v>-3.4904013961605251E-3</c:v>
                </c:pt>
                <c:pt idx="278">
                  <c:v>-5.2005464884705699E-3</c:v>
                </c:pt>
                <c:pt idx="279">
                  <c:v>-2.8328719257653123E-4</c:v>
                </c:pt>
                <c:pt idx="280">
                  <c:v>-1.8191017048393432E-3</c:v>
                </c:pt>
                <c:pt idx="281">
                  <c:v>0</c:v>
                </c:pt>
                <c:pt idx="282">
                  <c:v>-2.600730970197751E-3</c:v>
                </c:pt>
                <c:pt idx="283">
                  <c:v>-7.8429181224352051E-3</c:v>
                </c:pt>
                <c:pt idx="284">
                  <c:v>-7.7974574208439229E-3</c:v>
                </c:pt>
                <c:pt idx="285">
                  <c:v>-7.4896505871534513E-3</c:v>
                </c:pt>
                <c:pt idx="286">
                  <c:v>-1.8414425438293192E-2</c:v>
                </c:pt>
                <c:pt idx="287">
                  <c:v>-1.8120825073850044E-2</c:v>
                </c:pt>
                <c:pt idx="288">
                  <c:v>-1.6389530021584386E-2</c:v>
                </c:pt>
                <c:pt idx="289">
                  <c:v>-7.9631995620619289E-3</c:v>
                </c:pt>
                <c:pt idx="290">
                  <c:v>-1.2393723771306098E-2</c:v>
                </c:pt>
                <c:pt idx="291">
                  <c:v>-6.6277914528197757E-3</c:v>
                </c:pt>
                <c:pt idx="292">
                  <c:v>-4.0535792252169855E-3</c:v>
                </c:pt>
                <c:pt idx="293">
                  <c:v>-3.2665408289191955E-3</c:v>
                </c:pt>
                <c:pt idx="294">
                  <c:v>-6.4592080177527933E-4</c:v>
                </c:pt>
                <c:pt idx="295">
                  <c:v>0</c:v>
                </c:pt>
                <c:pt idx="296">
                  <c:v>-8.6478819969743048E-3</c:v>
                </c:pt>
                <c:pt idx="297">
                  <c:v>-1.3759455370650597E-2</c:v>
                </c:pt>
                <c:pt idx="298">
                  <c:v>-1.7189863842662745E-2</c:v>
                </c:pt>
                <c:pt idx="299">
                  <c:v>-2.0057677760968229E-2</c:v>
                </c:pt>
                <c:pt idx="300">
                  <c:v>-1.6297276853252662E-2</c:v>
                </c:pt>
                <c:pt idx="301">
                  <c:v>-1.3988275340393375E-2</c:v>
                </c:pt>
                <c:pt idx="302">
                  <c:v>-2.355900151285939E-2</c:v>
                </c:pt>
                <c:pt idx="303">
                  <c:v>-2.2399773071104412E-2</c:v>
                </c:pt>
                <c:pt idx="304">
                  <c:v>-1.8578857791225367E-2</c:v>
                </c:pt>
                <c:pt idx="305">
                  <c:v>-1.7484871406959202E-2</c:v>
                </c:pt>
                <c:pt idx="306">
                  <c:v>-2.0391452344932004E-2</c:v>
                </c:pt>
                <c:pt idx="307">
                  <c:v>-1.7340204236006018E-2</c:v>
                </c:pt>
                <c:pt idx="308">
                  <c:v>-1.4408093797276922E-2</c:v>
                </c:pt>
                <c:pt idx="309">
                  <c:v>-1.4495083207261783E-2</c:v>
                </c:pt>
                <c:pt idx="310">
                  <c:v>-1.008698940998487E-2</c:v>
                </c:pt>
                <c:pt idx="311">
                  <c:v>-1.5245839636913838E-2</c:v>
                </c:pt>
                <c:pt idx="312">
                  <c:v>-1.2510400907715713E-2</c:v>
                </c:pt>
                <c:pt idx="313">
                  <c:v>-1.2153933434190689E-2</c:v>
                </c:pt>
                <c:pt idx="314">
                  <c:v>-1.2626701966717113E-2</c:v>
                </c:pt>
                <c:pt idx="315">
                  <c:v>-8.5230711043874363E-3</c:v>
                </c:pt>
                <c:pt idx="316">
                  <c:v>-5.8046520423600256E-3</c:v>
                </c:pt>
                <c:pt idx="317">
                  <c:v>-3.9079046898639058E-3</c:v>
                </c:pt>
                <c:pt idx="318">
                  <c:v>-2.0026475037822067E-3</c:v>
                </c:pt>
                <c:pt idx="319">
                  <c:v>-3.526853252647566E-3</c:v>
                </c:pt>
                <c:pt idx="320">
                  <c:v>-7.4385400907716059E-3</c:v>
                </c:pt>
                <c:pt idx="321">
                  <c:v>-4.4582072617247448E-3</c:v>
                </c:pt>
                <c:pt idx="322">
                  <c:v>-7.8980711043873386E-3</c:v>
                </c:pt>
                <c:pt idx="323">
                  <c:v>-1.0766830559757912E-2</c:v>
                </c:pt>
                <c:pt idx="324">
                  <c:v>-2.4710665658093767E-2</c:v>
                </c:pt>
                <c:pt idx="325">
                  <c:v>-3.3027609682299675E-2</c:v>
                </c:pt>
                <c:pt idx="326">
                  <c:v>-2.8610060514372204E-2</c:v>
                </c:pt>
                <c:pt idx="327">
                  <c:v>-3.5319591527987915E-2</c:v>
                </c:pt>
                <c:pt idx="328">
                  <c:v>-3.0554084720121111E-2</c:v>
                </c:pt>
                <c:pt idx="329">
                  <c:v>-2.8776475037821547E-2</c:v>
                </c:pt>
                <c:pt idx="330">
                  <c:v>-2.0506807866868426E-2</c:v>
                </c:pt>
                <c:pt idx="331">
                  <c:v>-2.4407148260211842E-2</c:v>
                </c:pt>
                <c:pt idx="332">
                  <c:v>-2.5729009077155918E-2</c:v>
                </c:pt>
                <c:pt idx="333">
                  <c:v>-2.8493759455370693E-2</c:v>
                </c:pt>
                <c:pt idx="334">
                  <c:v>-2.2725037821482608E-2</c:v>
                </c:pt>
                <c:pt idx="335">
                  <c:v>-1.7699508320726309E-2</c:v>
                </c:pt>
                <c:pt idx="336">
                  <c:v>-1.8746217851739799E-2</c:v>
                </c:pt>
                <c:pt idx="337">
                  <c:v>-1.5537065052950161E-2</c:v>
                </c:pt>
                <c:pt idx="338">
                  <c:v>-1.3660173978820134E-2</c:v>
                </c:pt>
                <c:pt idx="339">
                  <c:v>-9.3750000000000222E-3</c:v>
                </c:pt>
                <c:pt idx="340">
                  <c:v>-6.2301437216338851E-3</c:v>
                </c:pt>
                <c:pt idx="341">
                  <c:v>-1.3421898638426577E-2</c:v>
                </c:pt>
                <c:pt idx="342">
                  <c:v>-1.062121785173975E-2</c:v>
                </c:pt>
                <c:pt idx="343">
                  <c:v>-1.0854765506807973E-2</c:v>
                </c:pt>
                <c:pt idx="344">
                  <c:v>-1.0491679273827548E-2</c:v>
                </c:pt>
                <c:pt idx="345">
                  <c:v>-8.0304462934946974E-3</c:v>
                </c:pt>
                <c:pt idx="346">
                  <c:v>-5.9483736762482309E-3</c:v>
                </c:pt>
                <c:pt idx="347">
                  <c:v>0</c:v>
                </c:pt>
                <c:pt idx="348">
                  <c:v>0</c:v>
                </c:pt>
                <c:pt idx="349">
                  <c:v>0</c:v>
                </c:pt>
                <c:pt idx="350">
                  <c:v>0</c:v>
                </c:pt>
                <c:pt idx="351">
                  <c:v>0</c:v>
                </c:pt>
                <c:pt idx="352">
                  <c:v>-3.1580602118099765E-3</c:v>
                </c:pt>
                <c:pt idx="353">
                  <c:v>0</c:v>
                </c:pt>
                <c:pt idx="354">
                  <c:v>0</c:v>
                </c:pt>
                <c:pt idx="355">
                  <c:v>0</c:v>
                </c:pt>
                <c:pt idx="356">
                  <c:v>0</c:v>
                </c:pt>
                <c:pt idx="357">
                  <c:v>0</c:v>
                </c:pt>
                <c:pt idx="358">
                  <c:v>-4.131409983355594E-4</c:v>
                </c:pt>
                <c:pt idx="359">
                  <c:v>-2.6290790803170649E-3</c:v>
                </c:pt>
                <c:pt idx="360">
                  <c:v>-2.07761371225057E-3</c:v>
                </c:pt>
                <c:pt idx="361">
                  <c:v>0</c:v>
                </c:pt>
                <c:pt idx="362">
                  <c:v>-3.2338235617079825E-3</c:v>
                </c:pt>
                <c:pt idx="363">
                  <c:v>0</c:v>
                </c:pt>
                <c:pt idx="364">
                  <c:v>0</c:v>
                </c:pt>
                <c:pt idx="365">
                  <c:v>0</c:v>
                </c:pt>
                <c:pt idx="366">
                  <c:v>0</c:v>
                </c:pt>
                <c:pt idx="367">
                  <c:v>-2.4719485414870235E-3</c:v>
                </c:pt>
                <c:pt idx="368">
                  <c:v>0</c:v>
                </c:pt>
                <c:pt idx="369">
                  <c:v>-1.5380407851589561E-3</c:v>
                </c:pt>
                <c:pt idx="370">
                  <c:v>0</c:v>
                </c:pt>
                <c:pt idx="371">
                  <c:v>0</c:v>
                </c:pt>
                <c:pt idx="372">
                  <c:v>0</c:v>
                </c:pt>
                <c:pt idx="373">
                  <c:v>-1.2078011543809053E-3</c:v>
                </c:pt>
                <c:pt idx="374">
                  <c:v>-7.2665922020831442E-3</c:v>
                </c:pt>
                <c:pt idx="375">
                  <c:v>-1.2831650685559803E-2</c:v>
                </c:pt>
                <c:pt idx="376">
                  <c:v>-5.1261850930537367E-3</c:v>
                </c:pt>
                <c:pt idx="377">
                  <c:v>-3.9516591752417618E-3</c:v>
                </c:pt>
                <c:pt idx="378">
                  <c:v>-8.3017218585927921E-3</c:v>
                </c:pt>
                <c:pt idx="379">
                  <c:v>-1.7572922231274823E-3</c:v>
                </c:pt>
                <c:pt idx="380">
                  <c:v>0</c:v>
                </c:pt>
                <c:pt idx="381">
                  <c:v>0</c:v>
                </c:pt>
                <c:pt idx="382">
                  <c:v>-1.7805834008067789E-3</c:v>
                </c:pt>
                <c:pt idx="383">
                  <c:v>-5.357872184922674E-3</c:v>
                </c:pt>
                <c:pt idx="384">
                  <c:v>0</c:v>
                </c:pt>
                <c:pt idx="385">
                  <c:v>-1.3863154310046477E-3</c:v>
                </c:pt>
                <c:pt idx="386">
                  <c:v>-5.2118667170781841E-3</c:v>
                </c:pt>
                <c:pt idx="387">
                  <c:v>-6.194175330020979E-4</c:v>
                </c:pt>
                <c:pt idx="388">
                  <c:v>0</c:v>
                </c:pt>
                <c:pt idx="389">
                  <c:v>0</c:v>
                </c:pt>
                <c:pt idx="390">
                  <c:v>-2.1820396150137311E-3</c:v>
                </c:pt>
                <c:pt idx="391">
                  <c:v>0</c:v>
                </c:pt>
                <c:pt idx="392">
                  <c:v>0</c:v>
                </c:pt>
                <c:pt idx="393">
                  <c:v>-4.2896746094568394E-3</c:v>
                </c:pt>
                <c:pt idx="394">
                  <c:v>-1.4455688743907347E-3</c:v>
                </c:pt>
                <c:pt idx="395">
                  <c:v>-1.0728623506068846E-3</c:v>
                </c:pt>
                <c:pt idx="396">
                  <c:v>0</c:v>
                </c:pt>
                <c:pt idx="397">
                  <c:v>0</c:v>
                </c:pt>
                <c:pt idx="398">
                  <c:v>0</c:v>
                </c:pt>
                <c:pt idx="399">
                  <c:v>-4.6488899571252018E-3</c:v>
                </c:pt>
                <c:pt idx="400">
                  <c:v>-6.6424074905361286E-3</c:v>
                </c:pt>
                <c:pt idx="401">
                  <c:v>-8.4565437919947861E-4</c:v>
                </c:pt>
                <c:pt idx="402">
                  <c:v>-4.1743691612733391E-3</c:v>
                </c:pt>
                <c:pt idx="403">
                  <c:v>-1.1059780783763351E-2</c:v>
                </c:pt>
                <c:pt idx="404">
                  <c:v>-1.5953442175620336E-2</c:v>
                </c:pt>
                <c:pt idx="405">
                  <c:v>-1.5377301470042459E-2</c:v>
                </c:pt>
                <c:pt idx="406">
                  <c:v>-1.0827380468476533E-2</c:v>
                </c:pt>
                <c:pt idx="407">
                  <c:v>-7.9484442433646052E-3</c:v>
                </c:pt>
                <c:pt idx="408">
                  <c:v>-6.4983723141416316E-3</c:v>
                </c:pt>
                <c:pt idx="409">
                  <c:v>-7.5569866780715866E-3</c:v>
                </c:pt>
                <c:pt idx="410">
                  <c:v>-4.4156059904494338E-3</c:v>
                </c:pt>
                <c:pt idx="411">
                  <c:v>-7.2362212238925583E-3</c:v>
                </c:pt>
                <c:pt idx="412">
                  <c:v>-7.8247330489153999E-3</c:v>
                </c:pt>
                <c:pt idx="413">
                  <c:v>-4.5198768543424084E-3</c:v>
                </c:pt>
                <c:pt idx="414">
                  <c:v>-1.5110438750587374E-3</c:v>
                </c:pt>
                <c:pt idx="415">
                  <c:v>-1.8468314028494692E-3</c:v>
                </c:pt>
                <c:pt idx="416">
                  <c:v>-3.2332804320701625E-3</c:v>
                </c:pt>
                <c:pt idx="417">
                  <c:v>-8.7764255947857528E-3</c:v>
                </c:pt>
                <c:pt idx="418">
                  <c:v>-1.0430620994850037E-2</c:v>
                </c:pt>
                <c:pt idx="419">
                  <c:v>-1.5726343768667106E-2</c:v>
                </c:pt>
                <c:pt idx="420">
                  <c:v>-1.197524362268787E-2</c:v>
                </c:pt>
                <c:pt idx="421">
                  <c:v>-9.4276766684221469E-3</c:v>
                </c:pt>
                <c:pt idx="422">
                  <c:v>-7.0197266336062825E-3</c:v>
                </c:pt>
                <c:pt idx="423">
                  <c:v>-9.6865865253766836E-3</c:v>
                </c:pt>
                <c:pt idx="424">
                  <c:v>-1.416581541582862E-2</c:v>
                </c:pt>
                <c:pt idx="425">
                  <c:v>-1.0813242046253779E-2</c:v>
                </c:pt>
                <c:pt idx="426">
                  <c:v>-4.3343100626684894E-3</c:v>
                </c:pt>
                <c:pt idx="427">
                  <c:v>-1.2388792472702859E-3</c:v>
                </c:pt>
                <c:pt idx="428">
                  <c:v>-1.3493356708857984E-3</c:v>
                </c:pt>
                <c:pt idx="429">
                  <c:v>0</c:v>
                </c:pt>
                <c:pt idx="430">
                  <c:v>0</c:v>
                </c:pt>
                <c:pt idx="431">
                  <c:v>-2.8008554129574925E-3</c:v>
                </c:pt>
                <c:pt idx="432">
                  <c:v>-4.0457773841219291E-3</c:v>
                </c:pt>
                <c:pt idx="433">
                  <c:v>-1.5594377963912276E-4</c:v>
                </c:pt>
                <c:pt idx="434">
                  <c:v>0</c:v>
                </c:pt>
                <c:pt idx="435">
                  <c:v>0</c:v>
                </c:pt>
                <c:pt idx="436">
                  <c:v>-2.8758993713757786E-3</c:v>
                </c:pt>
                <c:pt idx="437">
                  <c:v>-9.1560488763624548E-3</c:v>
                </c:pt>
                <c:pt idx="438">
                  <c:v>-6.9451577131377507E-3</c:v>
                </c:pt>
                <c:pt idx="439">
                  <c:v>-3.7854982948284377E-3</c:v>
                </c:pt>
                <c:pt idx="440">
                  <c:v>0</c:v>
                </c:pt>
                <c:pt idx="441">
                  <c:v>0</c:v>
                </c:pt>
                <c:pt idx="442">
                  <c:v>0</c:v>
                </c:pt>
                <c:pt idx="443">
                  <c:v>0</c:v>
                </c:pt>
                <c:pt idx="444">
                  <c:v>-7.6764418528918466E-4</c:v>
                </c:pt>
                <c:pt idx="445">
                  <c:v>0</c:v>
                </c:pt>
                <c:pt idx="446">
                  <c:v>-3.3091950368073775E-3</c:v>
                </c:pt>
                <c:pt idx="447">
                  <c:v>-1.3242779723830811E-2</c:v>
                </c:pt>
                <c:pt idx="448">
                  <c:v>-2.779689547623343E-2</c:v>
                </c:pt>
                <c:pt idx="449">
                  <c:v>-2.6484702365290214E-2</c:v>
                </c:pt>
                <c:pt idx="450">
                  <c:v>-2.5417634812628931E-2</c:v>
                </c:pt>
                <c:pt idx="451">
                  <c:v>-2.2954380076605885E-2</c:v>
                </c:pt>
                <c:pt idx="452">
                  <c:v>-2.8313716146317724E-2</c:v>
                </c:pt>
                <c:pt idx="453">
                  <c:v>-2.8187725037690181E-2</c:v>
                </c:pt>
                <c:pt idx="454">
                  <c:v>-2.9603625115598886E-2</c:v>
                </c:pt>
                <c:pt idx="455">
                  <c:v>-2.7381210525999955E-2</c:v>
                </c:pt>
                <c:pt idx="456">
                  <c:v>-2.8434564760715486E-2</c:v>
                </c:pt>
                <c:pt idx="457">
                  <c:v>-2.9145086046784674E-2</c:v>
                </c:pt>
                <c:pt idx="458">
                  <c:v>-3.4409285973246995E-2</c:v>
                </c:pt>
                <c:pt idx="459">
                  <c:v>-3.4676695673190983E-2</c:v>
                </c:pt>
                <c:pt idx="460">
                  <c:v>-2.585731806926761E-2</c:v>
                </c:pt>
                <c:pt idx="461">
                  <c:v>-3.1481492591808435E-2</c:v>
                </c:pt>
                <c:pt idx="462">
                  <c:v>-3.1167800443797189E-2</c:v>
                </c:pt>
                <c:pt idx="463">
                  <c:v>-3.881640352809379E-2</c:v>
                </c:pt>
                <c:pt idx="464">
                  <c:v>-3.1710333585029837E-2</c:v>
                </c:pt>
                <c:pt idx="465">
                  <c:v>-1.7835027070946752E-2</c:v>
                </c:pt>
                <c:pt idx="466">
                  <c:v>-1.8896952129378253E-2</c:v>
                </c:pt>
                <c:pt idx="467">
                  <c:v>-1.6569116408070572E-2</c:v>
                </c:pt>
                <c:pt idx="468">
                  <c:v>-8.7405260257347184E-3</c:v>
                </c:pt>
                <c:pt idx="469">
                  <c:v>-9.6850307992546458E-4</c:v>
                </c:pt>
                <c:pt idx="470">
                  <c:v>0</c:v>
                </c:pt>
                <c:pt idx="471">
                  <c:v>0</c:v>
                </c:pt>
                <c:pt idx="472">
                  <c:v>-4.0917299219067615E-4</c:v>
                </c:pt>
                <c:pt idx="473">
                  <c:v>0</c:v>
                </c:pt>
                <c:pt idx="474">
                  <c:v>0</c:v>
                </c:pt>
                <c:pt idx="475">
                  <c:v>-1.5221770265622103E-3</c:v>
                </c:pt>
                <c:pt idx="476">
                  <c:v>-2.5810091262855606E-3</c:v>
                </c:pt>
                <c:pt idx="477">
                  <c:v>-1.1909743457687583E-3</c:v>
                </c:pt>
                <c:pt idx="478">
                  <c:v>0</c:v>
                </c:pt>
                <c:pt idx="479">
                  <c:v>0</c:v>
                </c:pt>
                <c:pt idx="480">
                  <c:v>0</c:v>
                </c:pt>
                <c:pt idx="481">
                  <c:v>0</c:v>
                </c:pt>
                <c:pt idx="482">
                  <c:v>0</c:v>
                </c:pt>
                <c:pt idx="483">
                  <c:v>0</c:v>
                </c:pt>
                <c:pt idx="484">
                  <c:v>0</c:v>
                </c:pt>
                <c:pt idx="485">
                  <c:v>-5.9012844168504497E-3</c:v>
                </c:pt>
                <c:pt idx="486">
                  <c:v>-5.0334239060071395E-3</c:v>
                </c:pt>
                <c:pt idx="487">
                  <c:v>-9.4537490488199039E-3</c:v>
                </c:pt>
                <c:pt idx="488">
                  <c:v>0</c:v>
                </c:pt>
                <c:pt idx="489">
                  <c:v>0</c:v>
                </c:pt>
                <c:pt idx="490">
                  <c:v>-4.4337913977476884E-3</c:v>
                </c:pt>
                <c:pt idx="491">
                  <c:v>-3.0515502920874793E-3</c:v>
                </c:pt>
                <c:pt idx="492">
                  <c:v>-3.2058701274133572E-3</c:v>
                </c:pt>
                <c:pt idx="493">
                  <c:v>-8.1922260968115834E-3</c:v>
                </c:pt>
                <c:pt idx="494">
                  <c:v>-7.6487879670352754E-3</c:v>
                </c:pt>
                <c:pt idx="495">
                  <c:v>-8.9381053008863454E-3</c:v>
                </c:pt>
                <c:pt idx="496">
                  <c:v>-5.6459488139358749E-3</c:v>
                </c:pt>
                <c:pt idx="497">
                  <c:v>-7.7890033012828486E-3</c:v>
                </c:pt>
                <c:pt idx="498">
                  <c:v>-6.7842650185970799E-3</c:v>
                </c:pt>
                <c:pt idx="499">
                  <c:v>-7.9474715192787704E-3</c:v>
                </c:pt>
                <c:pt idx="500">
                  <c:v>-9.8192217800046055E-3</c:v>
                </c:pt>
                <c:pt idx="501">
                  <c:v>-4.7050956243689379E-3</c:v>
                </c:pt>
                <c:pt idx="502">
                  <c:v>0</c:v>
                </c:pt>
                <c:pt idx="503">
                  <c:v>0</c:v>
                </c:pt>
                <c:pt idx="504">
                  <c:v>0</c:v>
                </c:pt>
                <c:pt idx="505">
                  <c:v>0</c:v>
                </c:pt>
                <c:pt idx="506">
                  <c:v>-3.9324252052725939E-3</c:v>
                </c:pt>
                <c:pt idx="507">
                  <c:v>-3.985409460669942E-3</c:v>
                </c:pt>
                <c:pt idx="508">
                  <c:v>-1.6449955542898742E-3</c:v>
                </c:pt>
                <c:pt idx="509">
                  <c:v>-2.9778807291296339E-3</c:v>
                </c:pt>
                <c:pt idx="510">
                  <c:v>-2.5680806287906588E-3</c:v>
                </c:pt>
                <c:pt idx="511">
                  <c:v>-1.2914912253104704E-3</c:v>
                </c:pt>
                <c:pt idx="512">
                  <c:v>0</c:v>
                </c:pt>
                <c:pt idx="513">
                  <c:v>-8.3453261211197116E-4</c:v>
                </c:pt>
                <c:pt idx="514">
                  <c:v>0</c:v>
                </c:pt>
                <c:pt idx="515">
                  <c:v>0</c:v>
                </c:pt>
                <c:pt idx="516">
                  <c:v>-2.809369159971542E-3</c:v>
                </c:pt>
                <c:pt idx="517">
                  <c:v>-3.0120902182573239E-4</c:v>
                </c:pt>
                <c:pt idx="518">
                  <c:v>0</c:v>
                </c:pt>
                <c:pt idx="519">
                  <c:v>-3.0447112071755322E-3</c:v>
                </c:pt>
                <c:pt idx="520">
                  <c:v>-5.2684319327607199E-3</c:v>
                </c:pt>
                <c:pt idx="521">
                  <c:v>-8.2828271241490725E-3</c:v>
                </c:pt>
                <c:pt idx="522">
                  <c:v>-1.60937076241503E-2</c:v>
                </c:pt>
                <c:pt idx="523">
                  <c:v>-1.1638072655199561E-2</c:v>
                </c:pt>
                <c:pt idx="524">
                  <c:v>-1.7738965994443245E-2</c:v>
                </c:pt>
                <c:pt idx="525">
                  <c:v>-2.5535917514217799E-2</c:v>
                </c:pt>
                <c:pt idx="526">
                  <c:v>-2.3502286401136718E-2</c:v>
                </c:pt>
                <c:pt idx="527">
                  <c:v>-2.2609192963079172E-2</c:v>
                </c:pt>
                <c:pt idx="528">
                  <c:v>-1.6285435940210258E-2</c:v>
                </c:pt>
                <c:pt idx="529">
                  <c:v>-3.7190377204978642E-3</c:v>
                </c:pt>
                <c:pt idx="530">
                  <c:v>-3.9902431590277398E-4</c:v>
                </c:pt>
                <c:pt idx="531">
                  <c:v>-3.0266854680589539E-3</c:v>
                </c:pt>
                <c:pt idx="532">
                  <c:v>-5.3339800750040745E-4</c:v>
                </c:pt>
                <c:pt idx="533">
                  <c:v>-4.3909061784860315E-3</c:v>
                </c:pt>
                <c:pt idx="534">
                  <c:v>-3.3994905270644526E-3</c:v>
                </c:pt>
                <c:pt idx="535">
                  <c:v>-1.6133036509495824E-3</c:v>
                </c:pt>
                <c:pt idx="536">
                  <c:v>-4.9120139093158377E-3</c:v>
                </c:pt>
                <c:pt idx="537">
                  <c:v>-4.4884090400720833E-3</c:v>
                </c:pt>
                <c:pt idx="538">
                  <c:v>-1.6198584651739845E-3</c:v>
                </c:pt>
                <c:pt idx="539">
                  <c:v>-7.6691326424016548E-4</c:v>
                </c:pt>
                <c:pt idx="540">
                  <c:v>-3.87881131721457E-3</c:v>
                </c:pt>
                <c:pt idx="541">
                  <c:v>0</c:v>
                </c:pt>
                <c:pt idx="542">
                  <c:v>-4.9428387253835915E-4</c:v>
                </c:pt>
                <c:pt idx="543">
                  <c:v>0</c:v>
                </c:pt>
                <c:pt idx="544">
                  <c:v>-2.0621995167864338E-3</c:v>
                </c:pt>
                <c:pt idx="545">
                  <c:v>-3.6330505096521248E-3</c:v>
                </c:pt>
                <c:pt idx="546">
                  <c:v>-1.0754350142768709E-3</c:v>
                </c:pt>
                <c:pt idx="547">
                  <c:v>0</c:v>
                </c:pt>
                <c:pt idx="548">
                  <c:v>-1.8086098580581966E-3</c:v>
                </c:pt>
                <c:pt idx="549">
                  <c:v>0</c:v>
                </c:pt>
                <c:pt idx="550">
                  <c:v>0</c:v>
                </c:pt>
                <c:pt idx="551">
                  <c:v>-7.8096000347844807E-3</c:v>
                </c:pt>
                <c:pt idx="552">
                  <c:v>-5.4680888582555598E-3</c:v>
                </c:pt>
                <c:pt idx="553">
                  <c:v>-9.9997342851827486E-3</c:v>
                </c:pt>
                <c:pt idx="554">
                  <c:v>-1.2311453194334909E-2</c:v>
                </c:pt>
                <c:pt idx="555">
                  <c:v>-1.3187506894494327E-2</c:v>
                </c:pt>
                <c:pt idx="556">
                  <c:v>-1.1871010755008515E-2</c:v>
                </c:pt>
                <c:pt idx="557">
                  <c:v>-1.532610857429495E-2</c:v>
                </c:pt>
                <c:pt idx="558">
                  <c:v>-1.3144026288052446E-2</c:v>
                </c:pt>
                <c:pt idx="559">
                  <c:v>-8.7750305370740689E-3</c:v>
                </c:pt>
                <c:pt idx="560">
                  <c:v>-6.0115964387771337E-3</c:v>
                </c:pt>
                <c:pt idx="561">
                  <c:v>-4.2216448069259949E-3</c:v>
                </c:pt>
                <c:pt idx="562">
                  <c:v>-3.0830970752849796E-3</c:v>
                </c:pt>
                <c:pt idx="563">
                  <c:v>-7.3836511309385289E-3</c:v>
                </c:pt>
                <c:pt idx="564">
                  <c:v>-6.8634942464689264E-3</c:v>
                </c:pt>
                <c:pt idx="565">
                  <c:v>-5.2917508432418492E-3</c:v>
                </c:pt>
                <c:pt idx="566">
                  <c:v>-5.2667897543586806E-3</c:v>
                </c:pt>
                <c:pt idx="567">
                  <c:v>-1.7416398469159988E-3</c:v>
                </c:pt>
                <c:pt idx="568">
                  <c:v>-6.6026106078087565E-5</c:v>
                </c:pt>
                <c:pt idx="569">
                  <c:v>0</c:v>
                </c:pt>
                <c:pt idx="570">
                  <c:v>-2.0715034436634694E-3</c:v>
                </c:pt>
                <c:pt idx="571">
                  <c:v>-8.7514388789926567E-3</c:v>
                </c:pt>
                <c:pt idx="572">
                  <c:v>-1.0192729400718692E-3</c:v>
                </c:pt>
                <c:pt idx="573">
                  <c:v>-3.4605441695658712E-3</c:v>
                </c:pt>
                <c:pt idx="574">
                  <c:v>-4.9725728764075106E-3</c:v>
                </c:pt>
                <c:pt idx="575">
                  <c:v>-2.1004417921197671E-3</c:v>
                </c:pt>
                <c:pt idx="576">
                  <c:v>-6.2723870279030036E-3</c:v>
                </c:pt>
                <c:pt idx="577">
                  <c:v>-3.6510549635698775E-3</c:v>
                </c:pt>
                <c:pt idx="578">
                  <c:v>-2.0819534028293507E-4</c:v>
                </c:pt>
                <c:pt idx="579">
                  <c:v>0</c:v>
                </c:pt>
                <c:pt idx="580">
                  <c:v>0</c:v>
                </c:pt>
                <c:pt idx="581">
                  <c:v>-6.1313057779069924E-3</c:v>
                </c:pt>
                <c:pt idx="582">
                  <c:v>-7.3256221802534549E-3</c:v>
                </c:pt>
                <c:pt idx="583">
                  <c:v>-6.0863583864207982E-3</c:v>
                </c:pt>
                <c:pt idx="584">
                  <c:v>-5.1866079247067098E-3</c:v>
                </c:pt>
                <c:pt idx="585">
                  <c:v>-1.3810086034123148E-2</c:v>
                </c:pt>
                <c:pt idx="586">
                  <c:v>-6.238055832686662E-3</c:v>
                </c:pt>
                <c:pt idx="587">
                  <c:v>-4.2675942952128398E-3</c:v>
                </c:pt>
                <c:pt idx="588">
                  <c:v>-2.1133300318404435E-3</c:v>
                </c:pt>
                <c:pt idx="589">
                  <c:v>-1.1999348262823339E-3</c:v>
                </c:pt>
                <c:pt idx="590">
                  <c:v>-4.6624892346984748E-3</c:v>
                </c:pt>
                <c:pt idx="591">
                  <c:v>-8.07447782769255E-3</c:v>
                </c:pt>
                <c:pt idx="592">
                  <c:v>-6.7212402911628333E-3</c:v>
                </c:pt>
                <c:pt idx="593">
                  <c:v>-9.3289916293509689E-3</c:v>
                </c:pt>
                <c:pt idx="594">
                  <c:v>-1.2655901231317768E-2</c:v>
                </c:pt>
                <c:pt idx="595">
                  <c:v>-1.3418401622600884E-2</c:v>
                </c:pt>
                <c:pt idx="596">
                  <c:v>-9.6733207534146493E-3</c:v>
                </c:pt>
                <c:pt idx="597">
                  <c:v>-1.1631742811025969E-2</c:v>
                </c:pt>
                <c:pt idx="598">
                  <c:v>-1.2704861782758092E-2</c:v>
                </c:pt>
                <c:pt idx="599">
                  <c:v>-6.5855954847136022E-3</c:v>
                </c:pt>
                <c:pt idx="600">
                  <c:v>-4.566976027790326E-3</c:v>
                </c:pt>
                <c:pt idx="601">
                  <c:v>-4.7876998252670555E-3</c:v>
                </c:pt>
                <c:pt idx="602">
                  <c:v>-7.7044644799225681E-3</c:v>
                </c:pt>
                <c:pt idx="603">
                  <c:v>-1.5608784325560454E-2</c:v>
                </c:pt>
                <c:pt idx="604">
                  <c:v>-2.7029434922999585E-2</c:v>
                </c:pt>
                <c:pt idx="605">
                  <c:v>-2.8083290726951815E-2</c:v>
                </c:pt>
                <c:pt idx="606">
                  <c:v>-3.0683015745231801E-2</c:v>
                </c:pt>
                <c:pt idx="607">
                  <c:v>-4.1118836889929455E-2</c:v>
                </c:pt>
                <c:pt idx="608">
                  <c:v>-4.5884865651444229E-2</c:v>
                </c:pt>
                <c:pt idx="609">
                  <c:v>-4.2533074457761999E-2</c:v>
                </c:pt>
                <c:pt idx="610">
                  <c:v>-5.4382330538301216E-2</c:v>
                </c:pt>
                <c:pt idx="611">
                  <c:v>-5.4172843588696118E-2</c:v>
                </c:pt>
                <c:pt idx="612">
                  <c:v>-5.270242178150597E-2</c:v>
                </c:pt>
                <c:pt idx="613">
                  <c:v>-4.7334419026872965E-2</c:v>
                </c:pt>
                <c:pt idx="614">
                  <c:v>-3.7936401046311019E-2</c:v>
                </c:pt>
                <c:pt idx="615">
                  <c:v>-3.8596164542768707E-2</c:v>
                </c:pt>
                <c:pt idx="616">
                  <c:v>-5.3441645845055175E-2</c:v>
                </c:pt>
                <c:pt idx="617">
                  <c:v>-4.9426880626951886E-2</c:v>
                </c:pt>
                <c:pt idx="618">
                  <c:v>-4.3114180019118709E-2</c:v>
                </c:pt>
                <c:pt idx="619">
                  <c:v>-4.2372548059597004E-2</c:v>
                </c:pt>
                <c:pt idx="620">
                  <c:v>-5.2316355793919467E-2</c:v>
                </c:pt>
                <c:pt idx="621">
                  <c:v>-5.5916160272766469E-2</c:v>
                </c:pt>
                <c:pt idx="622">
                  <c:v>-5.7055095067746198E-2</c:v>
                </c:pt>
                <c:pt idx="623">
                  <c:v>-6.0444609964997342E-2</c:v>
                </c:pt>
                <c:pt idx="624">
                  <c:v>-5.7447582111259332E-2</c:v>
                </c:pt>
                <c:pt idx="625">
                  <c:v>-6.1380478866298382E-2</c:v>
                </c:pt>
                <c:pt idx="626">
                  <c:v>-7.3253011274571622E-2</c:v>
                </c:pt>
                <c:pt idx="627">
                  <c:v>-7.3501024559736394E-2</c:v>
                </c:pt>
                <c:pt idx="628">
                  <c:v>-6.043337311712571E-2</c:v>
                </c:pt>
                <c:pt idx="629">
                  <c:v>-5.9873135987530413E-2</c:v>
                </c:pt>
                <c:pt idx="630">
                  <c:v>-6.0613162683070376E-2</c:v>
                </c:pt>
                <c:pt idx="631">
                  <c:v>-6.0804991728877433E-2</c:v>
                </c:pt>
                <c:pt idx="632">
                  <c:v>-5.9121872444118706E-2</c:v>
                </c:pt>
                <c:pt idx="633">
                  <c:v>-5.6179423565756892E-2</c:v>
                </c:pt>
                <c:pt idx="634">
                  <c:v>-5.396656716705428E-2</c:v>
                </c:pt>
                <c:pt idx="635">
                  <c:v>-5.3655145954614514E-2</c:v>
                </c:pt>
                <c:pt idx="636">
                  <c:v>-5.9259122514549789E-2</c:v>
                </c:pt>
                <c:pt idx="637">
                  <c:v>-5.6229989381178846E-2</c:v>
                </c:pt>
                <c:pt idx="638">
                  <c:v>-4.2857337782054916E-2</c:v>
                </c:pt>
                <c:pt idx="639">
                  <c:v>-4.5920984091031403E-2</c:v>
                </c:pt>
                <c:pt idx="640">
                  <c:v>-4.2519429713917978E-2</c:v>
                </c:pt>
                <c:pt idx="641">
                  <c:v>-4.0631639271499154E-2</c:v>
                </c:pt>
                <c:pt idx="642">
                  <c:v>-4.5629628678362066E-2</c:v>
                </c:pt>
                <c:pt idx="643">
                  <c:v>-4.3474561782998911E-2</c:v>
                </c:pt>
                <c:pt idx="644">
                  <c:v>-4.715382682893754E-2</c:v>
                </c:pt>
                <c:pt idx="645">
                  <c:v>-4.3214509017971747E-2</c:v>
                </c:pt>
                <c:pt idx="646">
                  <c:v>-4.3906377794062368E-2</c:v>
                </c:pt>
                <c:pt idx="647">
                  <c:v>-4.7884221940587612E-2</c:v>
                </c:pt>
                <c:pt idx="648">
                  <c:v>-5.5083830898281727E-2</c:v>
                </c:pt>
                <c:pt idx="649">
                  <c:v>-5.9814543852200197E-2</c:v>
                </c:pt>
                <c:pt idx="650">
                  <c:v>-5.904481977299969E-2</c:v>
                </c:pt>
                <c:pt idx="651">
                  <c:v>-6.0463873132777013E-2</c:v>
                </c:pt>
                <c:pt idx="652">
                  <c:v>-5.1120434127591263E-2</c:v>
                </c:pt>
                <c:pt idx="653">
                  <c:v>-5.4055659318035798E-2</c:v>
                </c:pt>
                <c:pt idx="654">
                  <c:v>-5.9962228138511819E-2</c:v>
                </c:pt>
                <c:pt idx="655">
                  <c:v>-4.9089775190805707E-2</c:v>
                </c:pt>
                <c:pt idx="656">
                  <c:v>-4.5008391517464053E-2</c:v>
                </c:pt>
                <c:pt idx="657">
                  <c:v>-4.4569351818483205E-2</c:v>
                </c:pt>
                <c:pt idx="658">
                  <c:v>-4.5161694227711657E-2</c:v>
                </c:pt>
                <c:pt idx="659">
                  <c:v>-3.9385954421739755E-2</c:v>
                </c:pt>
                <c:pt idx="660">
                  <c:v>-3.9950204711289294E-2</c:v>
                </c:pt>
                <c:pt idx="661">
                  <c:v>-4.3464930199108909E-2</c:v>
                </c:pt>
                <c:pt idx="662">
                  <c:v>-4.0697455094746759E-2</c:v>
                </c:pt>
                <c:pt idx="663">
                  <c:v>-4.1944745208487788E-2</c:v>
                </c:pt>
                <c:pt idx="664">
                  <c:v>-4.1509718669460849E-2</c:v>
                </c:pt>
                <c:pt idx="665">
                  <c:v>-4.6173813168141065E-2</c:v>
                </c:pt>
                <c:pt idx="666">
                  <c:v>-4.5095878404464051E-2</c:v>
                </c:pt>
                <c:pt idx="667">
                  <c:v>-4.6341563254223339E-2</c:v>
                </c:pt>
                <c:pt idx="668">
                  <c:v>-4.2441574410807981E-2</c:v>
                </c:pt>
                <c:pt idx="669">
                  <c:v>-4.4408022788327561E-2</c:v>
                </c:pt>
                <c:pt idx="670">
                  <c:v>-4.0552178704407527E-2</c:v>
                </c:pt>
                <c:pt idx="671">
                  <c:v>-3.4192122809115655E-2</c:v>
                </c:pt>
                <c:pt idx="672">
                  <c:v>-3.0756055256396797E-2</c:v>
                </c:pt>
                <c:pt idx="673">
                  <c:v>-3.0032081200673355E-2</c:v>
                </c:pt>
                <c:pt idx="674">
                  <c:v>-2.7709264219227703E-2</c:v>
                </c:pt>
                <c:pt idx="675">
                  <c:v>-3.2894266879952783E-2</c:v>
                </c:pt>
                <c:pt idx="676">
                  <c:v>-2.6998934907348282E-2</c:v>
                </c:pt>
                <c:pt idx="677">
                  <c:v>-2.9902054818159773E-2</c:v>
                </c:pt>
                <c:pt idx="678">
                  <c:v>-2.9381146656114798E-2</c:v>
                </c:pt>
                <c:pt idx="679">
                  <c:v>-2.8589751513162009E-2</c:v>
                </c:pt>
                <c:pt idx="680">
                  <c:v>-2.8373040875639521E-2</c:v>
                </c:pt>
                <c:pt idx="681">
                  <c:v>-2.5292539294855754E-2</c:v>
                </c:pt>
                <c:pt idx="682">
                  <c:v>-2.5790171129166817E-2</c:v>
                </c:pt>
                <c:pt idx="683">
                  <c:v>-2.3929670174436035E-2</c:v>
                </c:pt>
                <c:pt idx="684">
                  <c:v>-2.1126879262477583E-2</c:v>
                </c:pt>
                <c:pt idx="685">
                  <c:v>-2.0740813274891079E-2</c:v>
                </c:pt>
                <c:pt idx="686">
                  <c:v>-1.9131536133288329E-2</c:v>
                </c:pt>
                <c:pt idx="687">
                  <c:v>-2.5685026338368777E-2</c:v>
                </c:pt>
                <c:pt idx="688">
                  <c:v>-2.8261475028914851E-2</c:v>
                </c:pt>
                <c:pt idx="689">
                  <c:v>-2.4074946564775268E-2</c:v>
                </c:pt>
                <c:pt idx="690">
                  <c:v>-2.9223028153922304E-2</c:v>
                </c:pt>
                <c:pt idx="691">
                  <c:v>-2.3358998828959976E-2</c:v>
                </c:pt>
                <c:pt idx="692">
                  <c:v>-1.9633983759544282E-2</c:v>
                </c:pt>
                <c:pt idx="693">
                  <c:v>-2.2358116736401978E-2</c:v>
                </c:pt>
                <c:pt idx="694">
                  <c:v>-1.7563193223217644E-2</c:v>
                </c:pt>
                <c:pt idx="695">
                  <c:v>-1.9052878198187573E-2</c:v>
                </c:pt>
                <c:pt idx="696">
                  <c:v>-2.0185391937240671E-2</c:v>
                </c:pt>
                <c:pt idx="697">
                  <c:v>-1.8216535663748701E-2</c:v>
                </c:pt>
                <c:pt idx="698">
                  <c:v>-1.8781588585288889E-2</c:v>
                </c:pt>
                <c:pt idx="699">
                  <c:v>-2.5060578649507503E-2</c:v>
                </c:pt>
                <c:pt idx="700">
                  <c:v>-2.0800208042212054E-2</c:v>
                </c:pt>
                <c:pt idx="701">
                  <c:v>-1.3678454387627936E-2</c:v>
                </c:pt>
                <c:pt idx="702">
                  <c:v>-1.1095584641155343E-2</c:v>
                </c:pt>
                <c:pt idx="703">
                  <c:v>-8.9461361697278363E-3</c:v>
                </c:pt>
                <c:pt idx="704">
                  <c:v>-8.9967019851497909E-3</c:v>
                </c:pt>
                <c:pt idx="705">
                  <c:v>-1.1508940116429889E-2</c:v>
                </c:pt>
                <c:pt idx="706">
                  <c:v>-1.3289177872078173E-2</c:v>
                </c:pt>
                <c:pt idx="707">
                  <c:v>-5.2748974436973572E-3</c:v>
                </c:pt>
                <c:pt idx="708">
                  <c:v>-1.2039479862364644E-3</c:v>
                </c:pt>
                <c:pt idx="709">
                  <c:v>0</c:v>
                </c:pt>
                <c:pt idx="710">
                  <c:v>0</c:v>
                </c:pt>
                <c:pt idx="711">
                  <c:v>0</c:v>
                </c:pt>
                <c:pt idx="712">
                  <c:v>-1.0300009741093241E-3</c:v>
                </c:pt>
                <c:pt idx="713">
                  <c:v>0</c:v>
                </c:pt>
                <c:pt idx="714">
                  <c:v>0</c:v>
                </c:pt>
                <c:pt idx="715">
                  <c:v>0</c:v>
                </c:pt>
                <c:pt idx="716">
                  <c:v>-4.6307448920032135E-3</c:v>
                </c:pt>
                <c:pt idx="717">
                  <c:v>-1.7273476170579505E-3</c:v>
                </c:pt>
                <c:pt idx="718">
                  <c:v>-4.254788117554309E-3</c:v>
                </c:pt>
                <c:pt idx="719">
                  <c:v>-2.5866773872268434E-3</c:v>
                </c:pt>
                <c:pt idx="720">
                  <c:v>0</c:v>
                </c:pt>
                <c:pt idx="721">
                  <c:v>0</c:v>
                </c:pt>
                <c:pt idx="722">
                  <c:v>0</c:v>
                </c:pt>
                <c:pt idx="723">
                  <c:v>0</c:v>
                </c:pt>
                <c:pt idx="724">
                  <c:v>-5.1364340719415313E-3</c:v>
                </c:pt>
                <c:pt idx="725">
                  <c:v>-7.0187444447067371E-3</c:v>
                </c:pt>
                <c:pt idx="726">
                  <c:v>-8.0216469625818965E-3</c:v>
                </c:pt>
                <c:pt idx="727">
                  <c:v>-1.038771031455743E-2</c:v>
                </c:pt>
                <c:pt idx="728">
                  <c:v>-1.2299124525096072E-2</c:v>
                </c:pt>
                <c:pt idx="729">
                  <c:v>-9.9920554388780447E-3</c:v>
                </c:pt>
                <c:pt idx="730">
                  <c:v>-3.8676640630530557E-3</c:v>
                </c:pt>
                <c:pt idx="731">
                  <c:v>-3.4901007622060165E-3</c:v>
                </c:pt>
                <c:pt idx="732">
                  <c:v>-3.2085014669906986E-3</c:v>
                </c:pt>
                <c:pt idx="733">
                  <c:v>-6.8205237117617834E-3</c:v>
                </c:pt>
                <c:pt idx="734">
                  <c:v>-8.5581014858688853E-3</c:v>
                </c:pt>
                <c:pt idx="735">
                  <c:v>-7.3664173175700398E-3</c:v>
                </c:pt>
                <c:pt idx="736">
                  <c:v>-3.6073027035106175E-3</c:v>
                </c:pt>
                <c:pt idx="737">
                  <c:v>-1.8618590273025148E-3</c:v>
                </c:pt>
                <c:pt idx="738">
                  <c:v>-9.3368257938664101E-4</c:v>
                </c:pt>
                <c:pt idx="739">
                  <c:v>-2.7428400626124949E-3</c:v>
                </c:pt>
                <c:pt idx="740">
                  <c:v>-4.100494765242102E-3</c:v>
                </c:pt>
                <c:pt idx="741">
                  <c:v>-3.140854708922225E-3</c:v>
                </c:pt>
                <c:pt idx="742">
                  <c:v>-4.061165254737209E-3</c:v>
                </c:pt>
                <c:pt idx="743">
                  <c:v>-5.1002509222769499E-3</c:v>
                </c:pt>
                <c:pt idx="744">
                  <c:v>-1.2428911909762363E-2</c:v>
                </c:pt>
                <c:pt idx="745">
                  <c:v>-2.2158246218467625E-2</c:v>
                </c:pt>
                <c:pt idx="746">
                  <c:v>-2.2372198755614248E-2</c:v>
                </c:pt>
                <c:pt idx="747">
                  <c:v>-1.5086800229684338E-2</c:v>
                </c:pt>
                <c:pt idx="748">
                  <c:v>-1.7413534071154979E-2</c:v>
                </c:pt>
                <c:pt idx="749">
                  <c:v>-2.2523224075953086E-2</c:v>
                </c:pt>
                <c:pt idx="750">
                  <c:v>-1.8101013914780806E-2</c:v>
                </c:pt>
                <c:pt idx="751">
                  <c:v>-1.4786322769426818E-2</c:v>
                </c:pt>
                <c:pt idx="752">
                  <c:v>-1.4315155233577959E-2</c:v>
                </c:pt>
                <c:pt idx="753">
                  <c:v>-1.3763755496299046E-2</c:v>
                </c:pt>
                <c:pt idx="754">
                  <c:v>-1.4280545264333644E-2</c:v>
                </c:pt>
                <c:pt idx="755">
                  <c:v>-9.1913066049980063E-3</c:v>
                </c:pt>
                <c:pt idx="756">
                  <c:v>-9.1102878133578757E-3</c:v>
                </c:pt>
                <c:pt idx="757">
                  <c:v>-6.5908393704132706E-3</c:v>
                </c:pt>
                <c:pt idx="758">
                  <c:v>-9.9110366472476841E-5</c:v>
                </c:pt>
                <c:pt idx="759">
                  <c:v>0</c:v>
                </c:pt>
                <c:pt idx="760">
                  <c:v>-5.9580011806392719E-4</c:v>
                </c:pt>
                <c:pt idx="761">
                  <c:v>-6.4199224285470535E-3</c:v>
                </c:pt>
                <c:pt idx="762">
                  <c:v>-4.7664009445115285E-3</c:v>
                </c:pt>
                <c:pt idx="763">
                  <c:v>-6.0214174875555804E-3</c:v>
                </c:pt>
                <c:pt idx="764">
                  <c:v>-8.1509527321467212E-3</c:v>
                </c:pt>
                <c:pt idx="765">
                  <c:v>-8.5095288873021646E-3</c:v>
                </c:pt>
                <c:pt idx="766">
                  <c:v>-6.2555097809867677E-3</c:v>
                </c:pt>
                <c:pt idx="767">
                  <c:v>-6.9444770660020971E-4</c:v>
                </c:pt>
                <c:pt idx="768">
                  <c:v>-1.319215767329518E-3</c:v>
                </c:pt>
                <c:pt idx="769">
                  <c:v>-4.3217038787293216E-3</c:v>
                </c:pt>
                <c:pt idx="770">
                  <c:v>-4.6716679428219221E-3</c:v>
                </c:pt>
                <c:pt idx="771">
                  <c:v>-4.1987858517436027E-3</c:v>
                </c:pt>
                <c:pt idx="772">
                  <c:v>-2.8850505059995202E-3</c:v>
                </c:pt>
                <c:pt idx="773">
                  <c:v>0</c:v>
                </c:pt>
                <c:pt idx="774">
                  <c:v>-2.5055404976359608E-3</c:v>
                </c:pt>
                <c:pt idx="775">
                  <c:v>-1.759508776429719E-3</c:v>
                </c:pt>
                <c:pt idx="776">
                  <c:v>-1.2308741396002132E-3</c:v>
                </c:pt>
                <c:pt idx="777">
                  <c:v>-1.4865894151080417E-3</c:v>
                </c:pt>
                <c:pt idx="778">
                  <c:v>0</c:v>
                </c:pt>
                <c:pt idx="779">
                  <c:v>0</c:v>
                </c:pt>
                <c:pt idx="780">
                  <c:v>0</c:v>
                </c:pt>
                <c:pt idx="781">
                  <c:v>-1.3032323714274874E-3</c:v>
                </c:pt>
                <c:pt idx="782">
                  <c:v>-2.1362819737794636E-3</c:v>
                </c:pt>
                <c:pt idx="783">
                  <c:v>-3.9390352837811449E-3</c:v>
                </c:pt>
                <c:pt idx="784">
                  <c:v>-3.9760940242017373E-4</c:v>
                </c:pt>
                <c:pt idx="785">
                  <c:v>-2.3501417882850761E-3</c:v>
                </c:pt>
                <c:pt idx="786">
                  <c:v>-3.9220500277554748E-3</c:v>
                </c:pt>
                <c:pt idx="787">
                  <c:v>0</c:v>
                </c:pt>
                <c:pt idx="788">
                  <c:v>-5.5821580139884253E-3</c:v>
                </c:pt>
                <c:pt idx="789">
                  <c:v>-5.1883766826076316E-3</c:v>
                </c:pt>
                <c:pt idx="790">
                  <c:v>-6.2112852192024448E-3</c:v>
                </c:pt>
                <c:pt idx="791">
                  <c:v>-3.3394502751086241E-3</c:v>
                </c:pt>
                <c:pt idx="792">
                  <c:v>-3.5771034614302533E-3</c:v>
                </c:pt>
                <c:pt idx="793">
                  <c:v>0</c:v>
                </c:pt>
                <c:pt idx="794">
                  <c:v>0</c:v>
                </c:pt>
                <c:pt idx="795">
                  <c:v>0</c:v>
                </c:pt>
                <c:pt idx="796">
                  <c:v>0</c:v>
                </c:pt>
                <c:pt idx="797">
                  <c:v>-1.0420749209083535E-3</c:v>
                </c:pt>
                <c:pt idx="798">
                  <c:v>-4.9506198588614714E-3</c:v>
                </c:pt>
                <c:pt idx="799">
                  <c:v>-4.3524199592489543E-3</c:v>
                </c:pt>
                <c:pt idx="800">
                  <c:v>-5.5977147694256102E-3</c:v>
                </c:pt>
                <c:pt idx="801">
                  <c:v>-3.2782576874033076E-3</c:v>
                </c:pt>
                <c:pt idx="802">
                  <c:v>-1.0451308590929687E-3</c:v>
                </c:pt>
                <c:pt idx="803">
                  <c:v>0</c:v>
                </c:pt>
                <c:pt idx="804">
                  <c:v>-6.6951624588429404E-4</c:v>
                </c:pt>
                <c:pt idx="805">
                  <c:v>-4.7255479612584583E-4</c:v>
                </c:pt>
                <c:pt idx="806">
                  <c:v>-5.1988661738566755E-4</c:v>
                </c:pt>
                <c:pt idx="807">
                  <c:v>-1.6886772359133717E-3</c:v>
                </c:pt>
                <c:pt idx="808">
                  <c:v>-3.4735449472900193E-4</c:v>
                </c:pt>
                <c:pt idx="809">
                  <c:v>-1.1214587972679935E-3</c:v>
                </c:pt>
                <c:pt idx="810">
                  <c:v>0</c:v>
                </c:pt>
                <c:pt idx="811">
                  <c:v>-2.1477454702553356E-2</c:v>
                </c:pt>
                <c:pt idx="812">
                  <c:v>-2.5725926977569924E-2</c:v>
                </c:pt>
                <c:pt idx="813">
                  <c:v>-2.7397532130693514E-2</c:v>
                </c:pt>
                <c:pt idx="814">
                  <c:v>-3.3019163159348941E-2</c:v>
                </c:pt>
                <c:pt idx="815">
                  <c:v>-3.9517814425876097E-2</c:v>
                </c:pt>
                <c:pt idx="816">
                  <c:v>-3.0843023300191175E-2</c:v>
                </c:pt>
                <c:pt idx="817">
                  <c:v>-3.1191083551252663E-2</c:v>
                </c:pt>
                <c:pt idx="818">
                  <c:v>-2.4065007884785938E-2</c:v>
                </c:pt>
                <c:pt idx="819">
                  <c:v>-2.2786497094154812E-2</c:v>
                </c:pt>
                <c:pt idx="820">
                  <c:v>-2.352154538751472E-2</c:v>
                </c:pt>
                <c:pt idx="821">
                  <c:v>-3.3667196389943421E-2</c:v>
                </c:pt>
                <c:pt idx="822">
                  <c:v>-4.1039051444221042E-2</c:v>
                </c:pt>
                <c:pt idx="823">
                  <c:v>-3.5796775557621507E-2</c:v>
                </c:pt>
                <c:pt idx="824">
                  <c:v>-3.9066710021539941E-2</c:v>
                </c:pt>
                <c:pt idx="825">
                  <c:v>-3.1345268136152571E-2</c:v>
                </c:pt>
                <c:pt idx="826">
                  <c:v>-2.5643491654950168E-2</c:v>
                </c:pt>
                <c:pt idx="827">
                  <c:v>-1.9719597776688746E-2</c:v>
                </c:pt>
                <c:pt idx="828">
                  <c:v>-1.679543369375891E-2</c:v>
                </c:pt>
                <c:pt idx="829">
                  <c:v>-1.3185835169045812E-2</c:v>
                </c:pt>
                <c:pt idx="830">
                  <c:v>-1.496964395573519E-2</c:v>
                </c:pt>
                <c:pt idx="831">
                  <c:v>-1.8665494253189419E-2</c:v>
                </c:pt>
                <c:pt idx="832">
                  <c:v>-2.2996401850825632E-2</c:v>
                </c:pt>
                <c:pt idx="833">
                  <c:v>-1.8938752081873567E-2</c:v>
                </c:pt>
                <c:pt idx="834">
                  <c:v>-1.8322777032297788E-2</c:v>
                </c:pt>
                <c:pt idx="835">
                  <c:v>-1.9660824444820868E-2</c:v>
                </c:pt>
                <c:pt idx="836">
                  <c:v>-1.3379710835207059E-2</c:v>
                </c:pt>
                <c:pt idx="837">
                  <c:v>-1.0143361132356032E-2</c:v>
                </c:pt>
                <c:pt idx="838">
                  <c:v>-1.1862290266983599E-2</c:v>
                </c:pt>
                <c:pt idx="839">
                  <c:v>-1.1785961264557776E-2</c:v>
                </c:pt>
                <c:pt idx="840">
                  <c:v>-8.7152454969704474E-3</c:v>
                </c:pt>
                <c:pt idx="841">
                  <c:v>-8.7442505178922936E-3</c:v>
                </c:pt>
                <c:pt idx="842">
                  <c:v>-1.0924970117195509E-2</c:v>
                </c:pt>
                <c:pt idx="843">
                  <c:v>-1.1967624290330936E-2</c:v>
                </c:pt>
                <c:pt idx="844">
                  <c:v>-1.0944052367801937E-2</c:v>
                </c:pt>
                <c:pt idx="845">
                  <c:v>-3.6874541071872935E-3</c:v>
                </c:pt>
                <c:pt idx="846">
                  <c:v>-3.5691441534274615E-3</c:v>
                </c:pt>
                <c:pt idx="847">
                  <c:v>-3.4844189607349252E-3</c:v>
                </c:pt>
                <c:pt idx="848">
                  <c:v>-8.1069033476373065E-3</c:v>
                </c:pt>
                <c:pt idx="849">
                  <c:v>-1.0212820524564403E-3</c:v>
                </c:pt>
                <c:pt idx="850">
                  <c:v>-5.0453470603417649E-4</c:v>
                </c:pt>
                <c:pt idx="851">
                  <c:v>-4.9316168467267163E-3</c:v>
                </c:pt>
                <c:pt idx="852">
                  <c:v>-2.0967576966349766E-3</c:v>
                </c:pt>
                <c:pt idx="853">
                  <c:v>-1.5647445497279922E-4</c:v>
                </c:pt>
                <c:pt idx="854">
                  <c:v>-2.9959133452099884E-3</c:v>
                </c:pt>
                <c:pt idx="855">
                  <c:v>-4.3599126185580594E-3</c:v>
                </c:pt>
                <c:pt idx="856">
                  <c:v>-3.3325242459075755E-3</c:v>
                </c:pt>
                <c:pt idx="857">
                  <c:v>0</c:v>
                </c:pt>
                <c:pt idx="858">
                  <c:v>0</c:v>
                </c:pt>
                <c:pt idx="859">
                  <c:v>0</c:v>
                </c:pt>
                <c:pt idx="860">
                  <c:v>0</c:v>
                </c:pt>
                <c:pt idx="861">
                  <c:v>0</c:v>
                </c:pt>
                <c:pt idx="862">
                  <c:v>0</c:v>
                </c:pt>
                <c:pt idx="863">
                  <c:v>-5.7599140464489329E-3</c:v>
                </c:pt>
                <c:pt idx="864">
                  <c:v>-1.7987470640206116E-3</c:v>
                </c:pt>
                <c:pt idx="865">
                  <c:v>-3.5778769201285643E-3</c:v>
                </c:pt>
                <c:pt idx="866">
                  <c:v>-5.7244521706063534E-3</c:v>
                </c:pt>
                <c:pt idx="867">
                  <c:v>-2.230325638106323E-3</c:v>
                </c:pt>
                <c:pt idx="868">
                  <c:v>0</c:v>
                </c:pt>
                <c:pt idx="869">
                  <c:v>0</c:v>
                </c:pt>
                <c:pt idx="870">
                  <c:v>0</c:v>
                </c:pt>
                <c:pt idx="871">
                  <c:v>0</c:v>
                </c:pt>
                <c:pt idx="872">
                  <c:v>0</c:v>
                </c:pt>
                <c:pt idx="873">
                  <c:v>-3.4210792031443837E-3</c:v>
                </c:pt>
                <c:pt idx="874">
                  <c:v>-3.7516688419265698E-3</c:v>
                </c:pt>
                <c:pt idx="875">
                  <c:v>-2.6813661878600792E-3</c:v>
                </c:pt>
                <c:pt idx="876">
                  <c:v>-2.0508524650244553E-3</c:v>
                </c:pt>
                <c:pt idx="877">
                  <c:v>0</c:v>
                </c:pt>
                <c:pt idx="878">
                  <c:v>0</c:v>
                </c:pt>
                <c:pt idx="879">
                  <c:v>0</c:v>
                </c:pt>
                <c:pt idx="880">
                  <c:v>-5.4821312155528545E-4</c:v>
                </c:pt>
                <c:pt idx="881">
                  <c:v>-5.4547205594737136E-3</c:v>
                </c:pt>
                <c:pt idx="882">
                  <c:v>-1.0036745095715172E-2</c:v>
                </c:pt>
                <c:pt idx="883">
                  <c:v>-1.9512682984650143E-2</c:v>
                </c:pt>
                <c:pt idx="884">
                  <c:v>-1.332157885379015E-2</c:v>
                </c:pt>
                <c:pt idx="885">
                  <c:v>-9.6996681088129533E-3</c:v>
                </c:pt>
                <c:pt idx="886">
                  <c:v>-1.4571356605227348E-2</c:v>
                </c:pt>
                <c:pt idx="887">
                  <c:v>-8.7439992888047602E-3</c:v>
                </c:pt>
                <c:pt idx="888">
                  <c:v>-2.8536715462572637E-3</c:v>
                </c:pt>
                <c:pt idx="889">
                  <c:v>0</c:v>
                </c:pt>
                <c:pt idx="890">
                  <c:v>-1.5246811929355841E-3</c:v>
                </c:pt>
                <c:pt idx="891">
                  <c:v>-1.3759859383114525E-3</c:v>
                </c:pt>
                <c:pt idx="892">
                  <c:v>-6.2096913796700903E-3</c:v>
                </c:pt>
                <c:pt idx="893">
                  <c:v>-5.4085124704273957E-3</c:v>
                </c:pt>
                <c:pt idx="894">
                  <c:v>-1.2237397522337545E-2</c:v>
                </c:pt>
                <c:pt idx="895">
                  <c:v>-1.4899116557845482E-2</c:v>
                </c:pt>
                <c:pt idx="896">
                  <c:v>-1.8015058908473325E-2</c:v>
                </c:pt>
                <c:pt idx="897">
                  <c:v>-1.5971053990433304E-2</c:v>
                </c:pt>
                <c:pt idx="898">
                  <c:v>-1.4732666645952963E-2</c:v>
                </c:pt>
                <c:pt idx="899">
                  <c:v>-1.4276223998674342E-2</c:v>
                </c:pt>
                <c:pt idx="900">
                  <c:v>-1.3292320075043107E-2</c:v>
                </c:pt>
                <c:pt idx="901">
                  <c:v>-1.0500400219565886E-2</c:v>
                </c:pt>
                <c:pt idx="902">
                  <c:v>-9.6296822360215639E-3</c:v>
                </c:pt>
                <c:pt idx="903">
                  <c:v>-9.755444391673751E-3</c:v>
                </c:pt>
                <c:pt idx="904">
                  <c:v>-8.1242352551271768E-3</c:v>
                </c:pt>
                <c:pt idx="905">
                  <c:v>-5.5505497285757155E-3</c:v>
                </c:pt>
                <c:pt idx="906">
                  <c:v>-1.4936845204541083E-2</c:v>
                </c:pt>
                <c:pt idx="907">
                  <c:v>-1.7631854222427523E-2</c:v>
                </c:pt>
                <c:pt idx="908">
                  <c:v>-8.8225851076894068E-3</c:v>
                </c:pt>
                <c:pt idx="909">
                  <c:v>-5.0941070812972056E-3</c:v>
                </c:pt>
                <c:pt idx="910">
                  <c:v>-4.7478912645607663E-3</c:v>
                </c:pt>
                <c:pt idx="911">
                  <c:v>-7.0345431652708568E-3</c:v>
                </c:pt>
                <c:pt idx="912">
                  <c:v>-1.0655753470665719E-2</c:v>
                </c:pt>
                <c:pt idx="913">
                  <c:v>-7.1721417591019687E-3</c:v>
                </c:pt>
                <c:pt idx="914">
                  <c:v>-1.2167858448035807E-2</c:v>
                </c:pt>
                <c:pt idx="915">
                  <c:v>-1.0740827870077463E-2</c:v>
                </c:pt>
                <c:pt idx="916">
                  <c:v>-2.0801800322247099E-2</c:v>
                </c:pt>
                <c:pt idx="917">
                  <c:v>-1.8031334010969347E-2</c:v>
                </c:pt>
                <c:pt idx="918">
                  <c:v>-3.3520792922993703E-2</c:v>
                </c:pt>
                <c:pt idx="919">
                  <c:v>-4.1142719332898481E-2</c:v>
                </c:pt>
                <c:pt idx="920">
                  <c:v>-3.8493576512955818E-2</c:v>
                </c:pt>
                <c:pt idx="921">
                  <c:v>-3.8538702933513358E-2</c:v>
                </c:pt>
                <c:pt idx="922">
                  <c:v>-4.1524444464171806E-2</c:v>
                </c:pt>
                <c:pt idx="923">
                  <c:v>-3.7821118868910042E-2</c:v>
                </c:pt>
                <c:pt idx="924">
                  <c:v>-5.119925312075102E-2</c:v>
                </c:pt>
                <c:pt idx="925">
                  <c:v>-4.799231815162186E-2</c:v>
                </c:pt>
                <c:pt idx="926">
                  <c:v>-4.2603779670621567E-2</c:v>
                </c:pt>
                <c:pt idx="927">
                  <c:v>-3.4500997959693969E-2</c:v>
                </c:pt>
                <c:pt idx="928">
                  <c:v>-4.2495772172237989E-2</c:v>
                </c:pt>
                <c:pt idx="929">
                  <c:v>-5.1234022657901779E-2</c:v>
                </c:pt>
                <c:pt idx="930">
                  <c:v>-4.5264758928743265E-2</c:v>
                </c:pt>
                <c:pt idx="931">
                  <c:v>-5.2228283464939795E-2</c:v>
                </c:pt>
                <c:pt idx="932">
                  <c:v>-5.7151501970027274E-2</c:v>
                </c:pt>
                <c:pt idx="933">
                  <c:v>-6.2437211394347325E-2</c:v>
                </c:pt>
                <c:pt idx="934">
                  <c:v>-5.8023699508343962E-2</c:v>
                </c:pt>
                <c:pt idx="935">
                  <c:v>-5.1845818556280232E-2</c:v>
                </c:pt>
                <c:pt idx="936">
                  <c:v>-4.9352028987437069E-2</c:v>
                </c:pt>
                <c:pt idx="937">
                  <c:v>-4.364760556253422E-2</c:v>
                </c:pt>
                <c:pt idx="938">
                  <c:v>-4.1988284885312366E-2</c:v>
                </c:pt>
                <c:pt idx="939">
                  <c:v>-3.9717168309712392E-2</c:v>
                </c:pt>
                <c:pt idx="940">
                  <c:v>-4.1827753192509309E-2</c:v>
                </c:pt>
                <c:pt idx="941">
                  <c:v>-5.3284685572417612E-2</c:v>
                </c:pt>
                <c:pt idx="942">
                  <c:v>-4.7031347326962458E-2</c:v>
                </c:pt>
                <c:pt idx="943">
                  <c:v>-4.4987342408922215E-2</c:v>
                </c:pt>
                <c:pt idx="944">
                  <c:v>-3.5498217876276827E-2</c:v>
                </c:pt>
                <c:pt idx="945">
                  <c:v>-3.4159220807274737E-2</c:v>
                </c:pt>
                <c:pt idx="946">
                  <c:v>-2.8419288067834669E-2</c:v>
                </c:pt>
                <c:pt idx="947">
                  <c:v>-3.7818899536751438E-2</c:v>
                </c:pt>
                <c:pt idx="948">
                  <c:v>-3.7374293327651853E-2</c:v>
                </c:pt>
                <c:pt idx="949">
                  <c:v>-4.8937753651171367E-2</c:v>
                </c:pt>
                <c:pt idx="950">
                  <c:v>-5.4184254874023341E-2</c:v>
                </c:pt>
                <c:pt idx="951">
                  <c:v>-4.7930916628568299E-2</c:v>
                </c:pt>
                <c:pt idx="952">
                  <c:v>-4.8499805438547483E-2</c:v>
                </c:pt>
                <c:pt idx="953">
                  <c:v>-4.4269758344319121E-2</c:v>
                </c:pt>
                <c:pt idx="954">
                  <c:v>-4.4195780605700064E-2</c:v>
                </c:pt>
                <c:pt idx="955">
                  <c:v>-4.9372002976864171E-2</c:v>
                </c:pt>
                <c:pt idx="956">
                  <c:v>-3.9355417167865947E-2</c:v>
                </c:pt>
                <c:pt idx="957">
                  <c:v>-3.0579438035506334E-2</c:v>
                </c:pt>
                <c:pt idx="958">
                  <c:v>-3.6567935976706045E-2</c:v>
                </c:pt>
                <c:pt idx="959">
                  <c:v>-3.4840555779954818E-2</c:v>
                </c:pt>
                <c:pt idx="960">
                  <c:v>-3.5734946639857101E-2</c:v>
                </c:pt>
                <c:pt idx="961">
                  <c:v>-3.7053969719432089E-2</c:v>
                </c:pt>
                <c:pt idx="962">
                  <c:v>-3.5196388702711578E-2</c:v>
                </c:pt>
                <c:pt idx="963">
                  <c:v>-2.9691705172079641E-2</c:v>
                </c:pt>
                <c:pt idx="964">
                  <c:v>-3.1617345708329414E-2</c:v>
                </c:pt>
                <c:pt idx="965">
                  <c:v>-2.6662316775636019E-2</c:v>
                </c:pt>
                <c:pt idx="966">
                  <c:v>-2.1929960836185258E-2</c:v>
                </c:pt>
                <c:pt idx="967">
                  <c:v>-2.270450775952515E-2</c:v>
                </c:pt>
                <c:pt idx="968">
                  <c:v>-2.1142097919893965E-2</c:v>
                </c:pt>
                <c:pt idx="969">
                  <c:v>-1.6178931435952393E-2</c:v>
                </c:pt>
                <c:pt idx="970">
                  <c:v>-1.5461347371349077E-2</c:v>
                </c:pt>
                <c:pt idx="971">
                  <c:v>-1.1183954524404682E-2</c:v>
                </c:pt>
                <c:pt idx="972">
                  <c:v>-1.4346502850362319E-2</c:v>
                </c:pt>
                <c:pt idx="973">
                  <c:v>-1.5765395877072708E-2</c:v>
                </c:pt>
                <c:pt idx="974">
                  <c:v>-1.2682743508823369E-2</c:v>
                </c:pt>
                <c:pt idx="975">
                  <c:v>-1.9118066991281046E-2</c:v>
                </c:pt>
                <c:pt idx="976">
                  <c:v>-2.2921262533678322E-2</c:v>
                </c:pt>
                <c:pt idx="977">
                  <c:v>-2.2110466518415306E-2</c:v>
                </c:pt>
                <c:pt idx="978">
                  <c:v>-2.4726319355979354E-2</c:v>
                </c:pt>
                <c:pt idx="979">
                  <c:v>-3.4664488762041756E-2</c:v>
                </c:pt>
                <c:pt idx="980">
                  <c:v>-3.5482682551166711E-2</c:v>
                </c:pt>
                <c:pt idx="981">
                  <c:v>-3.2744766444881335E-2</c:v>
                </c:pt>
                <c:pt idx="982">
                  <c:v>-3.3821142541786253E-2</c:v>
                </c:pt>
                <c:pt idx="983">
                  <c:v>-3.5137946289202859E-2</c:v>
                </c:pt>
                <c:pt idx="984">
                  <c:v>-2.9349188242274282E-2</c:v>
                </c:pt>
                <c:pt idx="985">
                  <c:v>-2.4087891471698319E-2</c:v>
                </c:pt>
                <c:pt idx="986">
                  <c:v>-2.8856496503072315E-2</c:v>
                </c:pt>
                <c:pt idx="987">
                  <c:v>-2.3757210980071886E-2</c:v>
                </c:pt>
                <c:pt idx="988">
                  <c:v>-3.2948945003469565E-2</c:v>
                </c:pt>
                <c:pt idx="989">
                  <c:v>-3.7696096490644204E-2</c:v>
                </c:pt>
                <c:pt idx="990">
                  <c:v>-4.2410697772826245E-2</c:v>
                </c:pt>
                <c:pt idx="991">
                  <c:v>-3.9490796429538455E-2</c:v>
                </c:pt>
                <c:pt idx="992">
                  <c:v>-5.2568581062586772E-2</c:v>
                </c:pt>
                <c:pt idx="993">
                  <c:v>-5.7477743797336611E-2</c:v>
                </c:pt>
                <c:pt idx="994">
                  <c:v>-6.6079135466555528E-2</c:v>
                </c:pt>
                <c:pt idx="995">
                  <c:v>-6.9248341788988865E-2</c:v>
                </c:pt>
                <c:pt idx="996">
                  <c:v>-6.1681898683048297E-2</c:v>
                </c:pt>
                <c:pt idx="997">
                  <c:v>-6.3057144843973623E-2</c:v>
                </c:pt>
                <c:pt idx="998">
                  <c:v>-6.9081152099710219E-2</c:v>
                </c:pt>
                <c:pt idx="999">
                  <c:v>-7.0878071370763074E-2</c:v>
                </c:pt>
                <c:pt idx="1000">
                  <c:v>-8.172838629399648E-2</c:v>
                </c:pt>
                <c:pt idx="1001">
                  <c:v>-8.2185568718661228E-2</c:v>
                </c:pt>
                <c:pt idx="1002">
                  <c:v>-9.4541330622789022E-2</c:v>
                </c:pt>
                <c:pt idx="1003">
                  <c:v>-9.4043460441883941E-2</c:v>
                </c:pt>
                <c:pt idx="1004">
                  <c:v>-8.4081618159463467E-2</c:v>
                </c:pt>
                <c:pt idx="1005">
                  <c:v>-9.090606454705652E-2</c:v>
                </c:pt>
                <c:pt idx="1006">
                  <c:v>-8.8658620847814507E-2</c:v>
                </c:pt>
                <c:pt idx="1007">
                  <c:v>-7.2186737566931392E-2</c:v>
                </c:pt>
                <c:pt idx="1008">
                  <c:v>-6.7648203302662191E-2</c:v>
                </c:pt>
                <c:pt idx="1009">
                  <c:v>-6.0704652755892763E-2</c:v>
                </c:pt>
                <c:pt idx="1010">
                  <c:v>-6.1402262831068977E-2</c:v>
                </c:pt>
                <c:pt idx="1011">
                  <c:v>-7.0301045009535823E-2</c:v>
                </c:pt>
                <c:pt idx="1012">
                  <c:v>-5.9490678065156621E-2</c:v>
                </c:pt>
                <c:pt idx="1013">
                  <c:v>-5.2303740758330997E-2</c:v>
                </c:pt>
                <c:pt idx="1014">
                  <c:v>-5.2146907952459021E-2</c:v>
                </c:pt>
                <c:pt idx="1015">
                  <c:v>-4.9692326585084157E-2</c:v>
                </c:pt>
                <c:pt idx="1016">
                  <c:v>-5.6603326926861208E-2</c:v>
                </c:pt>
                <c:pt idx="1017">
                  <c:v>-5.5600188791188998E-2</c:v>
                </c:pt>
                <c:pt idx="1018">
                  <c:v>-5.9996685797309879E-2</c:v>
                </c:pt>
                <c:pt idx="1019">
                  <c:v>-6.0974671501851763E-2</c:v>
                </c:pt>
                <c:pt idx="1020">
                  <c:v>-6.9908962994855606E-2</c:v>
                </c:pt>
                <c:pt idx="1021">
                  <c:v>-6.9422929252129562E-2</c:v>
                </c:pt>
                <c:pt idx="1022">
                  <c:v>-7.0781900310558643E-2</c:v>
                </c:pt>
                <c:pt idx="1023">
                  <c:v>-6.6425351283291856E-2</c:v>
                </c:pt>
                <c:pt idx="1024">
                  <c:v>-5.881674086633859E-2</c:v>
                </c:pt>
                <c:pt idx="1025">
                  <c:v>-5.5836917554769494E-2</c:v>
                </c:pt>
                <c:pt idx="1026">
                  <c:v>-5.4628861083122926E-2</c:v>
                </c:pt>
                <c:pt idx="1027">
                  <c:v>-5.6718732199106725E-2</c:v>
                </c:pt>
                <c:pt idx="1028">
                  <c:v>-6.3119286144413422E-2</c:v>
                </c:pt>
                <c:pt idx="1029">
                  <c:v>-6.6787102425138301E-2</c:v>
                </c:pt>
                <c:pt idx="1030">
                  <c:v>-6.5495451108852354E-2</c:v>
                </c:pt>
                <c:pt idx="1031">
                  <c:v>-6.5749934529701459E-2</c:v>
                </c:pt>
                <c:pt idx="1032">
                  <c:v>-7.3299362755759656E-2</c:v>
                </c:pt>
                <c:pt idx="1033">
                  <c:v>-7.4991233637973775E-2</c:v>
                </c:pt>
                <c:pt idx="1034">
                  <c:v>-9.0556149843389222E-2</c:v>
                </c:pt>
                <c:pt idx="1035">
                  <c:v>-9.1146492197567985E-2</c:v>
                </c:pt>
                <c:pt idx="1036">
                  <c:v>-9.5599952062425442E-2</c:v>
                </c:pt>
                <c:pt idx="1037">
                  <c:v>-9.1341793427521911E-2</c:v>
                </c:pt>
                <c:pt idx="1038">
                  <c:v>-9.5015527927336252E-2</c:v>
                </c:pt>
                <c:pt idx="1039">
                  <c:v>-0.10285272955662195</c:v>
                </c:pt>
                <c:pt idx="1040">
                  <c:v>-0.10025980981802962</c:v>
                </c:pt>
                <c:pt idx="1041">
                  <c:v>-0.11406257628954297</c:v>
                </c:pt>
                <c:pt idx="1042">
                  <c:v>-0.11697877874589979</c:v>
                </c:pt>
                <c:pt idx="1043">
                  <c:v>-0.12650267281569638</c:v>
                </c:pt>
                <c:pt idx="1044">
                  <c:v>-0.12829071475811504</c:v>
                </c:pt>
                <c:pt idx="1045">
                  <c:v>-0.1399880747885347</c:v>
                </c:pt>
                <c:pt idx="1046">
                  <c:v>-0.1487551765922599</c:v>
                </c:pt>
                <c:pt idx="1047">
                  <c:v>-0.14176502007016045</c:v>
                </c:pt>
                <c:pt idx="1048">
                  <c:v>-0.13248673209257877</c:v>
                </c:pt>
                <c:pt idx="1049">
                  <c:v>-0.13053076068349523</c:v>
                </c:pt>
                <c:pt idx="1050">
                  <c:v>-0.13266427866526409</c:v>
                </c:pt>
                <c:pt idx="1051">
                  <c:v>-0.12607508148647917</c:v>
                </c:pt>
                <c:pt idx="1052">
                  <c:v>-0.13018232553460019</c:v>
                </c:pt>
                <c:pt idx="1053">
                  <c:v>-0.12247236561573893</c:v>
                </c:pt>
                <c:pt idx="1054">
                  <c:v>-0.11528912719584428</c:v>
                </c:pt>
                <c:pt idx="1055">
                  <c:v>-0.11666067446983863</c:v>
                </c:pt>
                <c:pt idx="1056">
                  <c:v>-0.12836321294196151</c:v>
                </c:pt>
                <c:pt idx="1057">
                  <c:v>-0.13512477825172853</c:v>
                </c:pt>
                <c:pt idx="1058">
                  <c:v>-0.13122911053605746</c:v>
                </c:pt>
                <c:pt idx="1059">
                  <c:v>-0.13220191779889601</c:v>
                </c:pt>
                <c:pt idx="1060">
                  <c:v>-0.13214051627584233</c:v>
                </c:pt>
                <c:pt idx="1061">
                  <c:v>-0.12736821235753748</c:v>
                </c:pt>
                <c:pt idx="1062">
                  <c:v>-0.12170669602103334</c:v>
                </c:pt>
                <c:pt idx="1063">
                  <c:v>-0.12431663063950804</c:v>
                </c:pt>
                <c:pt idx="1064">
                  <c:v>-0.12903641036339353</c:v>
                </c:pt>
                <c:pt idx="1065">
                  <c:v>-0.1257969251892721</c:v>
                </c:pt>
                <c:pt idx="1066">
                  <c:v>-0.12535971675403446</c:v>
                </c:pt>
                <c:pt idx="1067">
                  <c:v>-0.12638208910174753</c:v>
                </c:pt>
                <c:pt idx="1068">
                  <c:v>-0.13020821774311686</c:v>
                </c:pt>
                <c:pt idx="1069">
                  <c:v>-0.13018972330846212</c:v>
                </c:pt>
                <c:pt idx="1070">
                  <c:v>-0.1217828930918109</c:v>
                </c:pt>
                <c:pt idx="1071">
                  <c:v>-0.11718147774971555</c:v>
                </c:pt>
                <c:pt idx="1072">
                  <c:v>-0.12137157686508981</c:v>
                </c:pt>
                <c:pt idx="1073">
                  <c:v>-0.12857256994225297</c:v>
                </c:pt>
                <c:pt idx="1074">
                  <c:v>-0.14084547677912773</c:v>
                </c:pt>
                <c:pt idx="1075">
                  <c:v>-0.14827432129123708</c:v>
                </c:pt>
                <c:pt idx="1076">
                  <c:v>-0.15322047289529639</c:v>
                </c:pt>
                <c:pt idx="1077">
                  <c:v>-0.15005496545979391</c:v>
                </c:pt>
                <c:pt idx="1078">
                  <c:v>-0.15854908940801549</c:v>
                </c:pt>
                <c:pt idx="1079">
                  <c:v>-0.16623019800881522</c:v>
                </c:pt>
                <c:pt idx="1080">
                  <c:v>-0.17453345939139997</c:v>
                </c:pt>
                <c:pt idx="1081">
                  <c:v>-0.16162730311194762</c:v>
                </c:pt>
                <c:pt idx="1082">
                  <c:v>-0.16302474259445854</c:v>
                </c:pt>
                <c:pt idx="1083">
                  <c:v>-0.16730657410572014</c:v>
                </c:pt>
                <c:pt idx="1084">
                  <c:v>-0.1765175423411588</c:v>
                </c:pt>
                <c:pt idx="1085">
                  <c:v>-0.19389121425580624</c:v>
                </c:pt>
                <c:pt idx="1086">
                  <c:v>-0.17691332324276987</c:v>
                </c:pt>
                <c:pt idx="1087">
                  <c:v>-0.18048422868590386</c:v>
                </c:pt>
                <c:pt idx="1088">
                  <c:v>-0.17050241241405639</c:v>
                </c:pt>
                <c:pt idx="1089">
                  <c:v>-0.16949409583668085</c:v>
                </c:pt>
                <c:pt idx="1090">
                  <c:v>-0.16446804827491313</c:v>
                </c:pt>
                <c:pt idx="1091">
                  <c:v>-0.1602609342796566</c:v>
                </c:pt>
                <c:pt idx="1092">
                  <c:v>-0.16561100433657516</c:v>
                </c:pt>
                <c:pt idx="1093">
                  <c:v>-0.16823943338970448</c:v>
                </c:pt>
                <c:pt idx="1094">
                  <c:v>-0.16963983198176003</c:v>
                </c:pt>
                <c:pt idx="1095">
                  <c:v>-0.17179110462079761</c:v>
                </c:pt>
                <c:pt idx="1096">
                  <c:v>-0.15086428192028456</c:v>
                </c:pt>
                <c:pt idx="1097">
                  <c:v>-0.14554750184574461</c:v>
                </c:pt>
                <c:pt idx="1098">
                  <c:v>-0.14448962018349443</c:v>
                </c:pt>
                <c:pt idx="1099">
                  <c:v>-0.14533296640374982</c:v>
                </c:pt>
                <c:pt idx="1100">
                  <c:v>-0.14263795738586349</c:v>
                </c:pt>
                <c:pt idx="1101">
                  <c:v>-0.14671265122899224</c:v>
                </c:pt>
                <c:pt idx="1102">
                  <c:v>-0.15310210851350625</c:v>
                </c:pt>
                <c:pt idx="1103">
                  <c:v>-0.15185780294993634</c:v>
                </c:pt>
                <c:pt idx="1104">
                  <c:v>-0.16012111635366688</c:v>
                </c:pt>
                <c:pt idx="1105">
                  <c:v>-0.16555552103261095</c:v>
                </c:pt>
                <c:pt idx="1106">
                  <c:v>-0.16250763820151248</c:v>
                </c:pt>
                <c:pt idx="1107">
                  <c:v>-0.15427687500277432</c:v>
                </c:pt>
                <c:pt idx="1108">
                  <c:v>-0.153391361471506</c:v>
                </c:pt>
                <c:pt idx="1109">
                  <c:v>-0.14022554332950143</c:v>
                </c:pt>
                <c:pt idx="1110">
                  <c:v>-0.14282734039672784</c:v>
                </c:pt>
                <c:pt idx="1111">
                  <c:v>-0.1496295934627353</c:v>
                </c:pt>
                <c:pt idx="1112">
                  <c:v>-0.14467234519788308</c:v>
                </c:pt>
                <c:pt idx="1113">
                  <c:v>-0.13992149482377769</c:v>
                </c:pt>
                <c:pt idx="1114">
                  <c:v>-0.13190452728964808</c:v>
                </c:pt>
                <c:pt idx="1115">
                  <c:v>-0.12984794615604278</c:v>
                </c:pt>
                <c:pt idx="1116">
                  <c:v>-0.1309420769102162</c:v>
                </c:pt>
                <c:pt idx="1117">
                  <c:v>-0.13031844457365893</c:v>
                </c:pt>
                <c:pt idx="1118">
                  <c:v>-0.1230005666694779</c:v>
                </c:pt>
                <c:pt idx="1119">
                  <c:v>-0.11583730223901034</c:v>
                </c:pt>
                <c:pt idx="1120">
                  <c:v>-0.11836290223545931</c:v>
                </c:pt>
                <c:pt idx="1121">
                  <c:v>-0.11725249637878976</c:v>
                </c:pt>
                <c:pt idx="1122">
                  <c:v>-0.117609808856319</c:v>
                </c:pt>
                <c:pt idx="1123">
                  <c:v>-0.11559983369804372</c:v>
                </c:pt>
                <c:pt idx="1124">
                  <c:v>-0.12165935026831731</c:v>
                </c:pt>
                <c:pt idx="1125">
                  <c:v>-0.12005477311767354</c:v>
                </c:pt>
                <c:pt idx="1126">
                  <c:v>-0.11993640873588318</c:v>
                </c:pt>
                <c:pt idx="1127">
                  <c:v>-0.11671393844164424</c:v>
                </c:pt>
                <c:pt idx="1128">
                  <c:v>-0.11130690552598921</c:v>
                </c:pt>
                <c:pt idx="1129">
                  <c:v>-0.10870436868137645</c:v>
                </c:pt>
                <c:pt idx="1130">
                  <c:v>-0.10576597290343392</c:v>
                </c:pt>
                <c:pt idx="1131">
                  <c:v>-0.11485783697969609</c:v>
                </c:pt>
                <c:pt idx="1132">
                  <c:v>-0.12695985524036113</c:v>
                </c:pt>
                <c:pt idx="1133">
                  <c:v>-0.12385870843745705</c:v>
                </c:pt>
                <c:pt idx="1134">
                  <c:v>-0.13179356068171966</c:v>
                </c:pt>
                <c:pt idx="1135">
                  <c:v>-0.1345152016855089</c:v>
                </c:pt>
                <c:pt idx="1136">
                  <c:v>-0.13228551264353539</c:v>
                </c:pt>
                <c:pt idx="1137">
                  <c:v>-0.12763157310702067</c:v>
                </c:pt>
                <c:pt idx="1138">
                  <c:v>-0.12215574089445003</c:v>
                </c:pt>
                <c:pt idx="1139">
                  <c:v>-0.11882600287921363</c:v>
                </c:pt>
                <c:pt idx="1140">
                  <c:v>-0.1221217111346854</c:v>
                </c:pt>
                <c:pt idx="1141">
                  <c:v>-0.12362715811557989</c:v>
                </c:pt>
                <c:pt idx="1142">
                  <c:v>-0.12321140322454172</c:v>
                </c:pt>
                <c:pt idx="1143">
                  <c:v>-0.12275126169033213</c:v>
                </c:pt>
                <c:pt idx="1144">
                  <c:v>-0.13776060507871979</c:v>
                </c:pt>
                <c:pt idx="1145">
                  <c:v>-0.14209126189746979</c:v>
                </c:pt>
                <c:pt idx="1146">
                  <c:v>-0.13954938679852469</c:v>
                </c:pt>
                <c:pt idx="1147">
                  <c:v>-0.1481152691532065</c:v>
                </c:pt>
                <c:pt idx="1148">
                  <c:v>-0.14631243166306396</c:v>
                </c:pt>
                <c:pt idx="1149">
                  <c:v>-0.13838349763789082</c:v>
                </c:pt>
                <c:pt idx="1150">
                  <c:v>-0.13882884362437664</c:v>
                </c:pt>
                <c:pt idx="1151">
                  <c:v>-0.13995996324785942</c:v>
                </c:pt>
                <c:pt idx="1152">
                  <c:v>-0.14533370618113606</c:v>
                </c:pt>
                <c:pt idx="1153">
                  <c:v>-0.14784451062986137</c:v>
                </c:pt>
                <c:pt idx="1154">
                  <c:v>-0.1601788189897897</c:v>
                </c:pt>
                <c:pt idx="1155">
                  <c:v>-0.15743202555487001</c:v>
                </c:pt>
                <c:pt idx="1156">
                  <c:v>-0.1630439768064994</c:v>
                </c:pt>
                <c:pt idx="1157">
                  <c:v>-0.15898259895632216</c:v>
                </c:pt>
                <c:pt idx="1158">
                  <c:v>-0.17493367895732825</c:v>
                </c:pt>
                <c:pt idx="1159">
                  <c:v>-0.17834479248504553</c:v>
                </c:pt>
                <c:pt idx="1160">
                  <c:v>-0.17752807825069294</c:v>
                </c:pt>
                <c:pt idx="1161">
                  <c:v>-0.1804694331381802</c:v>
                </c:pt>
                <c:pt idx="1162">
                  <c:v>-0.19167114231985316</c:v>
                </c:pt>
                <c:pt idx="1163">
                  <c:v>-0.18599261110346688</c:v>
                </c:pt>
                <c:pt idx="1164">
                  <c:v>-0.18788126277040718</c:v>
                </c:pt>
                <c:pt idx="1165">
                  <c:v>-0.18760680536013108</c:v>
                </c:pt>
                <c:pt idx="1166">
                  <c:v>-0.18834362363677526</c:v>
                </c:pt>
                <c:pt idx="1167">
                  <c:v>-0.19187088221412418</c:v>
                </c:pt>
                <c:pt idx="1168">
                  <c:v>-0.19488103639852705</c:v>
                </c:pt>
                <c:pt idx="1169">
                  <c:v>-0.20519797182631805</c:v>
                </c:pt>
                <c:pt idx="1170">
                  <c:v>-0.20578757440311068</c:v>
                </c:pt>
                <c:pt idx="1171">
                  <c:v>-0.21587591861856936</c:v>
                </c:pt>
                <c:pt idx="1172">
                  <c:v>-0.20521646626097279</c:v>
                </c:pt>
                <c:pt idx="1173">
                  <c:v>-0.19825146217000389</c:v>
                </c:pt>
                <c:pt idx="1174">
                  <c:v>-0.19706855812948776</c:v>
                </c:pt>
                <c:pt idx="1175">
                  <c:v>-0.1938771584854686</c:v>
                </c:pt>
                <c:pt idx="1176">
                  <c:v>-0.18879784695189528</c:v>
                </c:pt>
                <c:pt idx="1177">
                  <c:v>-0.18074537010322866</c:v>
                </c:pt>
                <c:pt idx="1178">
                  <c:v>-0.18733826616894456</c:v>
                </c:pt>
                <c:pt idx="1179">
                  <c:v>-0.19010651314806359</c:v>
                </c:pt>
                <c:pt idx="1180">
                  <c:v>-0.19766185959321125</c:v>
                </c:pt>
                <c:pt idx="1181">
                  <c:v>-0.18967670248668778</c:v>
                </c:pt>
                <c:pt idx="1182">
                  <c:v>-0.17907717209737251</c:v>
                </c:pt>
                <c:pt idx="1183">
                  <c:v>-0.18405291479687935</c:v>
                </c:pt>
                <c:pt idx="1184">
                  <c:v>-0.18942295884322491</c:v>
                </c:pt>
                <c:pt idx="1185">
                  <c:v>-0.1962392676795699</c:v>
                </c:pt>
                <c:pt idx="1186">
                  <c:v>-0.18262292510937617</c:v>
                </c:pt>
                <c:pt idx="1187">
                  <c:v>-0.17637254597346563</c:v>
                </c:pt>
                <c:pt idx="1188">
                  <c:v>-0.1810649539340623</c:v>
                </c:pt>
                <c:pt idx="1189">
                  <c:v>-0.16617545448223725</c:v>
                </c:pt>
                <c:pt idx="1190">
                  <c:v>-0.1600885661486745</c:v>
                </c:pt>
                <c:pt idx="1191">
                  <c:v>-0.16141572677949756</c:v>
                </c:pt>
                <c:pt idx="1192">
                  <c:v>-0.16636853638003257</c:v>
                </c:pt>
                <c:pt idx="1193">
                  <c:v>-0.16540016778151123</c:v>
                </c:pt>
                <c:pt idx="1194">
                  <c:v>-0.15861049093106905</c:v>
                </c:pt>
                <c:pt idx="1195">
                  <c:v>-0.16238557493279127</c:v>
                </c:pt>
                <c:pt idx="1196">
                  <c:v>-0.17207148025016328</c:v>
                </c:pt>
                <c:pt idx="1197">
                  <c:v>-0.16885788728455831</c:v>
                </c:pt>
                <c:pt idx="1198">
                  <c:v>-0.17345930262665366</c:v>
                </c:pt>
                <c:pt idx="1199">
                  <c:v>-0.16638481148252871</c:v>
                </c:pt>
                <c:pt idx="1200">
                  <c:v>-0.17027382120172396</c:v>
                </c:pt>
                <c:pt idx="1201">
                  <c:v>-0.1651205319295318</c:v>
                </c:pt>
                <c:pt idx="1202">
                  <c:v>-0.16526108963290775</c:v>
                </c:pt>
                <c:pt idx="1203">
                  <c:v>-0.15768059075662955</c:v>
                </c:pt>
                <c:pt idx="1204">
                  <c:v>-0.15856758384267011</c:v>
                </c:pt>
                <c:pt idx="1205">
                  <c:v>-0.15681505121478845</c:v>
                </c:pt>
                <c:pt idx="1206">
                  <c:v>-0.15804604078540685</c:v>
                </c:pt>
                <c:pt idx="1207">
                  <c:v>-0.15954704910198425</c:v>
                </c:pt>
                <c:pt idx="1208">
                  <c:v>-0.17222609372387665</c:v>
                </c:pt>
                <c:pt idx="1209">
                  <c:v>-0.17317300877819852</c:v>
                </c:pt>
                <c:pt idx="1210">
                  <c:v>-0.15887015279362138</c:v>
                </c:pt>
                <c:pt idx="1211">
                  <c:v>-0.16983587298910008</c:v>
                </c:pt>
                <c:pt idx="1212">
                  <c:v>-0.16738573028604231</c:v>
                </c:pt>
                <c:pt idx="1213">
                  <c:v>-0.16252761219093959</c:v>
                </c:pt>
                <c:pt idx="1214">
                  <c:v>-0.16427940504143501</c:v>
                </c:pt>
                <c:pt idx="1215">
                  <c:v>-0.18456188163857734</c:v>
                </c:pt>
                <c:pt idx="1216">
                  <c:v>-0.18611985281389121</c:v>
                </c:pt>
                <c:pt idx="1217">
                  <c:v>-0.20671747457755019</c:v>
                </c:pt>
                <c:pt idx="1218">
                  <c:v>-0.20228398870211983</c:v>
                </c:pt>
                <c:pt idx="1219">
                  <c:v>-0.17236369231770776</c:v>
                </c:pt>
                <c:pt idx="1220">
                  <c:v>-0.189595326974207</c:v>
                </c:pt>
                <c:pt idx="1221">
                  <c:v>-0.19923388653886276</c:v>
                </c:pt>
                <c:pt idx="1222">
                  <c:v>-0.19854071512800375</c:v>
                </c:pt>
                <c:pt idx="1223">
                  <c:v>-0.19216753294598599</c:v>
                </c:pt>
                <c:pt idx="1224">
                  <c:v>-0.19326536258709037</c:v>
                </c:pt>
                <c:pt idx="1225">
                  <c:v>-0.22524963787896946</c:v>
                </c:pt>
                <c:pt idx="1226">
                  <c:v>-0.20350240205717307</c:v>
                </c:pt>
                <c:pt idx="1227">
                  <c:v>-0.19950760417175273</c:v>
                </c:pt>
                <c:pt idx="1228">
                  <c:v>-0.2117080128247808</c:v>
                </c:pt>
                <c:pt idx="1229">
                  <c:v>-0.21386002524120451</c:v>
                </c:pt>
                <c:pt idx="1230">
                  <c:v>-0.23202008051737077</c:v>
                </c:pt>
                <c:pt idx="1231">
                  <c:v>-0.25603251469567778</c:v>
                </c:pt>
                <c:pt idx="1232">
                  <c:v>-0.2742243803994503</c:v>
                </c:pt>
                <c:pt idx="1233">
                  <c:v>-0.2984535693519107</c:v>
                </c:pt>
                <c:pt idx="1234">
                  <c:v>-0.31799035034377465</c:v>
                </c:pt>
                <c:pt idx="1235">
                  <c:v>-0.27557225479708647</c:v>
                </c:pt>
                <c:pt idx="1236">
                  <c:v>-0.26326309886828858</c:v>
                </c:pt>
                <c:pt idx="1237">
                  <c:v>-0.29739346835750191</c:v>
                </c:pt>
                <c:pt idx="1238">
                  <c:v>-0.2972825017495736</c:v>
                </c:pt>
                <c:pt idx="1239">
                  <c:v>-0.29241698588060883</c:v>
                </c:pt>
                <c:pt idx="1240">
                  <c:v>-0.26658174022273218</c:v>
                </c:pt>
                <c:pt idx="1241">
                  <c:v>-0.27088132639126239</c:v>
                </c:pt>
                <c:pt idx="1242">
                  <c:v>-0.29230971815961149</c:v>
                </c:pt>
                <c:pt idx="1243">
                  <c:v>-0.292139569360788</c:v>
                </c:pt>
                <c:pt idx="1244">
                  <c:v>-0.30773407666165098</c:v>
                </c:pt>
                <c:pt idx="1245">
                  <c:v>-0.31820488578576944</c:v>
                </c:pt>
                <c:pt idx="1246">
                  <c:v>-0.28590324599521522</c:v>
                </c:pt>
                <c:pt idx="1247">
                  <c:v>-0.28350932637350779</c:v>
                </c:pt>
                <c:pt idx="1248">
                  <c:v>-0.26729636517779076</c:v>
                </c:pt>
                <c:pt idx="1249">
                  <c:v>-0.26008131633028997</c:v>
                </c:pt>
                <c:pt idx="1250">
                  <c:v>-0.25819932265982526</c:v>
                </c:pt>
                <c:pt idx="1251">
                  <c:v>-0.24258262203737657</c:v>
                </c:pt>
                <c:pt idx="1252">
                  <c:v>-0.25848191762134942</c:v>
                </c:pt>
                <c:pt idx="1253">
                  <c:v>-0.2781984645180573</c:v>
                </c:pt>
                <c:pt idx="1254">
                  <c:v>-0.27061796564177909</c:v>
                </c:pt>
                <c:pt idx="1255">
                  <c:v>-0.27136662035660231</c:v>
                </c:pt>
                <c:pt idx="1256">
                  <c:v>-0.27985704541789291</c:v>
                </c:pt>
                <c:pt idx="1257">
                  <c:v>-0.29857859173017653</c:v>
                </c:pt>
                <c:pt idx="1258">
                  <c:v>-0.28747823205041134</c:v>
                </c:pt>
                <c:pt idx="1259">
                  <c:v>-0.29885970713692844</c:v>
                </c:pt>
                <c:pt idx="1260">
                  <c:v>-0.30936158691126669</c:v>
                </c:pt>
                <c:pt idx="1261">
                  <c:v>-0.30800779429454095</c:v>
                </c:pt>
                <c:pt idx="1262">
                  <c:v>-0.32965442039181569</c:v>
                </c:pt>
                <c:pt idx="1263">
                  <c:v>-0.35323186546704366</c:v>
                </c:pt>
                <c:pt idx="1264">
                  <c:v>-0.34044259401460919</c:v>
                </c:pt>
                <c:pt idx="1265">
                  <c:v>-0.32082517728765059</c:v>
                </c:pt>
                <c:pt idx="1266">
                  <c:v>-0.31856145848591244</c:v>
                </c:pt>
                <c:pt idx="1267">
                  <c:v>-0.30689590888309892</c:v>
                </c:pt>
                <c:pt idx="1268">
                  <c:v>-0.30296103296595989</c:v>
                </c:pt>
                <c:pt idx="1269">
                  <c:v>-0.29083534182893689</c:v>
                </c:pt>
                <c:pt idx="1270">
                  <c:v>-0.32115363844711853</c:v>
                </c:pt>
                <c:pt idx="1271">
                  <c:v>-0.31634138654995936</c:v>
                </c:pt>
                <c:pt idx="1272">
                  <c:v>-0.30782284994799369</c:v>
                </c:pt>
                <c:pt idx="1273">
                  <c:v>-0.32044641126592188</c:v>
                </c:pt>
                <c:pt idx="1274">
                  <c:v>-0.31448010664630799</c:v>
                </c:pt>
                <c:pt idx="1275">
                  <c:v>-0.30017429155218611</c:v>
                </c:pt>
                <c:pt idx="1276">
                  <c:v>-0.30172930361795525</c:v>
                </c:pt>
                <c:pt idx="1277">
                  <c:v>-0.29771083285617694</c:v>
                </c:pt>
                <c:pt idx="1278">
                  <c:v>-0.31075162861991568</c:v>
                </c:pt>
                <c:pt idx="1279">
                  <c:v>-0.32065058982451011</c:v>
                </c:pt>
                <c:pt idx="1280">
                  <c:v>-0.3262625410761395</c:v>
                </c:pt>
                <c:pt idx="1281">
                  <c:v>-0.31568816311795467</c:v>
                </c:pt>
                <c:pt idx="1282">
                  <c:v>-0.32770658653398033</c:v>
                </c:pt>
                <c:pt idx="1283">
                  <c:v>-0.33878993133386304</c:v>
                </c:pt>
                <c:pt idx="1284">
                  <c:v>-0.32773247874249678</c:v>
                </c:pt>
                <c:pt idx="1285">
                  <c:v>-0.33335034821321563</c:v>
                </c:pt>
                <c:pt idx="1286">
                  <c:v>-0.33739175207396588</c:v>
                </c:pt>
                <c:pt idx="1287">
                  <c:v>-0.33873296847512657</c:v>
                </c:pt>
                <c:pt idx="1288">
                  <c:v>-0.33806642905017026</c:v>
                </c:pt>
                <c:pt idx="1289">
                  <c:v>-0.33808344393005263</c:v>
                </c:pt>
                <c:pt idx="1290">
                  <c:v>-0.33929519928863006</c:v>
                </c:pt>
                <c:pt idx="1291">
                  <c:v>-0.32974023456861357</c:v>
                </c:pt>
                <c:pt idx="1292">
                  <c:v>-0.31880336569119627</c:v>
                </c:pt>
                <c:pt idx="1293">
                  <c:v>-0.31880336569119627</c:v>
                </c:pt>
                <c:pt idx="1294">
                  <c:v>-0.30619829880792271</c:v>
                </c:pt>
                <c:pt idx="1295">
                  <c:v>-0.29632005137014172</c:v>
                </c:pt>
                <c:pt idx="1296">
                  <c:v>-0.28591212332384941</c:v>
                </c:pt>
                <c:pt idx="1297">
                  <c:v>-0.29951958856540895</c:v>
                </c:pt>
                <c:pt idx="1298">
                  <c:v>-0.30148073841619583</c:v>
                </c:pt>
                <c:pt idx="1299">
                  <c:v>-0.3024764787780061</c:v>
                </c:pt>
                <c:pt idx="1300">
                  <c:v>-0.30823268661994241</c:v>
                </c:pt>
                <c:pt idx="1301">
                  <c:v>-0.30916184701699567</c:v>
                </c:pt>
                <c:pt idx="1302">
                  <c:v>-0.32301787746031463</c:v>
                </c:pt>
                <c:pt idx="1303">
                  <c:v>-0.32465352526117852</c:v>
                </c:pt>
                <c:pt idx="1304">
                  <c:v>-0.32459434307028334</c:v>
                </c:pt>
                <c:pt idx="1305">
                  <c:v>-0.32447006046940363</c:v>
                </c:pt>
                <c:pt idx="1306">
                  <c:v>-0.33651881475826295</c:v>
                </c:pt>
                <c:pt idx="1307">
                  <c:v>-0.3260302509768761</c:v>
                </c:pt>
                <c:pt idx="1308">
                  <c:v>-0.33434386924286752</c:v>
                </c:pt>
                <c:pt idx="1309">
                  <c:v>-0.33135738793482272</c:v>
                </c:pt>
                <c:pt idx="1310">
                  <c:v>-0.33395030767341494</c:v>
                </c:pt>
                <c:pt idx="1311">
                  <c:v>-0.32662503199537196</c:v>
                </c:pt>
                <c:pt idx="1312">
                  <c:v>-0.31494394706744855</c:v>
                </c:pt>
                <c:pt idx="1313">
                  <c:v>-0.32147988027442786</c:v>
                </c:pt>
                <c:pt idx="1314">
                  <c:v>-0.32347284055282088</c:v>
                </c:pt>
                <c:pt idx="1315">
                  <c:v>-0.32796550861914642</c:v>
                </c:pt>
                <c:pt idx="1316">
                  <c:v>-0.32613677892048731</c:v>
                </c:pt>
                <c:pt idx="1317">
                  <c:v>-0.31988492022980441</c:v>
                </c:pt>
                <c:pt idx="1318">
                  <c:v>-0.31547954589504923</c:v>
                </c:pt>
                <c:pt idx="1319">
                  <c:v>-0.30600151802319642</c:v>
                </c:pt>
                <c:pt idx="1320">
                  <c:v>-0.31076568439025332</c:v>
                </c:pt>
                <c:pt idx="1321">
                  <c:v>-0.3260369089733518</c:v>
                </c:pt>
                <c:pt idx="1322">
                  <c:v>-0.3211062926944025</c:v>
                </c:pt>
                <c:pt idx="1323">
                  <c:v>-0.32090137435842803</c:v>
                </c:pt>
                <c:pt idx="1324">
                  <c:v>-0.32716137060035899</c:v>
                </c:pt>
                <c:pt idx="1325">
                  <c:v>-0.32563964851696825</c:v>
                </c:pt>
                <c:pt idx="1326">
                  <c:v>-0.33694788564225253</c:v>
                </c:pt>
                <c:pt idx="1327">
                  <c:v>-0.33897561545779642</c:v>
                </c:pt>
                <c:pt idx="1328">
                  <c:v>-0.34604270882805954</c:v>
                </c:pt>
                <c:pt idx="1329">
                  <c:v>-0.35168795006206732</c:v>
                </c:pt>
                <c:pt idx="1330">
                  <c:v>-0.36570229286603084</c:v>
                </c:pt>
                <c:pt idx="1331">
                  <c:v>-0.35988912216535807</c:v>
                </c:pt>
                <c:pt idx="1332">
                  <c:v>-0.36006149029634005</c:v>
                </c:pt>
                <c:pt idx="1333">
                  <c:v>-0.36356211688778617</c:v>
                </c:pt>
                <c:pt idx="1334">
                  <c:v>-0.36769229403487902</c:v>
                </c:pt>
                <c:pt idx="1335">
                  <c:v>-0.38518137122177198</c:v>
                </c:pt>
                <c:pt idx="1336">
                  <c:v>-0.39028509540908951</c:v>
                </c:pt>
                <c:pt idx="1337">
                  <c:v>-0.38022856162123697</c:v>
                </c:pt>
                <c:pt idx="1338">
                  <c:v>-0.3917106464322756</c:v>
                </c:pt>
                <c:pt idx="1339">
                  <c:v>-0.39718721842223248</c:v>
                </c:pt>
                <c:pt idx="1340">
                  <c:v>-0.40290347828531448</c:v>
                </c:pt>
                <c:pt idx="1341">
                  <c:v>-0.38479742675833994</c:v>
                </c:pt>
                <c:pt idx="1342">
                  <c:v>-0.38181908300154321</c:v>
                </c:pt>
                <c:pt idx="1343">
                  <c:v>-0.37284410375229882</c:v>
                </c:pt>
                <c:pt idx="1344">
                  <c:v>-0.37051602431796238</c:v>
                </c:pt>
                <c:pt idx="1345">
                  <c:v>-0.36901945466570207</c:v>
                </c:pt>
                <c:pt idx="1346">
                  <c:v>-0.36042989943466208</c:v>
                </c:pt>
                <c:pt idx="1347">
                  <c:v>-0.35886453048548639</c:v>
                </c:pt>
                <c:pt idx="1348">
                  <c:v>-0.36993160018287297</c:v>
                </c:pt>
                <c:pt idx="1349">
                  <c:v>-0.37251712214760346</c:v>
                </c:pt>
                <c:pt idx="1350">
                  <c:v>-0.35125296095898828</c:v>
                </c:pt>
                <c:pt idx="1351">
                  <c:v>-0.35372825609317649</c:v>
                </c:pt>
                <c:pt idx="1352">
                  <c:v>-0.35012849933198098</c:v>
                </c:pt>
                <c:pt idx="1353">
                  <c:v>-0.34366950297316534</c:v>
                </c:pt>
                <c:pt idx="1354">
                  <c:v>-0.34357481146773317</c:v>
                </c:pt>
                <c:pt idx="1355">
                  <c:v>-0.35705133611193718</c:v>
                </c:pt>
                <c:pt idx="1356">
                  <c:v>-0.35407003324559583</c:v>
                </c:pt>
                <c:pt idx="1357">
                  <c:v>-0.34549379400750735</c:v>
                </c:pt>
                <c:pt idx="1358">
                  <c:v>-0.33464051997472921</c:v>
                </c:pt>
                <c:pt idx="1359">
                  <c:v>-0.33185525811572791</c:v>
                </c:pt>
                <c:pt idx="1360">
                  <c:v>-0.33410566092451466</c:v>
                </c:pt>
                <c:pt idx="1361">
                  <c:v>-0.33825951094796558</c:v>
                </c:pt>
                <c:pt idx="1362">
                  <c:v>-0.33482028587957313</c:v>
                </c:pt>
                <c:pt idx="1363">
                  <c:v>-0.31983535514492978</c:v>
                </c:pt>
                <c:pt idx="1364">
                  <c:v>-0.31948026199955915</c:v>
                </c:pt>
                <c:pt idx="1365">
                  <c:v>-0.32103009562362506</c:v>
                </c:pt>
                <c:pt idx="1366">
                  <c:v>-0.32081408062685779</c:v>
                </c:pt>
                <c:pt idx="1367">
                  <c:v>-0.31643237916846068</c:v>
                </c:pt>
                <c:pt idx="1368">
                  <c:v>-0.31119253594208429</c:v>
                </c:pt>
                <c:pt idx="1369">
                  <c:v>-0.30325916325259406</c:v>
                </c:pt>
                <c:pt idx="1370">
                  <c:v>-0.31475160494703935</c:v>
                </c:pt>
                <c:pt idx="1371">
                  <c:v>-0.31302052586335727</c:v>
                </c:pt>
                <c:pt idx="1372">
                  <c:v>-0.31495430395085511</c:v>
                </c:pt>
                <c:pt idx="1373">
                  <c:v>-0.31137230184692821</c:v>
                </c:pt>
                <c:pt idx="1374">
                  <c:v>-0.30869134859937952</c:v>
                </c:pt>
                <c:pt idx="1375">
                  <c:v>-0.30744926236796821</c:v>
                </c:pt>
                <c:pt idx="1376">
                  <c:v>-0.31089440565545012</c:v>
                </c:pt>
                <c:pt idx="1377">
                  <c:v>-0.30681897203493524</c:v>
                </c:pt>
                <c:pt idx="1378">
                  <c:v>-0.30294549764084988</c:v>
                </c:pt>
                <c:pt idx="1379">
                  <c:v>-0.30089631428110653</c:v>
                </c:pt>
                <c:pt idx="1380">
                  <c:v>-0.29020209238635908</c:v>
                </c:pt>
                <c:pt idx="1381">
                  <c:v>-0.28949338565039007</c:v>
                </c:pt>
                <c:pt idx="1382">
                  <c:v>-0.28104882678704335</c:v>
                </c:pt>
                <c:pt idx="1383">
                  <c:v>-0.28625242092149639</c:v>
                </c:pt>
                <c:pt idx="1384">
                  <c:v>-0.27780342339383235</c:v>
                </c:pt>
                <c:pt idx="1385">
                  <c:v>-0.2873221390219256</c:v>
                </c:pt>
                <c:pt idx="1386">
                  <c:v>-0.28993133386301395</c:v>
                </c:pt>
                <c:pt idx="1387">
                  <c:v>-0.29892998598861631</c:v>
                </c:pt>
                <c:pt idx="1388">
                  <c:v>-0.29807406355279575</c:v>
                </c:pt>
                <c:pt idx="1389">
                  <c:v>-0.29868216056424313</c:v>
                </c:pt>
                <c:pt idx="1390">
                  <c:v>-0.28557848372267813</c:v>
                </c:pt>
                <c:pt idx="1391">
                  <c:v>-0.28502143135087787</c:v>
                </c:pt>
                <c:pt idx="1392">
                  <c:v>-0.28735025056260077</c:v>
                </c:pt>
                <c:pt idx="1393">
                  <c:v>-0.2945616005231706</c:v>
                </c:pt>
                <c:pt idx="1394">
                  <c:v>-0.30161611767786844</c:v>
                </c:pt>
                <c:pt idx="1395">
                  <c:v>-0.30075723613250305</c:v>
                </c:pt>
                <c:pt idx="1396">
                  <c:v>-0.29244583719867023</c:v>
                </c:pt>
                <c:pt idx="1397">
                  <c:v>-0.29302730222421469</c:v>
                </c:pt>
                <c:pt idx="1398">
                  <c:v>-0.29221132776724834</c:v>
                </c:pt>
                <c:pt idx="1399">
                  <c:v>-0.29100475085037414</c:v>
                </c:pt>
                <c:pt idx="1400">
                  <c:v>-0.27957001179205165</c:v>
                </c:pt>
                <c:pt idx="1401">
                  <c:v>-0.28110135098146272</c:v>
                </c:pt>
                <c:pt idx="1402">
                  <c:v>-0.28492600006805957</c:v>
                </c:pt>
                <c:pt idx="1403">
                  <c:v>-0.2852145132486732</c:v>
                </c:pt>
                <c:pt idx="1404">
                  <c:v>-0.28060643991010226</c:v>
                </c:pt>
                <c:pt idx="1405">
                  <c:v>-0.2773196089832648</c:v>
                </c:pt>
                <c:pt idx="1406">
                  <c:v>-0.27881395930336639</c:v>
                </c:pt>
                <c:pt idx="1407">
                  <c:v>-0.27690089498268178</c:v>
                </c:pt>
                <c:pt idx="1408">
                  <c:v>-0.27454174489812522</c:v>
                </c:pt>
                <c:pt idx="1409">
                  <c:v>-0.27223955767230523</c:v>
                </c:pt>
                <c:pt idx="1410">
                  <c:v>-0.27926300417678318</c:v>
                </c:pt>
                <c:pt idx="1411">
                  <c:v>-0.28672291933911254</c:v>
                </c:pt>
                <c:pt idx="1412">
                  <c:v>-0.28925147844510635</c:v>
                </c:pt>
                <c:pt idx="1413">
                  <c:v>-0.29022724481748952</c:v>
                </c:pt>
                <c:pt idx="1414">
                  <c:v>-0.28484832344250977</c:v>
                </c:pt>
                <c:pt idx="1415">
                  <c:v>-0.29653828569906748</c:v>
                </c:pt>
                <c:pt idx="1416">
                  <c:v>-0.30203335212367899</c:v>
                </c:pt>
                <c:pt idx="1417">
                  <c:v>-0.29568162348586069</c:v>
                </c:pt>
                <c:pt idx="1418">
                  <c:v>-0.28777266345011465</c:v>
                </c:pt>
                <c:pt idx="1419">
                  <c:v>-0.29022428570794478</c:v>
                </c:pt>
                <c:pt idx="1420">
                  <c:v>-0.28638262174146556</c:v>
                </c:pt>
                <c:pt idx="1421">
                  <c:v>-0.28869960451500942</c:v>
                </c:pt>
                <c:pt idx="1422">
                  <c:v>-0.28802270820664655</c:v>
                </c:pt>
                <c:pt idx="1423">
                  <c:v>-0.2960182221965767</c:v>
                </c:pt>
                <c:pt idx="1424">
                  <c:v>-0.29682531932490885</c:v>
                </c:pt>
                <c:pt idx="1425">
                  <c:v>-0.29659007011610072</c:v>
                </c:pt>
                <c:pt idx="1426">
                  <c:v>-0.30578402347165701</c:v>
                </c:pt>
                <c:pt idx="1427">
                  <c:v>-0.30625748099881789</c:v>
                </c:pt>
                <c:pt idx="1428">
                  <c:v>-0.30652971907693549</c:v>
                </c:pt>
                <c:pt idx="1429">
                  <c:v>-0.30742928837854122</c:v>
                </c:pt>
                <c:pt idx="1430">
                  <c:v>-0.30092738493132654</c:v>
                </c:pt>
                <c:pt idx="1431">
                  <c:v>-0.29535908054548232</c:v>
                </c:pt>
                <c:pt idx="1432">
                  <c:v>-0.28649062923984914</c:v>
                </c:pt>
                <c:pt idx="1433">
                  <c:v>-0.28277990587072543</c:v>
                </c:pt>
                <c:pt idx="1434">
                  <c:v>-0.28212520288394827</c:v>
                </c:pt>
                <c:pt idx="1435">
                  <c:v>-0.27870669158236905</c:v>
                </c:pt>
                <c:pt idx="1436">
                  <c:v>-0.274246573721036</c:v>
                </c:pt>
                <c:pt idx="1437">
                  <c:v>-0.27360296739505152</c:v>
                </c:pt>
                <c:pt idx="1438">
                  <c:v>-0.26577242376224153</c:v>
                </c:pt>
                <c:pt idx="1439">
                  <c:v>-0.26225626184568551</c:v>
                </c:pt>
                <c:pt idx="1440">
                  <c:v>-0.26048597456053535</c:v>
                </c:pt>
                <c:pt idx="1441">
                  <c:v>-0.26023001158491399</c:v>
                </c:pt>
                <c:pt idx="1442">
                  <c:v>-0.25884810742751296</c:v>
                </c:pt>
                <c:pt idx="1443">
                  <c:v>-0.25110041886195611</c:v>
                </c:pt>
                <c:pt idx="1444">
                  <c:v>-0.25122766057238055</c:v>
                </c:pt>
                <c:pt idx="1445">
                  <c:v>-0.25139928892597641</c:v>
                </c:pt>
                <c:pt idx="1446">
                  <c:v>-0.2497562433512508</c:v>
                </c:pt>
                <c:pt idx="1447">
                  <c:v>-0.25141482425108641</c:v>
                </c:pt>
                <c:pt idx="1448">
                  <c:v>-0.25209098078206316</c:v>
                </c:pt>
                <c:pt idx="1449">
                  <c:v>-0.24525617751106343</c:v>
                </c:pt>
                <c:pt idx="1450">
                  <c:v>-0.24352731775953984</c:v>
                </c:pt>
                <c:pt idx="1451">
                  <c:v>-0.24822564393922586</c:v>
                </c:pt>
                <c:pt idx="1452">
                  <c:v>-0.24624821898594285</c:v>
                </c:pt>
                <c:pt idx="1453">
                  <c:v>-0.242795677924599</c:v>
                </c:pt>
                <c:pt idx="1454">
                  <c:v>-0.2434710946781895</c:v>
                </c:pt>
                <c:pt idx="1455">
                  <c:v>-0.25292544967368424</c:v>
                </c:pt>
                <c:pt idx="1456">
                  <c:v>-0.24885889338180356</c:v>
                </c:pt>
                <c:pt idx="1457">
                  <c:v>-0.24982208353862156</c:v>
                </c:pt>
                <c:pt idx="1458">
                  <c:v>-0.24457188342883862</c:v>
                </c:pt>
                <c:pt idx="1459">
                  <c:v>-0.23873947851612498</c:v>
                </c:pt>
                <c:pt idx="1460">
                  <c:v>-0.23538754717930288</c:v>
                </c:pt>
                <c:pt idx="1461">
                  <c:v>-0.23381108156933417</c:v>
                </c:pt>
                <c:pt idx="1462">
                  <c:v>-0.23224719217493084</c:v>
                </c:pt>
                <c:pt idx="1463">
                  <c:v>-0.23285602896376434</c:v>
                </c:pt>
                <c:pt idx="1464">
                  <c:v>-0.23420612269355912</c:v>
                </c:pt>
                <c:pt idx="1465">
                  <c:v>-0.23718520622774208</c:v>
                </c:pt>
                <c:pt idx="1466">
                  <c:v>-0.24496396544351873</c:v>
                </c:pt>
                <c:pt idx="1467">
                  <c:v>-0.24609582484438786</c:v>
                </c:pt>
                <c:pt idx="1468">
                  <c:v>-0.24454303211077721</c:v>
                </c:pt>
                <c:pt idx="1469">
                  <c:v>-0.23756767113640176</c:v>
                </c:pt>
                <c:pt idx="1470">
                  <c:v>-0.23671248847796733</c:v>
                </c:pt>
                <c:pt idx="1471">
                  <c:v>-0.23692628414257588</c:v>
                </c:pt>
                <c:pt idx="1472">
                  <c:v>-0.23588467758282183</c:v>
                </c:pt>
                <c:pt idx="1473">
                  <c:v>-0.23011441397054799</c:v>
                </c:pt>
                <c:pt idx="1474">
                  <c:v>-0.22947302697672223</c:v>
                </c:pt>
                <c:pt idx="1475">
                  <c:v>-0.2315910096333812</c:v>
                </c:pt>
                <c:pt idx="1476">
                  <c:v>-0.2295455251605687</c:v>
                </c:pt>
                <c:pt idx="1477">
                  <c:v>-0.22386625416679617</c:v>
                </c:pt>
                <c:pt idx="1478">
                  <c:v>-0.22430790126635103</c:v>
                </c:pt>
                <c:pt idx="1479">
                  <c:v>-0.22458013934446852</c:v>
                </c:pt>
                <c:pt idx="1480">
                  <c:v>-0.22611665697558303</c:v>
                </c:pt>
                <c:pt idx="1481">
                  <c:v>-0.22514384971274448</c:v>
                </c:pt>
                <c:pt idx="1482">
                  <c:v>-0.22694594742550078</c:v>
                </c:pt>
                <c:pt idx="1483">
                  <c:v>-0.2310576301379389</c:v>
                </c:pt>
                <c:pt idx="1484">
                  <c:v>-0.23407888098313456</c:v>
                </c:pt>
                <c:pt idx="1485">
                  <c:v>-0.2259568650601661</c:v>
                </c:pt>
                <c:pt idx="1486">
                  <c:v>-0.22379967420203917</c:v>
                </c:pt>
                <c:pt idx="1487">
                  <c:v>-0.22600716992242698</c:v>
                </c:pt>
                <c:pt idx="1488">
                  <c:v>-0.23578628719045869</c:v>
                </c:pt>
                <c:pt idx="1489">
                  <c:v>-0.24352805753692608</c:v>
                </c:pt>
                <c:pt idx="1490">
                  <c:v>-0.23937420751347505</c:v>
                </c:pt>
                <c:pt idx="1491">
                  <c:v>-0.23343157577021934</c:v>
                </c:pt>
                <c:pt idx="1492">
                  <c:v>-0.22966536909713131</c:v>
                </c:pt>
                <c:pt idx="1493">
                  <c:v>-0.22596722194357277</c:v>
                </c:pt>
                <c:pt idx="1494">
                  <c:v>-0.22550855996413566</c:v>
                </c:pt>
                <c:pt idx="1495">
                  <c:v>-0.22346677437825413</c:v>
                </c:pt>
                <c:pt idx="1496">
                  <c:v>-0.22603084279878505</c:v>
                </c:pt>
                <c:pt idx="1497">
                  <c:v>-0.21960217731280307</c:v>
                </c:pt>
                <c:pt idx="1498">
                  <c:v>-0.2192840730367418</c:v>
                </c:pt>
                <c:pt idx="1499">
                  <c:v>-0.22114831204993801</c:v>
                </c:pt>
                <c:pt idx="1500">
                  <c:v>-0.2168686998708349</c:v>
                </c:pt>
                <c:pt idx="1501">
                  <c:v>-0.21837340707434327</c:v>
                </c:pt>
                <c:pt idx="1502">
                  <c:v>-0.22273661409808565</c:v>
                </c:pt>
                <c:pt idx="1503">
                  <c:v>-0.22228904877944133</c:v>
                </c:pt>
                <c:pt idx="1504">
                  <c:v>-0.22790839780493266</c:v>
                </c:pt>
                <c:pt idx="1505">
                  <c:v>-0.23100584572090577</c:v>
                </c:pt>
                <c:pt idx="1506">
                  <c:v>-0.22995240272297257</c:v>
                </c:pt>
                <c:pt idx="1507">
                  <c:v>-0.23914931518807359</c:v>
                </c:pt>
                <c:pt idx="1508">
                  <c:v>-0.23290337471648037</c:v>
                </c:pt>
                <c:pt idx="1509">
                  <c:v>-0.23956507007911187</c:v>
                </c:pt>
                <c:pt idx="1510">
                  <c:v>-0.24111490370317767</c:v>
                </c:pt>
                <c:pt idx="1511">
                  <c:v>-0.23874095807089735</c:v>
                </c:pt>
                <c:pt idx="1512">
                  <c:v>-0.23916559029056983</c:v>
                </c:pt>
                <c:pt idx="1513">
                  <c:v>-0.23445024923100144</c:v>
                </c:pt>
                <c:pt idx="1514">
                  <c:v>-0.23176189820959081</c:v>
                </c:pt>
                <c:pt idx="1515">
                  <c:v>-0.22396242522700072</c:v>
                </c:pt>
                <c:pt idx="1516">
                  <c:v>-0.22303326482994734</c:v>
                </c:pt>
                <c:pt idx="1517">
                  <c:v>-0.22152855762643908</c:v>
                </c:pt>
                <c:pt idx="1518">
                  <c:v>-0.22229792610807564</c:v>
                </c:pt>
                <c:pt idx="1519">
                  <c:v>-0.21988551205171347</c:v>
                </c:pt>
                <c:pt idx="1520">
                  <c:v>-0.21437934896630917</c:v>
                </c:pt>
                <c:pt idx="1521">
                  <c:v>-0.21182341809702632</c:v>
                </c:pt>
                <c:pt idx="1522">
                  <c:v>-0.21608157673192985</c:v>
                </c:pt>
                <c:pt idx="1523">
                  <c:v>-0.22107729342086391</c:v>
                </c:pt>
                <c:pt idx="1524">
                  <c:v>-0.2238603359477066</c:v>
                </c:pt>
                <c:pt idx="1525">
                  <c:v>-0.21907989447815368</c:v>
                </c:pt>
                <c:pt idx="1526">
                  <c:v>-0.2201584899072172</c:v>
                </c:pt>
                <c:pt idx="1527">
                  <c:v>-0.219594039761555</c:v>
                </c:pt>
                <c:pt idx="1528">
                  <c:v>-0.22428940683169629</c:v>
                </c:pt>
                <c:pt idx="1529">
                  <c:v>-0.22822058386190425</c:v>
                </c:pt>
                <c:pt idx="1530">
                  <c:v>-0.22744159827424737</c:v>
                </c:pt>
                <c:pt idx="1531">
                  <c:v>-0.21978342277241947</c:v>
                </c:pt>
                <c:pt idx="1532">
                  <c:v>-0.21840817661149414</c:v>
                </c:pt>
                <c:pt idx="1533">
                  <c:v>-0.22058608123643442</c:v>
                </c:pt>
                <c:pt idx="1534">
                  <c:v>-0.21436529319597153</c:v>
                </c:pt>
                <c:pt idx="1535">
                  <c:v>-0.21283321422917423</c:v>
                </c:pt>
                <c:pt idx="1536">
                  <c:v>-0.21603275142444145</c:v>
                </c:pt>
                <c:pt idx="1537">
                  <c:v>-0.21815887163234837</c:v>
                </c:pt>
                <c:pt idx="1538">
                  <c:v>-0.21486982137335242</c:v>
                </c:pt>
                <c:pt idx="1539">
                  <c:v>-0.20999838728529818</c:v>
                </c:pt>
                <c:pt idx="1540">
                  <c:v>-0.20642896139693645</c:v>
                </c:pt>
                <c:pt idx="1541">
                  <c:v>-0.20684767539751936</c:v>
                </c:pt>
                <c:pt idx="1542">
                  <c:v>-0.20284621951562343</c:v>
                </c:pt>
                <c:pt idx="1543">
                  <c:v>-0.20381014944982756</c:v>
                </c:pt>
                <c:pt idx="1544">
                  <c:v>-0.20219743474793572</c:v>
                </c:pt>
                <c:pt idx="1545">
                  <c:v>-0.19846081917029534</c:v>
                </c:pt>
                <c:pt idx="1546">
                  <c:v>-0.19322097594391896</c:v>
                </c:pt>
                <c:pt idx="1547">
                  <c:v>-0.19373364167254792</c:v>
                </c:pt>
                <c:pt idx="1548">
                  <c:v>-0.19153058461647732</c:v>
                </c:pt>
                <c:pt idx="1549">
                  <c:v>-0.1918361126769732</c:v>
                </c:pt>
                <c:pt idx="1550">
                  <c:v>-0.19072940570723462</c:v>
                </c:pt>
                <c:pt idx="1551">
                  <c:v>-0.1908618258593624</c:v>
                </c:pt>
                <c:pt idx="1552">
                  <c:v>-0.18994968034219151</c:v>
                </c:pt>
                <c:pt idx="1553">
                  <c:v>-0.19270831021529011</c:v>
                </c:pt>
                <c:pt idx="1554">
                  <c:v>-0.19270831021529011</c:v>
                </c:pt>
                <c:pt idx="1555">
                  <c:v>-0.18582764074634672</c:v>
                </c:pt>
                <c:pt idx="1556">
                  <c:v>-0.18339673225532971</c:v>
                </c:pt>
                <c:pt idx="1557">
                  <c:v>-0.18220717021833799</c:v>
                </c:pt>
                <c:pt idx="1558">
                  <c:v>-0.17951068164567918</c:v>
                </c:pt>
                <c:pt idx="1559">
                  <c:v>-0.17713007801692315</c:v>
                </c:pt>
                <c:pt idx="1560">
                  <c:v>-0.1814415006236324</c:v>
                </c:pt>
                <c:pt idx="1561">
                  <c:v>-0.18503977783005554</c:v>
                </c:pt>
                <c:pt idx="1562">
                  <c:v>-0.1829291929472584</c:v>
                </c:pt>
                <c:pt idx="1563">
                  <c:v>-0.17877756225596597</c:v>
                </c:pt>
                <c:pt idx="1564">
                  <c:v>-0.17988426922570455</c:v>
                </c:pt>
                <c:pt idx="1565">
                  <c:v>-0.17941155147592991</c:v>
                </c:pt>
                <c:pt idx="1566">
                  <c:v>-0.17322775230477649</c:v>
                </c:pt>
                <c:pt idx="1567">
                  <c:v>-0.17517632593999821</c:v>
                </c:pt>
                <c:pt idx="1568">
                  <c:v>-0.18129354514639451</c:v>
                </c:pt>
                <c:pt idx="1569">
                  <c:v>-0.19280891993981175</c:v>
                </c:pt>
                <c:pt idx="1570">
                  <c:v>-0.19392080535125378</c:v>
                </c:pt>
                <c:pt idx="1571">
                  <c:v>-0.19277341062527464</c:v>
                </c:pt>
                <c:pt idx="1572">
                  <c:v>-0.19421523675095698</c:v>
                </c:pt>
                <c:pt idx="1573">
                  <c:v>-0.19684884424578963</c:v>
                </c:pt>
                <c:pt idx="1574">
                  <c:v>-0.19814049556207558</c:v>
                </c:pt>
                <c:pt idx="1575">
                  <c:v>-0.19299756317328998</c:v>
                </c:pt>
                <c:pt idx="1576">
                  <c:v>-0.18791899141710278</c:v>
                </c:pt>
                <c:pt idx="1577">
                  <c:v>-0.18932012978654467</c:v>
                </c:pt>
                <c:pt idx="1578">
                  <c:v>-0.19966517675501094</c:v>
                </c:pt>
                <c:pt idx="1579">
                  <c:v>-0.20061431114149142</c:v>
                </c:pt>
                <c:pt idx="1580">
                  <c:v>-0.20390262162310124</c:v>
                </c:pt>
                <c:pt idx="1581">
                  <c:v>-0.20034355261814618</c:v>
                </c:pt>
                <c:pt idx="1582">
                  <c:v>-0.19870790481728251</c:v>
                </c:pt>
                <c:pt idx="1583">
                  <c:v>-0.19145586710047224</c:v>
                </c:pt>
                <c:pt idx="1584">
                  <c:v>-0.1918361126769732</c:v>
                </c:pt>
                <c:pt idx="1585">
                  <c:v>-0.1915172686235258</c:v>
                </c:pt>
                <c:pt idx="1586">
                  <c:v>-0.18693804660301627</c:v>
                </c:pt>
                <c:pt idx="1587">
                  <c:v>-0.1799493696356893</c:v>
                </c:pt>
                <c:pt idx="1588">
                  <c:v>-0.17666105915407937</c:v>
                </c:pt>
                <c:pt idx="1589">
                  <c:v>-0.17399120256732348</c:v>
                </c:pt>
                <c:pt idx="1590">
                  <c:v>-0.17402523232708822</c:v>
                </c:pt>
                <c:pt idx="1591">
                  <c:v>-0.17835366981367973</c:v>
                </c:pt>
                <c:pt idx="1592">
                  <c:v>-0.17796010824422714</c:v>
                </c:pt>
                <c:pt idx="1593">
                  <c:v>-0.17928800865243644</c:v>
                </c:pt>
                <c:pt idx="1594">
                  <c:v>-0.17943300502012938</c:v>
                </c:pt>
                <c:pt idx="1595">
                  <c:v>-0.168711411362093</c:v>
                </c:pt>
                <c:pt idx="1596">
                  <c:v>-0.16771271189073789</c:v>
                </c:pt>
                <c:pt idx="1597">
                  <c:v>-0.16914640046517204</c:v>
                </c:pt>
                <c:pt idx="1598">
                  <c:v>-0.16618507158825768</c:v>
                </c:pt>
                <c:pt idx="1599">
                  <c:v>-0.15891823832372365</c:v>
                </c:pt>
                <c:pt idx="1600">
                  <c:v>-0.15844700012872137</c:v>
                </c:pt>
                <c:pt idx="1601">
                  <c:v>-0.15550194635430314</c:v>
                </c:pt>
                <c:pt idx="1602">
                  <c:v>-0.15623062707969926</c:v>
                </c:pt>
                <c:pt idx="1603">
                  <c:v>-0.15540503551671236</c:v>
                </c:pt>
                <c:pt idx="1604">
                  <c:v>-0.15628167171934637</c:v>
                </c:pt>
                <c:pt idx="1605">
                  <c:v>-0.15435899029264122</c:v>
                </c:pt>
                <c:pt idx="1606">
                  <c:v>-0.15307473675021721</c:v>
                </c:pt>
                <c:pt idx="1607">
                  <c:v>-0.14776387489476672</c:v>
                </c:pt>
                <c:pt idx="1608">
                  <c:v>-0.1451687358240159</c:v>
                </c:pt>
                <c:pt idx="1609">
                  <c:v>-0.14469009985515169</c:v>
                </c:pt>
                <c:pt idx="1610">
                  <c:v>-0.14303965650656414</c:v>
                </c:pt>
                <c:pt idx="1611">
                  <c:v>-0.13950426037796704</c:v>
                </c:pt>
                <c:pt idx="1612">
                  <c:v>-0.13678853759326748</c:v>
                </c:pt>
                <c:pt idx="1613">
                  <c:v>-0.13602138844378953</c:v>
                </c:pt>
                <c:pt idx="1614">
                  <c:v>-0.1373315341947301</c:v>
                </c:pt>
                <c:pt idx="1615">
                  <c:v>-0.13608352974422933</c:v>
                </c:pt>
                <c:pt idx="1616">
                  <c:v>-0.13375988897420987</c:v>
                </c:pt>
                <c:pt idx="1617">
                  <c:v>-0.13877262054302619</c:v>
                </c:pt>
                <c:pt idx="1618">
                  <c:v>-0.13316658751048649</c:v>
                </c:pt>
                <c:pt idx="1619">
                  <c:v>-0.13305266179301334</c:v>
                </c:pt>
                <c:pt idx="1620">
                  <c:v>-0.12931530643798672</c:v>
                </c:pt>
                <c:pt idx="1621">
                  <c:v>-0.12397115460015773</c:v>
                </c:pt>
                <c:pt idx="1622">
                  <c:v>-0.1236493514371656</c:v>
                </c:pt>
                <c:pt idx="1623">
                  <c:v>-0.1251725530753286</c:v>
                </c:pt>
                <c:pt idx="1624">
                  <c:v>-0.12374922138430111</c:v>
                </c:pt>
                <c:pt idx="1625">
                  <c:v>-0.12750137228705138</c:v>
                </c:pt>
                <c:pt idx="1626">
                  <c:v>-0.1269635541272921</c:v>
                </c:pt>
                <c:pt idx="1627">
                  <c:v>-0.12341780111528844</c:v>
                </c:pt>
                <c:pt idx="1628">
                  <c:v>-0.11928614441342322</c:v>
                </c:pt>
                <c:pt idx="1629">
                  <c:v>-0.12610985102363004</c:v>
                </c:pt>
                <c:pt idx="1630">
                  <c:v>-0.12674901868529731</c:v>
                </c:pt>
                <c:pt idx="1631">
                  <c:v>-0.12156465876288514</c:v>
                </c:pt>
                <c:pt idx="1632">
                  <c:v>-0.1194163452333924</c:v>
                </c:pt>
                <c:pt idx="1633">
                  <c:v>-0.11882674265659987</c:v>
                </c:pt>
                <c:pt idx="1634">
                  <c:v>-0.117895362927388</c:v>
                </c:pt>
                <c:pt idx="1635">
                  <c:v>-0.11481419011391103</c:v>
                </c:pt>
                <c:pt idx="1636">
                  <c:v>-0.12721877732552733</c:v>
                </c:pt>
                <c:pt idx="1637">
                  <c:v>-0.12634731956459666</c:v>
                </c:pt>
                <c:pt idx="1638">
                  <c:v>-0.12017757616378089</c:v>
                </c:pt>
                <c:pt idx="1639">
                  <c:v>-0.12752060649909236</c:v>
                </c:pt>
                <c:pt idx="1640">
                  <c:v>-0.12013170996583722</c:v>
                </c:pt>
                <c:pt idx="1641">
                  <c:v>-0.12910594943769527</c:v>
                </c:pt>
                <c:pt idx="1642">
                  <c:v>-0.12805916443623788</c:v>
                </c:pt>
                <c:pt idx="1643">
                  <c:v>-0.13864981749691885</c:v>
                </c:pt>
                <c:pt idx="1644">
                  <c:v>-0.14916279393205001</c:v>
                </c:pt>
                <c:pt idx="1645">
                  <c:v>-0.12608765770204433</c:v>
                </c:pt>
                <c:pt idx="1646">
                  <c:v>-0.12578138986416221</c:v>
                </c:pt>
                <c:pt idx="1647">
                  <c:v>-0.11739971207864131</c:v>
                </c:pt>
                <c:pt idx="1648">
                  <c:v>-0.11495918648160397</c:v>
                </c:pt>
                <c:pt idx="1649">
                  <c:v>-0.12361902056433183</c:v>
                </c:pt>
                <c:pt idx="1650">
                  <c:v>-0.12353764505185105</c:v>
                </c:pt>
                <c:pt idx="1651">
                  <c:v>-0.12708413784124084</c:v>
                </c:pt>
                <c:pt idx="1652">
                  <c:v>-0.13439609752633241</c:v>
                </c:pt>
                <c:pt idx="1653">
                  <c:v>-0.1517305612395119</c:v>
                </c:pt>
                <c:pt idx="1654">
                  <c:v>-0.15703550487587281</c:v>
                </c:pt>
                <c:pt idx="1655">
                  <c:v>-0.15364880400189984</c:v>
                </c:pt>
                <c:pt idx="1656">
                  <c:v>-0.15563584606120329</c:v>
                </c:pt>
                <c:pt idx="1657">
                  <c:v>-0.15258056545624299</c:v>
                </c:pt>
                <c:pt idx="1658">
                  <c:v>-0.13667091298886347</c:v>
                </c:pt>
                <c:pt idx="1659">
                  <c:v>-0.14176206096061572</c:v>
                </c:pt>
                <c:pt idx="1660">
                  <c:v>-0.13907223038443284</c:v>
                </c:pt>
                <c:pt idx="1661">
                  <c:v>-0.14591960987099772</c:v>
                </c:pt>
                <c:pt idx="1662">
                  <c:v>-0.13618709857829592</c:v>
                </c:pt>
                <c:pt idx="1663">
                  <c:v>-0.12978432530083062</c:v>
                </c:pt>
                <c:pt idx="1664">
                  <c:v>-0.13778797684200872</c:v>
                </c:pt>
                <c:pt idx="1665">
                  <c:v>-0.1439732555679345</c:v>
                </c:pt>
                <c:pt idx="1666">
                  <c:v>-0.14189744022228845</c:v>
                </c:pt>
                <c:pt idx="1667">
                  <c:v>-0.14456729680904434</c:v>
                </c:pt>
                <c:pt idx="1668">
                  <c:v>-0.13269756864764259</c:v>
                </c:pt>
                <c:pt idx="1669">
                  <c:v>-0.12859180415429394</c:v>
                </c:pt>
                <c:pt idx="1670">
                  <c:v>-0.13312737930901841</c:v>
                </c:pt>
                <c:pt idx="1671">
                  <c:v>-0.1246036642653493</c:v>
                </c:pt>
                <c:pt idx="1672">
                  <c:v>-0.1233682360304138</c:v>
                </c:pt>
                <c:pt idx="1673">
                  <c:v>-0.1240148014659429</c:v>
                </c:pt>
                <c:pt idx="1674">
                  <c:v>-0.12427298377372287</c:v>
                </c:pt>
                <c:pt idx="1675">
                  <c:v>-0.12108084435231758</c:v>
                </c:pt>
                <c:pt idx="1676">
                  <c:v>-0.12439504704244397</c:v>
                </c:pt>
                <c:pt idx="1677">
                  <c:v>-0.12780764012493373</c:v>
                </c:pt>
                <c:pt idx="1678">
                  <c:v>-0.13847966869809547</c:v>
                </c:pt>
                <c:pt idx="1679">
                  <c:v>-0.1396847660601972</c:v>
                </c:pt>
                <c:pt idx="1680">
                  <c:v>-0.13956122323670361</c:v>
                </c:pt>
                <c:pt idx="1681">
                  <c:v>-0.15107807758489322</c:v>
                </c:pt>
                <c:pt idx="1682">
                  <c:v>-0.15831605953136585</c:v>
                </c:pt>
                <c:pt idx="1683">
                  <c:v>-0.17100472125927868</c:v>
                </c:pt>
                <c:pt idx="1684">
                  <c:v>-0.17732389969210471</c:v>
                </c:pt>
                <c:pt idx="1685">
                  <c:v>-0.17535461229006977</c:v>
                </c:pt>
                <c:pt idx="1686">
                  <c:v>-0.17158692606220949</c:v>
                </c:pt>
                <c:pt idx="1687">
                  <c:v>-0.15942128694633217</c:v>
                </c:pt>
                <c:pt idx="1688">
                  <c:v>-0.1542502430168714</c:v>
                </c:pt>
                <c:pt idx="1689">
                  <c:v>-0.14834386036553882</c:v>
                </c:pt>
                <c:pt idx="1690">
                  <c:v>-0.14573466552445047</c:v>
                </c:pt>
                <c:pt idx="1691">
                  <c:v>-0.14089060319968527</c:v>
                </c:pt>
                <c:pt idx="1692">
                  <c:v>-0.14177611673095336</c:v>
                </c:pt>
                <c:pt idx="1693">
                  <c:v>-0.14874481970885323</c:v>
                </c:pt>
                <c:pt idx="1694">
                  <c:v>-0.16345307370106199</c:v>
                </c:pt>
                <c:pt idx="1695">
                  <c:v>-0.16513014903555223</c:v>
                </c:pt>
                <c:pt idx="1696">
                  <c:v>-0.15853799274722258</c:v>
                </c:pt>
                <c:pt idx="1697">
                  <c:v>-0.15842628636190803</c:v>
                </c:pt>
                <c:pt idx="1698">
                  <c:v>-0.15104774671205945</c:v>
                </c:pt>
                <c:pt idx="1699">
                  <c:v>-0.14301598363020607</c:v>
                </c:pt>
                <c:pt idx="1700">
                  <c:v>-0.1420335592613472</c:v>
                </c:pt>
                <c:pt idx="1701">
                  <c:v>-0.14298121409305509</c:v>
                </c:pt>
                <c:pt idx="1702">
                  <c:v>-0.14545281034031243</c:v>
                </c:pt>
                <c:pt idx="1703">
                  <c:v>-0.14904147044071503</c:v>
                </c:pt>
                <c:pt idx="1704">
                  <c:v>-0.14790591215291493</c:v>
                </c:pt>
                <c:pt idx="1705">
                  <c:v>-0.14115248439439609</c:v>
                </c:pt>
                <c:pt idx="1706">
                  <c:v>-0.14166736945518354</c:v>
                </c:pt>
                <c:pt idx="1707">
                  <c:v>-0.13858545686432044</c:v>
                </c:pt>
                <c:pt idx="1708">
                  <c:v>-0.13876596254655049</c:v>
                </c:pt>
                <c:pt idx="1709">
                  <c:v>-0.14510067630448653</c:v>
                </c:pt>
                <c:pt idx="1710">
                  <c:v>-0.14041788544991052</c:v>
                </c:pt>
                <c:pt idx="1711">
                  <c:v>-0.14023072177120466</c:v>
                </c:pt>
                <c:pt idx="1712">
                  <c:v>-0.14727710137465444</c:v>
                </c:pt>
                <c:pt idx="1713">
                  <c:v>-0.14932480517962543</c:v>
                </c:pt>
                <c:pt idx="1714">
                  <c:v>-0.14667936124661374</c:v>
                </c:pt>
                <c:pt idx="1715">
                  <c:v>-0.14855395714321651</c:v>
                </c:pt>
                <c:pt idx="1716">
                  <c:v>-0.14336737788864573</c:v>
                </c:pt>
                <c:pt idx="1717">
                  <c:v>-0.14154530618646244</c:v>
                </c:pt>
                <c:pt idx="1718">
                  <c:v>-0.14938102826097577</c:v>
                </c:pt>
                <c:pt idx="1719">
                  <c:v>-0.14764329118081787</c:v>
                </c:pt>
                <c:pt idx="1720">
                  <c:v>-0.14701226107039878</c:v>
                </c:pt>
                <c:pt idx="1721">
                  <c:v>-0.15508989035019594</c:v>
                </c:pt>
                <c:pt idx="1722">
                  <c:v>-0.15602940763065587</c:v>
                </c:pt>
                <c:pt idx="1723">
                  <c:v>-0.15950414201358531</c:v>
                </c:pt>
                <c:pt idx="1724">
                  <c:v>-0.15222843142041698</c:v>
                </c:pt>
                <c:pt idx="1725">
                  <c:v>-0.15333957705447288</c:v>
                </c:pt>
                <c:pt idx="1726">
                  <c:v>-0.15541909128705</c:v>
                </c:pt>
                <c:pt idx="1727">
                  <c:v>-0.14498527103224113</c:v>
                </c:pt>
                <c:pt idx="1728">
                  <c:v>-0.1408602723268515</c:v>
                </c:pt>
                <c:pt idx="1729">
                  <c:v>-0.13615010970898633</c:v>
                </c:pt>
                <c:pt idx="1730">
                  <c:v>-0.1335941788397037</c:v>
                </c:pt>
                <c:pt idx="1731">
                  <c:v>-0.13250004808553018</c:v>
                </c:pt>
                <c:pt idx="1732">
                  <c:v>-0.1315353783739398</c:v>
                </c:pt>
                <c:pt idx="1733">
                  <c:v>-0.12680672132142001</c:v>
                </c:pt>
                <c:pt idx="1734">
                  <c:v>-0.1254425718212876</c:v>
                </c:pt>
                <c:pt idx="1735">
                  <c:v>-0.12330313562042916</c:v>
                </c:pt>
                <c:pt idx="1736">
                  <c:v>-0.12584353116460201</c:v>
                </c:pt>
                <c:pt idx="1737">
                  <c:v>-0.12859254393168018</c:v>
                </c:pt>
                <c:pt idx="1738">
                  <c:v>-0.13333747608669611</c:v>
                </c:pt>
                <c:pt idx="1739">
                  <c:v>-0.13028145570434957</c:v>
                </c:pt>
                <c:pt idx="1740">
                  <c:v>-0.12449417721219336</c:v>
                </c:pt>
                <c:pt idx="1741">
                  <c:v>-0.12716477357633549</c:v>
                </c:pt>
                <c:pt idx="1742">
                  <c:v>-0.13866757215418746</c:v>
                </c:pt>
                <c:pt idx="1743">
                  <c:v>-0.13932005580880602</c:v>
                </c:pt>
                <c:pt idx="1744">
                  <c:v>-0.13659767502763076</c:v>
                </c:pt>
                <c:pt idx="1745">
                  <c:v>-0.13650150396742611</c:v>
                </c:pt>
                <c:pt idx="1746">
                  <c:v>-0.13807353091307772</c:v>
                </c:pt>
                <c:pt idx="1747">
                  <c:v>-0.14057397847839637</c:v>
                </c:pt>
                <c:pt idx="1748">
                  <c:v>-0.14514728227981633</c:v>
                </c:pt>
                <c:pt idx="1749">
                  <c:v>-0.14671117167421988</c:v>
                </c:pt>
                <c:pt idx="1750">
                  <c:v>-0.14777497155555963</c:v>
                </c:pt>
                <c:pt idx="1751">
                  <c:v>-0.14338661210068671</c:v>
                </c:pt>
                <c:pt idx="1752">
                  <c:v>-0.1415534437377105</c:v>
                </c:pt>
                <c:pt idx="1753">
                  <c:v>-0.1441855716777708</c:v>
                </c:pt>
                <c:pt idx="1754">
                  <c:v>-0.14139439159967981</c:v>
                </c:pt>
                <c:pt idx="1755">
                  <c:v>-0.1397224947068928</c:v>
                </c:pt>
                <c:pt idx="1756">
                  <c:v>-0.13813937110044849</c:v>
                </c:pt>
                <c:pt idx="1757">
                  <c:v>-0.13713031474568682</c:v>
                </c:pt>
                <c:pt idx="1758">
                  <c:v>-0.14019669201144003</c:v>
                </c:pt>
                <c:pt idx="1759">
                  <c:v>-0.13866683237680122</c:v>
                </c:pt>
                <c:pt idx="1760">
                  <c:v>-0.13434431310929928</c:v>
                </c:pt>
                <c:pt idx="1761">
                  <c:v>-0.13625885698475615</c:v>
                </c:pt>
                <c:pt idx="1762">
                  <c:v>-0.13741143015243862</c:v>
                </c:pt>
                <c:pt idx="1763">
                  <c:v>-0.13749650455185025</c:v>
                </c:pt>
                <c:pt idx="1764">
                  <c:v>-0.13456994521208676</c:v>
                </c:pt>
                <c:pt idx="1765">
                  <c:v>-0.13320579571195446</c:v>
                </c:pt>
                <c:pt idx="1766">
                  <c:v>-0.1320665385372235</c:v>
                </c:pt>
                <c:pt idx="1767">
                  <c:v>-0.13342255048610785</c:v>
                </c:pt>
                <c:pt idx="1768">
                  <c:v>-0.13429918668874175</c:v>
                </c:pt>
                <c:pt idx="1769">
                  <c:v>-0.13347359512575485</c:v>
                </c:pt>
                <c:pt idx="1770">
                  <c:v>-0.13244160567202123</c:v>
                </c:pt>
                <c:pt idx="1771">
                  <c:v>-0.13350688510813336</c:v>
                </c:pt>
                <c:pt idx="1772">
                  <c:v>-0.13239056103237423</c:v>
                </c:pt>
                <c:pt idx="1773">
                  <c:v>-0.1275635135874913</c:v>
                </c:pt>
                <c:pt idx="1774">
                  <c:v>-0.11860850832767411</c:v>
                </c:pt>
                <c:pt idx="1775">
                  <c:v>-0.11420609310246366</c:v>
                </c:pt>
                <c:pt idx="1776">
                  <c:v>-0.11585579667366508</c:v>
                </c:pt>
                <c:pt idx="1777">
                  <c:v>-0.11058636235184116</c:v>
                </c:pt>
                <c:pt idx="1778">
                  <c:v>-0.11040585666961111</c:v>
                </c:pt>
                <c:pt idx="1779">
                  <c:v>-0.11727173059083074</c:v>
                </c:pt>
                <c:pt idx="1780">
                  <c:v>-0.11291222245401922</c:v>
                </c:pt>
                <c:pt idx="1781">
                  <c:v>-0.12303015776492543</c:v>
                </c:pt>
                <c:pt idx="1782">
                  <c:v>-0.12043723802633322</c:v>
                </c:pt>
                <c:pt idx="1783">
                  <c:v>-0.11393607435650466</c:v>
                </c:pt>
                <c:pt idx="1784">
                  <c:v>-0.11531280007220235</c:v>
                </c:pt>
                <c:pt idx="1785">
                  <c:v>-0.11446205607808502</c:v>
                </c:pt>
                <c:pt idx="1786">
                  <c:v>-0.11693587165750097</c:v>
                </c:pt>
                <c:pt idx="1787">
                  <c:v>-0.11091038484699189</c:v>
                </c:pt>
                <c:pt idx="1788">
                  <c:v>-0.10835223464555055</c:v>
                </c:pt>
                <c:pt idx="1789">
                  <c:v>-0.10732024519181693</c:v>
                </c:pt>
                <c:pt idx="1790">
                  <c:v>-0.107007319357459</c:v>
                </c:pt>
                <c:pt idx="1791">
                  <c:v>-0.10612254560357703</c:v>
                </c:pt>
                <c:pt idx="1792">
                  <c:v>-9.6718495470343169E-2</c:v>
                </c:pt>
                <c:pt idx="1793">
                  <c:v>-9.0503625648969743E-2</c:v>
                </c:pt>
                <c:pt idx="1794">
                  <c:v>-9.6074889144358688E-2</c:v>
                </c:pt>
                <c:pt idx="1795">
                  <c:v>-9.2523957690651804E-2</c:v>
                </c:pt>
                <c:pt idx="1796">
                  <c:v>-9.3819307893868609E-2</c:v>
                </c:pt>
                <c:pt idx="1797">
                  <c:v>-8.8811014989369497E-2</c:v>
                </c:pt>
                <c:pt idx="1798">
                  <c:v>-8.3613339074005921E-2</c:v>
                </c:pt>
                <c:pt idx="1799">
                  <c:v>-8.3588926420261722E-2</c:v>
                </c:pt>
                <c:pt idx="1800">
                  <c:v>-8.7073277909211599E-2</c:v>
                </c:pt>
                <c:pt idx="1801">
                  <c:v>-8.5961392497769684E-2</c:v>
                </c:pt>
                <c:pt idx="1802">
                  <c:v>-8.6570229286603073E-2</c:v>
                </c:pt>
                <c:pt idx="1803">
                  <c:v>-8.0512932048488084E-2</c:v>
                </c:pt>
                <c:pt idx="1804">
                  <c:v>-7.8782592742192015E-2</c:v>
                </c:pt>
                <c:pt idx="1805">
                  <c:v>-7.4815166620060713E-2</c:v>
                </c:pt>
                <c:pt idx="1806">
                  <c:v>-7.145065906767345E-2</c:v>
                </c:pt>
                <c:pt idx="1807">
                  <c:v>-6.7756210801045769E-2</c:v>
                </c:pt>
                <c:pt idx="1808">
                  <c:v>-6.6971306994299318E-2</c:v>
                </c:pt>
                <c:pt idx="1809">
                  <c:v>-6.880743446682025E-2</c:v>
                </c:pt>
                <c:pt idx="1810">
                  <c:v>-7.1131075236839814E-2</c:v>
                </c:pt>
                <c:pt idx="1811">
                  <c:v>-6.8848122223060693E-2</c:v>
                </c:pt>
                <c:pt idx="1812">
                  <c:v>-6.7414433648626537E-2</c:v>
                </c:pt>
                <c:pt idx="1813">
                  <c:v>-7.4977917645022374E-2</c:v>
                </c:pt>
                <c:pt idx="1814">
                  <c:v>-8.0191868662881971E-2</c:v>
                </c:pt>
                <c:pt idx="1815">
                  <c:v>-7.2968682264133111E-2</c:v>
                </c:pt>
                <c:pt idx="1816">
                  <c:v>-7.041571050439499E-2</c:v>
                </c:pt>
                <c:pt idx="1817">
                  <c:v>-6.495023517523113E-2</c:v>
                </c:pt>
                <c:pt idx="1818">
                  <c:v>-5.9813221005534989E-2</c:v>
                </c:pt>
                <c:pt idx="1819">
                  <c:v>-5.7871305366789083E-2</c:v>
                </c:pt>
                <c:pt idx="1820">
                  <c:v>-5.8778272442256752E-2</c:v>
                </c:pt>
                <c:pt idx="1821">
                  <c:v>-5.516372013333759E-2</c:v>
                </c:pt>
                <c:pt idx="1822">
                  <c:v>-5.3693042689593962E-2</c:v>
                </c:pt>
                <c:pt idx="1823">
                  <c:v>-6.3077118833400725E-2</c:v>
                </c:pt>
                <c:pt idx="1824">
                  <c:v>-6.2668021938838248E-2</c:v>
                </c:pt>
                <c:pt idx="1825">
                  <c:v>-6.0004083571171818E-2</c:v>
                </c:pt>
                <c:pt idx="1826">
                  <c:v>-6.1223236703611184E-2</c:v>
                </c:pt>
                <c:pt idx="1827">
                  <c:v>-6.8558129487674591E-2</c:v>
                </c:pt>
                <c:pt idx="1828">
                  <c:v>-7.2620986892624306E-2</c:v>
                </c:pt>
                <c:pt idx="1829">
                  <c:v>-7.6237018756315833E-2</c:v>
                </c:pt>
                <c:pt idx="1830">
                  <c:v>-7.5799810321078187E-2</c:v>
                </c:pt>
                <c:pt idx="1831">
                  <c:v>-7.6811825785384702E-2</c:v>
                </c:pt>
                <c:pt idx="1832">
                  <c:v>-7.4287705343708099E-2</c:v>
                </c:pt>
                <c:pt idx="1833">
                  <c:v>-7.4668690697595297E-2</c:v>
                </c:pt>
                <c:pt idx="1834">
                  <c:v>-7.8193729942785617E-2</c:v>
                </c:pt>
                <c:pt idx="1835">
                  <c:v>-7.9316712015020552E-2</c:v>
                </c:pt>
                <c:pt idx="1836">
                  <c:v>-7.2628384666486245E-2</c:v>
                </c:pt>
                <c:pt idx="1837">
                  <c:v>-7.1688127608640073E-2</c:v>
                </c:pt>
                <c:pt idx="1838">
                  <c:v>-6.4619554683604696E-2</c:v>
                </c:pt>
                <c:pt idx="1839">
                  <c:v>-6.077123272064977E-2</c:v>
                </c:pt>
                <c:pt idx="1840">
                  <c:v>-5.5811025346252818E-2</c:v>
                </c:pt>
                <c:pt idx="1841">
                  <c:v>-5.8543023233448621E-2</c:v>
                </c:pt>
                <c:pt idx="1842">
                  <c:v>-6.2485296924449596E-2</c:v>
                </c:pt>
                <c:pt idx="1843">
                  <c:v>-5.9080101615821889E-2</c:v>
                </c:pt>
                <c:pt idx="1844">
                  <c:v>-5.4790872330698237E-2</c:v>
                </c:pt>
                <c:pt idx="1845">
                  <c:v>-4.8882270347207268E-2</c:v>
                </c:pt>
                <c:pt idx="1846">
                  <c:v>-5.1404171456725267E-2</c:v>
                </c:pt>
                <c:pt idx="1847">
                  <c:v>-4.7293228521673281E-2</c:v>
                </c:pt>
                <c:pt idx="1848">
                  <c:v>-4.6369986343709479E-2</c:v>
                </c:pt>
                <c:pt idx="1849">
                  <c:v>-4.90472407043272E-2</c:v>
                </c:pt>
                <c:pt idx="1850">
                  <c:v>-5.1722275732786538E-2</c:v>
                </c:pt>
                <c:pt idx="1851">
                  <c:v>-6.2961713561155208E-2</c:v>
                </c:pt>
                <c:pt idx="1852">
                  <c:v>-7.0303264341694316E-2</c:v>
                </c:pt>
                <c:pt idx="1853">
                  <c:v>-7.2793355023606399E-2</c:v>
                </c:pt>
                <c:pt idx="1854">
                  <c:v>-6.3741438926198435E-2</c:v>
                </c:pt>
                <c:pt idx="1855">
                  <c:v>-6.1661924693621306E-2</c:v>
                </c:pt>
                <c:pt idx="1856">
                  <c:v>-6.7633407754938424E-2</c:v>
                </c:pt>
                <c:pt idx="1857">
                  <c:v>-7.1484688827438081E-2</c:v>
                </c:pt>
                <c:pt idx="1858">
                  <c:v>-6.8325839388411302E-2</c:v>
                </c:pt>
                <c:pt idx="1859">
                  <c:v>-7.1011971077663327E-2</c:v>
                </c:pt>
                <c:pt idx="1860">
                  <c:v>-7.6898379739568812E-2</c:v>
                </c:pt>
                <c:pt idx="1861">
                  <c:v>-7.0719019232732605E-2</c:v>
                </c:pt>
                <c:pt idx="1862">
                  <c:v>-7.1873811732573456E-2</c:v>
                </c:pt>
                <c:pt idx="1863">
                  <c:v>-7.8484462455557957E-2</c:v>
                </c:pt>
                <c:pt idx="1864">
                  <c:v>-7.932410978888238E-2</c:v>
                </c:pt>
                <c:pt idx="1865">
                  <c:v>-9.2485489266569965E-2</c:v>
                </c:pt>
                <c:pt idx="1866">
                  <c:v>-0.10605448608404766</c:v>
                </c:pt>
                <c:pt idx="1867">
                  <c:v>-0.10990428760177495</c:v>
                </c:pt>
                <c:pt idx="1868">
                  <c:v>-0.10629195462501428</c:v>
                </c:pt>
                <c:pt idx="1869">
                  <c:v>-0.10690449030077875</c:v>
                </c:pt>
                <c:pt idx="1870">
                  <c:v>-9.9497099332868766E-2</c:v>
                </c:pt>
                <c:pt idx="1871">
                  <c:v>-9.8687043094991878E-2</c:v>
                </c:pt>
                <c:pt idx="1872">
                  <c:v>-9.405751621222147E-2</c:v>
                </c:pt>
                <c:pt idx="1873">
                  <c:v>-9.1731656110043525E-2</c:v>
                </c:pt>
                <c:pt idx="1874">
                  <c:v>-8.8321282359712372E-2</c:v>
                </c:pt>
                <c:pt idx="1875">
                  <c:v>-8.8817672985845197E-2</c:v>
                </c:pt>
                <c:pt idx="1876">
                  <c:v>-8.5207559341243133E-2</c:v>
                </c:pt>
                <c:pt idx="1877">
                  <c:v>-8.0254009963321882E-2</c:v>
                </c:pt>
                <c:pt idx="1878">
                  <c:v>-8.5502730518332459E-2</c:v>
                </c:pt>
                <c:pt idx="1879">
                  <c:v>-8.0080162277567535E-2</c:v>
                </c:pt>
                <c:pt idx="1880">
                  <c:v>-8.1333345169771532E-2</c:v>
                </c:pt>
                <c:pt idx="1881">
                  <c:v>-8.1572293265510631E-2</c:v>
                </c:pt>
                <c:pt idx="1882">
                  <c:v>-8.5046287871053949E-2</c:v>
                </c:pt>
                <c:pt idx="1883">
                  <c:v>-8.4175569887509516E-2</c:v>
                </c:pt>
                <c:pt idx="1884">
                  <c:v>-8.8255442172341492E-2</c:v>
                </c:pt>
                <c:pt idx="1885">
                  <c:v>-8.9576684584074973E-2</c:v>
                </c:pt>
                <c:pt idx="1886">
                  <c:v>-9.7890302850066391E-2</c:v>
                </c:pt>
                <c:pt idx="1887">
                  <c:v>-9.6597911756394317E-2</c:v>
                </c:pt>
                <c:pt idx="1888">
                  <c:v>-9.556962118959178E-2</c:v>
                </c:pt>
                <c:pt idx="1889">
                  <c:v>-9.2875351949091467E-2</c:v>
                </c:pt>
                <c:pt idx="1890">
                  <c:v>-9.2652678955848722E-2</c:v>
                </c:pt>
                <c:pt idx="1891">
                  <c:v>-9.4797293598410381E-2</c:v>
                </c:pt>
                <c:pt idx="1892">
                  <c:v>-9.1125778430754645E-2</c:v>
                </c:pt>
                <c:pt idx="1893">
                  <c:v>-8.8013534967057772E-2</c:v>
                </c:pt>
                <c:pt idx="1894">
                  <c:v>-8.8248044398479775E-2</c:v>
                </c:pt>
                <c:pt idx="1895">
                  <c:v>-8.9457580424898597E-2</c:v>
                </c:pt>
                <c:pt idx="1896">
                  <c:v>-8.7860401048116654E-2</c:v>
                </c:pt>
                <c:pt idx="1897">
                  <c:v>-8.6773668067805065E-2</c:v>
                </c:pt>
                <c:pt idx="1898">
                  <c:v>-8.7187203626684751E-2</c:v>
                </c:pt>
                <c:pt idx="1899">
                  <c:v>-8.6030931572071423E-2</c:v>
                </c:pt>
                <c:pt idx="1900">
                  <c:v>-8.740173906867954E-2</c:v>
                </c:pt>
                <c:pt idx="1901">
                  <c:v>-8.9240825650745204E-2</c:v>
                </c:pt>
                <c:pt idx="1902">
                  <c:v>-9.615774421161194E-2</c:v>
                </c:pt>
                <c:pt idx="1903">
                  <c:v>-9.078843994265251E-2</c:v>
                </c:pt>
                <c:pt idx="1904">
                  <c:v>-8.4511428820839285E-2</c:v>
                </c:pt>
                <c:pt idx="1905">
                  <c:v>-7.5940368024454141E-2</c:v>
                </c:pt>
                <c:pt idx="1906">
                  <c:v>-7.4587315185114522E-2</c:v>
                </c:pt>
                <c:pt idx="1907">
                  <c:v>-7.5744327017114088E-2</c:v>
                </c:pt>
                <c:pt idx="1908">
                  <c:v>-7.3527214190705847E-2</c:v>
                </c:pt>
                <c:pt idx="1909">
                  <c:v>-7.8141205748366249E-2</c:v>
                </c:pt>
                <c:pt idx="1910">
                  <c:v>-8.2542141418804338E-2</c:v>
                </c:pt>
                <c:pt idx="1911">
                  <c:v>-8.259318605845134E-2</c:v>
                </c:pt>
                <c:pt idx="1912">
                  <c:v>-8.0485560285199043E-2</c:v>
                </c:pt>
                <c:pt idx="1913">
                  <c:v>-7.8698997897552747E-2</c:v>
                </c:pt>
                <c:pt idx="1914">
                  <c:v>-7.7904476984785864E-2</c:v>
                </c:pt>
                <c:pt idx="1915">
                  <c:v>-8.2924606327464012E-2</c:v>
                </c:pt>
                <c:pt idx="1916">
                  <c:v>-8.604942600672616E-2</c:v>
                </c:pt>
                <c:pt idx="1917">
                  <c:v>-8.154862038915256E-2</c:v>
                </c:pt>
                <c:pt idx="1918">
                  <c:v>-7.945209127669306E-2</c:v>
                </c:pt>
                <c:pt idx="1919">
                  <c:v>-8.1563415936876327E-2</c:v>
                </c:pt>
                <c:pt idx="1920">
                  <c:v>-8.2161895842303156E-2</c:v>
                </c:pt>
                <c:pt idx="1921">
                  <c:v>-7.9319671124565283E-2</c:v>
                </c:pt>
                <c:pt idx="1922">
                  <c:v>-8.9698008075410063E-2</c:v>
                </c:pt>
                <c:pt idx="1923">
                  <c:v>-9.533437198078365E-2</c:v>
                </c:pt>
                <c:pt idx="1924">
                  <c:v>-0.10357845117247333</c:v>
                </c:pt>
                <c:pt idx="1925">
                  <c:v>-0.10974079679942716</c:v>
                </c:pt>
                <c:pt idx="1926">
                  <c:v>-0.11279755695915994</c:v>
                </c:pt>
                <c:pt idx="1927">
                  <c:v>-0.11355656855738983</c:v>
                </c:pt>
                <c:pt idx="1928">
                  <c:v>-0.10636889147317785</c:v>
                </c:pt>
                <c:pt idx="1929">
                  <c:v>-0.10884122749782144</c:v>
                </c:pt>
                <c:pt idx="1930">
                  <c:v>-0.10999823932982089</c:v>
                </c:pt>
                <c:pt idx="1931">
                  <c:v>-0.10639552345908077</c:v>
                </c:pt>
                <c:pt idx="1932">
                  <c:v>-0.1082693795782973</c:v>
                </c:pt>
                <c:pt idx="1933">
                  <c:v>-0.10692816317713683</c:v>
                </c:pt>
                <c:pt idx="1934">
                  <c:v>-0.1108992881861991</c:v>
                </c:pt>
                <c:pt idx="1935">
                  <c:v>-0.11050128795242942</c:v>
                </c:pt>
                <c:pt idx="1936">
                  <c:v>-0.10321152158892344</c:v>
                </c:pt>
                <c:pt idx="1937">
                  <c:v>-0.10685492521590412</c:v>
                </c:pt>
                <c:pt idx="1938">
                  <c:v>-0.10257605281418725</c:v>
                </c:pt>
                <c:pt idx="1939">
                  <c:v>-0.10695849404997049</c:v>
                </c:pt>
                <c:pt idx="1940">
                  <c:v>-0.10924218684113585</c:v>
                </c:pt>
                <c:pt idx="1941">
                  <c:v>-0.1052718016094597</c:v>
                </c:pt>
                <c:pt idx="1942">
                  <c:v>-9.8340827278255549E-2</c:v>
                </c:pt>
                <c:pt idx="1943">
                  <c:v>-9.417514081662548E-2</c:v>
                </c:pt>
                <c:pt idx="1944">
                  <c:v>-8.7301869121544029E-2</c:v>
                </c:pt>
                <c:pt idx="1945">
                  <c:v>-8.6673798120669665E-2</c:v>
                </c:pt>
                <c:pt idx="1946">
                  <c:v>-8.5599641355923239E-2</c:v>
                </c:pt>
                <c:pt idx="1947">
                  <c:v>-8.0407143882262999E-2</c:v>
                </c:pt>
                <c:pt idx="1948">
                  <c:v>-7.8466707798289348E-2</c:v>
                </c:pt>
                <c:pt idx="1949">
                  <c:v>-7.6800729124591904E-2</c:v>
                </c:pt>
                <c:pt idx="1950">
                  <c:v>-7.9266407152759677E-2</c:v>
                </c:pt>
                <c:pt idx="1951">
                  <c:v>-8.2468903457571519E-2</c:v>
                </c:pt>
                <c:pt idx="1952">
                  <c:v>-8.4449287520399374E-2</c:v>
                </c:pt>
                <c:pt idx="1953">
                  <c:v>-8.8597959102147072E-2</c:v>
                </c:pt>
                <c:pt idx="1954">
                  <c:v>-8.5844507670751691E-2</c:v>
                </c:pt>
                <c:pt idx="1955">
                  <c:v>-8.9641784994059615E-2</c:v>
                </c:pt>
                <c:pt idx="1956">
                  <c:v>-8.6763311184398395E-2</c:v>
                </c:pt>
                <c:pt idx="1957">
                  <c:v>-8.3868562272241043E-2</c:v>
                </c:pt>
                <c:pt idx="1958">
                  <c:v>-8.231650931601675E-2</c:v>
                </c:pt>
                <c:pt idx="1959">
                  <c:v>-7.8723410551296946E-2</c:v>
                </c:pt>
                <c:pt idx="1960">
                  <c:v>-8.2305412655223842E-2</c:v>
                </c:pt>
                <c:pt idx="1961">
                  <c:v>-8.7561530984096247E-2</c:v>
                </c:pt>
                <c:pt idx="1962">
                  <c:v>-9.3817828339096243E-2</c:v>
                </c:pt>
                <c:pt idx="1963">
                  <c:v>-9.3907341402825084E-2</c:v>
                </c:pt>
                <c:pt idx="1964">
                  <c:v>-9.948526289468973E-2</c:v>
                </c:pt>
                <c:pt idx="1965">
                  <c:v>-9.6614926636276688E-2</c:v>
                </c:pt>
                <c:pt idx="1966">
                  <c:v>-0.11103836633480257</c:v>
                </c:pt>
                <c:pt idx="1967">
                  <c:v>-0.11739009497262087</c:v>
                </c:pt>
                <c:pt idx="1968">
                  <c:v>-0.13744545991220325</c:v>
                </c:pt>
                <c:pt idx="1969">
                  <c:v>-0.14643819381871614</c:v>
                </c:pt>
                <c:pt idx="1970">
                  <c:v>-0.17474059705953293</c:v>
                </c:pt>
                <c:pt idx="1971">
                  <c:v>-0.16256016239593185</c:v>
                </c:pt>
                <c:pt idx="1972">
                  <c:v>-0.1765330776662688</c:v>
                </c:pt>
                <c:pt idx="1973">
                  <c:v>-0.16358327452103116</c:v>
                </c:pt>
                <c:pt idx="1974">
                  <c:v>-0.15356077049294337</c:v>
                </c:pt>
                <c:pt idx="1975">
                  <c:v>-0.15089683212527694</c:v>
                </c:pt>
                <c:pt idx="1976">
                  <c:v>-0.15290014928707651</c:v>
                </c:pt>
                <c:pt idx="1977">
                  <c:v>-0.15235789246300013</c:v>
                </c:pt>
                <c:pt idx="1978">
                  <c:v>-0.17258562553356449</c:v>
                </c:pt>
                <c:pt idx="1979">
                  <c:v>-0.18620714654546155</c:v>
                </c:pt>
                <c:pt idx="1980">
                  <c:v>-0.18475496353637266</c:v>
                </c:pt>
                <c:pt idx="1981">
                  <c:v>-0.17170455066661339</c:v>
                </c:pt>
                <c:pt idx="1982">
                  <c:v>-0.16769865612040025</c:v>
                </c:pt>
                <c:pt idx="1983">
                  <c:v>-0.17115489606867507</c:v>
                </c:pt>
                <c:pt idx="1984">
                  <c:v>-0.16734504252980198</c:v>
                </c:pt>
                <c:pt idx="1985">
                  <c:v>-0.16060123187730357</c:v>
                </c:pt>
                <c:pt idx="1986">
                  <c:v>-0.15382265168765419</c:v>
                </c:pt>
                <c:pt idx="1987">
                  <c:v>-0.1454498512307677</c:v>
                </c:pt>
                <c:pt idx="1988">
                  <c:v>-0.14215488275268207</c:v>
                </c:pt>
                <c:pt idx="1989">
                  <c:v>-0.15437748472729595</c:v>
                </c:pt>
                <c:pt idx="1990">
                  <c:v>-0.16161028823206525</c:v>
                </c:pt>
                <c:pt idx="1991">
                  <c:v>-0.16424019683996693</c:v>
                </c:pt>
                <c:pt idx="1992">
                  <c:v>-0.14785116862633707</c:v>
                </c:pt>
                <c:pt idx="1993">
                  <c:v>-0.14830095327713999</c:v>
                </c:pt>
                <c:pt idx="1994">
                  <c:v>-0.15369836908677448</c:v>
                </c:pt>
                <c:pt idx="1995">
                  <c:v>-0.15667967195311594</c:v>
                </c:pt>
                <c:pt idx="1996">
                  <c:v>-0.15320937623450359</c:v>
                </c:pt>
                <c:pt idx="1997">
                  <c:v>-0.14715651766070559</c:v>
                </c:pt>
                <c:pt idx="1998">
                  <c:v>-0.14204687525429849</c:v>
                </c:pt>
                <c:pt idx="1999">
                  <c:v>-0.13420449518330957</c:v>
                </c:pt>
                <c:pt idx="2000">
                  <c:v>-0.13791669810720564</c:v>
                </c:pt>
                <c:pt idx="2001">
                  <c:v>-0.13976614157267808</c:v>
                </c:pt>
                <c:pt idx="2002">
                  <c:v>-0.15134735655346598</c:v>
                </c:pt>
                <c:pt idx="2003">
                  <c:v>-0.166378153486053</c:v>
                </c:pt>
                <c:pt idx="2004">
                  <c:v>-0.16626866643289706</c:v>
                </c:pt>
                <c:pt idx="2005">
                  <c:v>-0.15662862731346894</c:v>
                </c:pt>
                <c:pt idx="2006">
                  <c:v>-0.14772392691591252</c:v>
                </c:pt>
                <c:pt idx="2007">
                  <c:v>-0.15460755549440064</c:v>
                </c:pt>
                <c:pt idx="2008">
                  <c:v>-0.15265158408531709</c:v>
                </c:pt>
                <c:pt idx="2009">
                  <c:v>-0.15519493873903478</c:v>
                </c:pt>
                <c:pt idx="2010">
                  <c:v>-0.16493336825082605</c:v>
                </c:pt>
                <c:pt idx="2011">
                  <c:v>-0.16574490404347531</c:v>
                </c:pt>
                <c:pt idx="2012">
                  <c:v>-0.1560212700794078</c:v>
                </c:pt>
                <c:pt idx="2013">
                  <c:v>-0.14516429715969881</c:v>
                </c:pt>
                <c:pt idx="2014">
                  <c:v>-0.14725712738522723</c:v>
                </c:pt>
                <c:pt idx="2015">
                  <c:v>-0.13877114098825394</c:v>
                </c:pt>
                <c:pt idx="2016">
                  <c:v>-0.13629806518622423</c:v>
                </c:pt>
                <c:pt idx="2017">
                  <c:v>-0.13543918364085883</c:v>
                </c:pt>
                <c:pt idx="2018">
                  <c:v>-0.13359861750402069</c:v>
                </c:pt>
                <c:pt idx="2019">
                  <c:v>-0.13290026765145846</c:v>
                </c:pt>
                <c:pt idx="2020">
                  <c:v>-0.13425923870988754</c:v>
                </c:pt>
                <c:pt idx="2021">
                  <c:v>-0.12869759232051903</c:v>
                </c:pt>
                <c:pt idx="2022">
                  <c:v>-0.13555458891310435</c:v>
                </c:pt>
                <c:pt idx="2023">
                  <c:v>-0.13473047690488982</c:v>
                </c:pt>
                <c:pt idx="2024">
                  <c:v>-0.12948027679510687</c:v>
                </c:pt>
                <c:pt idx="2025">
                  <c:v>-0.11974702572501883</c:v>
                </c:pt>
                <c:pt idx="2026">
                  <c:v>-0.12806878154225831</c:v>
                </c:pt>
                <c:pt idx="2027">
                  <c:v>-0.12194046567506911</c:v>
                </c:pt>
                <c:pt idx="2028">
                  <c:v>-0.1120881104458048</c:v>
                </c:pt>
                <c:pt idx="2029">
                  <c:v>-0.11162648935682273</c:v>
                </c:pt>
                <c:pt idx="2030">
                  <c:v>-0.11901316655791949</c:v>
                </c:pt>
                <c:pt idx="2031">
                  <c:v>-0.12838318693138862</c:v>
                </c:pt>
                <c:pt idx="2032">
                  <c:v>-0.12760864000804883</c:v>
                </c:pt>
                <c:pt idx="2033">
                  <c:v>-0.1157899564862942</c:v>
                </c:pt>
                <c:pt idx="2034">
                  <c:v>-0.11819349321402217</c:v>
                </c:pt>
                <c:pt idx="2035">
                  <c:v>-0.11714374910301995</c:v>
                </c:pt>
                <c:pt idx="2036">
                  <c:v>-0.11338050153947676</c:v>
                </c:pt>
                <c:pt idx="2037">
                  <c:v>-0.12243907563336043</c:v>
                </c:pt>
                <c:pt idx="2038">
                  <c:v>-0.12228964060135028</c:v>
                </c:pt>
                <c:pt idx="2039">
                  <c:v>-0.11509826463020756</c:v>
                </c:pt>
                <c:pt idx="2040">
                  <c:v>-0.1163876966143349</c:v>
                </c:pt>
                <c:pt idx="2041">
                  <c:v>-0.11421127154416699</c:v>
                </c:pt>
                <c:pt idx="2042">
                  <c:v>-0.11953470961518264</c:v>
                </c:pt>
                <c:pt idx="2043">
                  <c:v>-0.12737043168969597</c:v>
                </c:pt>
                <c:pt idx="2044">
                  <c:v>-0.1296977713466464</c:v>
                </c:pt>
                <c:pt idx="2045">
                  <c:v>-0.14140178937354175</c:v>
                </c:pt>
                <c:pt idx="2046">
                  <c:v>-0.1451687358240159</c:v>
                </c:pt>
                <c:pt idx="2047">
                  <c:v>-0.15286759908208436</c:v>
                </c:pt>
                <c:pt idx="2048">
                  <c:v>-0.15259092233964966</c:v>
                </c:pt>
                <c:pt idx="2049">
                  <c:v>-0.15092124477902114</c:v>
                </c:pt>
                <c:pt idx="2050">
                  <c:v>-0.1345906589789001</c:v>
                </c:pt>
                <c:pt idx="2051">
                  <c:v>-0.13024298728026773</c:v>
                </c:pt>
                <c:pt idx="2052">
                  <c:v>-0.11097992392129363</c:v>
                </c:pt>
                <c:pt idx="2053">
                  <c:v>-0.11068401296681807</c:v>
                </c:pt>
                <c:pt idx="2054">
                  <c:v>-0.109035049173003</c:v>
                </c:pt>
                <c:pt idx="2055">
                  <c:v>-0.10302731701976253</c:v>
                </c:pt>
                <c:pt idx="2056">
                  <c:v>-0.1040053027243043</c:v>
                </c:pt>
                <c:pt idx="2057">
                  <c:v>-0.10204933131522065</c:v>
                </c:pt>
                <c:pt idx="2058">
                  <c:v>-0.1111626489356824</c:v>
                </c:pt>
                <c:pt idx="2059">
                  <c:v>-0.10623129287934685</c:v>
                </c:pt>
                <c:pt idx="2060">
                  <c:v>-0.10831080711192387</c:v>
                </c:pt>
                <c:pt idx="2061">
                  <c:v>-0.10756511150664549</c:v>
                </c:pt>
                <c:pt idx="2062">
                  <c:v>-0.11161465291864381</c:v>
                </c:pt>
                <c:pt idx="2063">
                  <c:v>-0.1115414149574111</c:v>
                </c:pt>
                <c:pt idx="2064">
                  <c:v>-0.11197640406049025</c:v>
                </c:pt>
                <c:pt idx="2065">
                  <c:v>-0.11721920639641126</c:v>
                </c:pt>
                <c:pt idx="2066">
                  <c:v>-0.10608925562119853</c:v>
                </c:pt>
                <c:pt idx="2067">
                  <c:v>-0.10329141754663185</c:v>
                </c:pt>
                <c:pt idx="2068">
                  <c:v>-9.8755102614521362E-2</c:v>
                </c:pt>
                <c:pt idx="2069">
                  <c:v>-9.2399675089772093E-2</c:v>
                </c:pt>
                <c:pt idx="2070">
                  <c:v>-9.2391537538523916E-2</c:v>
                </c:pt>
                <c:pt idx="2071">
                  <c:v>-9.329998416876395E-2</c:v>
                </c:pt>
                <c:pt idx="2072">
                  <c:v>-9.5097643217203154E-2</c:v>
                </c:pt>
                <c:pt idx="2073">
                  <c:v>-8.8649743519180313E-2</c:v>
                </c:pt>
                <c:pt idx="2074">
                  <c:v>-8.9597398350888313E-2</c:v>
                </c:pt>
                <c:pt idx="2075">
                  <c:v>-8.7579285641364857E-2</c:v>
                </c:pt>
                <c:pt idx="2076">
                  <c:v>-8.0615021327782088E-2</c:v>
                </c:pt>
                <c:pt idx="2077">
                  <c:v>-7.4776698195978875E-2</c:v>
                </c:pt>
                <c:pt idx="2078">
                  <c:v>-7.2454536980731898E-2</c:v>
                </c:pt>
                <c:pt idx="2079">
                  <c:v>-7.1230205406589087E-2</c:v>
                </c:pt>
                <c:pt idx="2080">
                  <c:v>-7.1194696092051979E-2</c:v>
                </c:pt>
                <c:pt idx="2081">
                  <c:v>-6.52927521050366E-2</c:v>
                </c:pt>
                <c:pt idx="2082">
                  <c:v>-6.1497694113887391E-2</c:v>
                </c:pt>
                <c:pt idx="2083">
                  <c:v>-6.5262421232202938E-2</c:v>
                </c:pt>
                <c:pt idx="2084">
                  <c:v>-6.3043828851022221E-2</c:v>
                </c:pt>
                <c:pt idx="2085">
                  <c:v>-6.2503051581718094E-2</c:v>
                </c:pt>
                <c:pt idx="2086">
                  <c:v>-6.1090816551483407E-2</c:v>
                </c:pt>
                <c:pt idx="2087">
                  <c:v>-5.9294637057816568E-2</c:v>
                </c:pt>
                <c:pt idx="2088">
                  <c:v>-5.7582052408789219E-2</c:v>
                </c:pt>
                <c:pt idx="2089">
                  <c:v>-5.7177394178543839E-2</c:v>
                </c:pt>
                <c:pt idx="2090">
                  <c:v>-5.9824317666327897E-2</c:v>
                </c:pt>
                <c:pt idx="2091">
                  <c:v>-5.9765875252818956E-2</c:v>
                </c:pt>
                <c:pt idx="2092">
                  <c:v>-5.5507716617915426E-2</c:v>
                </c:pt>
                <c:pt idx="2093">
                  <c:v>-6.0197905246353378E-2</c:v>
                </c:pt>
                <c:pt idx="2094">
                  <c:v>-6.1560575191713429E-2</c:v>
                </c:pt>
                <c:pt idx="2095">
                  <c:v>-6.5095231542924181E-2</c:v>
                </c:pt>
                <c:pt idx="2096">
                  <c:v>-6.2550397334434127E-2</c:v>
                </c:pt>
                <c:pt idx="2097">
                  <c:v>-5.8756818898057284E-2</c:v>
                </c:pt>
                <c:pt idx="2098">
                  <c:v>-5.6528609410856245E-2</c:v>
                </c:pt>
                <c:pt idx="2099">
                  <c:v>-4.7316901398031463E-2</c:v>
                </c:pt>
                <c:pt idx="2100">
                  <c:v>-4.4627070821848247E-2</c:v>
                </c:pt>
                <c:pt idx="2101">
                  <c:v>-5.1066093191237005E-2</c:v>
                </c:pt>
                <c:pt idx="2102">
                  <c:v>-4.9736713228255458E-2</c:v>
                </c:pt>
                <c:pt idx="2103">
                  <c:v>-5.0628884755999359E-2</c:v>
                </c:pt>
                <c:pt idx="2104">
                  <c:v>-5.2353305843205855E-2</c:v>
                </c:pt>
                <c:pt idx="2105">
                  <c:v>-4.8455418795376182E-2</c:v>
                </c:pt>
                <c:pt idx="2106">
                  <c:v>-4.702690866264525E-2</c:v>
                </c:pt>
                <c:pt idx="2107">
                  <c:v>-4.3210397127296463E-2</c:v>
                </c:pt>
                <c:pt idx="2108">
                  <c:v>-3.8994405803405741E-2</c:v>
                </c:pt>
                <c:pt idx="2109">
                  <c:v>-4.0941499883854982E-2</c:v>
                </c:pt>
                <c:pt idx="2110">
                  <c:v>-4.1496332923496748E-2</c:v>
                </c:pt>
                <c:pt idx="2111">
                  <c:v>-4.2355214468862035E-2</c:v>
                </c:pt>
                <c:pt idx="2112">
                  <c:v>-4.401379536869765E-2</c:v>
                </c:pt>
                <c:pt idx="2113">
                  <c:v>-4.4819412942257442E-2</c:v>
                </c:pt>
                <c:pt idx="2114">
                  <c:v>-4.8963645859688043E-2</c:v>
                </c:pt>
                <c:pt idx="2115">
                  <c:v>-4.6261239067939663E-2</c:v>
                </c:pt>
                <c:pt idx="2116">
                  <c:v>-4.5305446684983597E-2</c:v>
                </c:pt>
                <c:pt idx="2117">
                  <c:v>-4.4846784705546594E-2</c:v>
                </c:pt>
                <c:pt idx="2118">
                  <c:v>-3.9439012012505215E-2</c:v>
                </c:pt>
                <c:pt idx="2119">
                  <c:v>-3.6123329767606349E-2</c:v>
                </c:pt>
                <c:pt idx="2120">
                  <c:v>-4.1694593262995294E-2</c:v>
                </c:pt>
                <c:pt idx="2121">
                  <c:v>-4.9701943691104478E-2</c:v>
                </c:pt>
                <c:pt idx="2122">
                  <c:v>-4.6242004855898799E-2</c:v>
                </c:pt>
                <c:pt idx="2123">
                  <c:v>-4.3444906558718466E-2</c:v>
                </c:pt>
                <c:pt idx="2124">
                  <c:v>-3.4985552147647869E-2</c:v>
                </c:pt>
                <c:pt idx="2125">
                  <c:v>-3.7377992214582823E-2</c:v>
                </c:pt>
                <c:pt idx="2126">
                  <c:v>-2.5881111855820427E-2</c:v>
                </c:pt>
                <c:pt idx="2127">
                  <c:v>-2.3380664290501785E-2</c:v>
                </c:pt>
                <c:pt idx="2128">
                  <c:v>-2.0681956385684486E-2</c:v>
                </c:pt>
                <c:pt idx="2129">
                  <c:v>-2.2841366575970024E-2</c:v>
                </c:pt>
                <c:pt idx="2130">
                  <c:v>-2.3192021057023671E-2</c:v>
                </c:pt>
                <c:pt idx="2131">
                  <c:v>-2.7073633002356989E-2</c:v>
                </c:pt>
                <c:pt idx="2132">
                  <c:v>-2.7527116540090768E-2</c:v>
                </c:pt>
                <c:pt idx="2133">
                  <c:v>-3.2041238150615658E-2</c:v>
                </c:pt>
                <c:pt idx="2134">
                  <c:v>-3.3195290873070493E-2</c:v>
                </c:pt>
                <c:pt idx="2135">
                  <c:v>-2.8824686075466177E-2</c:v>
                </c:pt>
                <c:pt idx="2136">
                  <c:v>-2.9110240146535071E-2</c:v>
                </c:pt>
                <c:pt idx="2137">
                  <c:v>-3.1464211789388519E-2</c:v>
                </c:pt>
                <c:pt idx="2138">
                  <c:v>-3.4989990811964966E-2</c:v>
                </c:pt>
                <c:pt idx="2139">
                  <c:v>-3.2649335162063031E-2</c:v>
                </c:pt>
                <c:pt idx="2140">
                  <c:v>-2.5898866513088925E-2</c:v>
                </c:pt>
                <c:pt idx="2141">
                  <c:v>-3.1931751097459826E-2</c:v>
                </c:pt>
                <c:pt idx="2142">
                  <c:v>-3.3838157421668735E-2</c:v>
                </c:pt>
                <c:pt idx="2143">
                  <c:v>-3.1183836160022849E-2</c:v>
                </c:pt>
                <c:pt idx="2144">
                  <c:v>-3.1638799252528993E-2</c:v>
                </c:pt>
                <c:pt idx="2145">
                  <c:v>-3.6718850563488559E-2</c:v>
                </c:pt>
                <c:pt idx="2146">
                  <c:v>-4.8583400283186862E-2</c:v>
                </c:pt>
                <c:pt idx="2147">
                  <c:v>-4.6099967597750591E-2</c:v>
                </c:pt>
                <c:pt idx="2148">
                  <c:v>-3.929919408651561E-2</c:v>
                </c:pt>
                <c:pt idx="2149">
                  <c:v>-4.3447865668263308E-2</c:v>
                </c:pt>
                <c:pt idx="2150">
                  <c:v>-4.2868619974877231E-2</c:v>
                </c:pt>
                <c:pt idx="2151">
                  <c:v>-3.6412582725606213E-2</c:v>
                </c:pt>
                <c:pt idx="2152">
                  <c:v>-3.6704055015764681E-2</c:v>
                </c:pt>
                <c:pt idx="2153">
                  <c:v>-4.1127923785174714E-2</c:v>
                </c:pt>
                <c:pt idx="2154">
                  <c:v>-4.2943337490882305E-2</c:v>
                </c:pt>
                <c:pt idx="2155">
                  <c:v>-4.6907064726082637E-2</c:v>
                </c:pt>
                <c:pt idx="2156">
                  <c:v>-4.6903365839151778E-2</c:v>
                </c:pt>
                <c:pt idx="2157">
                  <c:v>-3.8092617169641407E-2</c:v>
                </c:pt>
                <c:pt idx="2158">
                  <c:v>-3.6218761050424764E-2</c:v>
                </c:pt>
                <c:pt idx="2159">
                  <c:v>-3.5318451971432796E-2</c:v>
                </c:pt>
                <c:pt idx="2160">
                  <c:v>-3.5552961402854688E-2</c:v>
                </c:pt>
                <c:pt idx="2161">
                  <c:v>-3.4116313718875801E-2</c:v>
                </c:pt>
                <c:pt idx="2162">
                  <c:v>-3.2869788823147505E-2</c:v>
                </c:pt>
                <c:pt idx="2163">
                  <c:v>-3.6451051149688052E-2</c:v>
                </c:pt>
                <c:pt idx="2164">
                  <c:v>-4.4236468361940617E-2</c:v>
                </c:pt>
                <c:pt idx="2165">
                  <c:v>-4.3471538544621269E-2</c:v>
                </c:pt>
                <c:pt idx="2166">
                  <c:v>-4.5718242466477044E-2</c:v>
                </c:pt>
                <c:pt idx="2167">
                  <c:v>-4.8418429926066708E-2</c:v>
                </c:pt>
                <c:pt idx="2168">
                  <c:v>-4.6044484293786492E-2</c:v>
                </c:pt>
                <c:pt idx="2169">
                  <c:v>-4.6785001457361641E-2</c:v>
                </c:pt>
                <c:pt idx="2170">
                  <c:v>-5.1413048785359572E-2</c:v>
                </c:pt>
                <c:pt idx="2171">
                  <c:v>-5.3903139467271655E-2</c:v>
                </c:pt>
                <c:pt idx="2172">
                  <c:v>-5.6592230266068411E-2</c:v>
                </c:pt>
                <c:pt idx="2173">
                  <c:v>-6.1732943322695411E-2</c:v>
                </c:pt>
                <c:pt idx="2174">
                  <c:v>-6.9595297383111543E-2</c:v>
                </c:pt>
                <c:pt idx="2175">
                  <c:v>-6.4555194051006182E-2</c:v>
                </c:pt>
                <c:pt idx="2176">
                  <c:v>-5.8906253930067431E-2</c:v>
                </c:pt>
                <c:pt idx="2177">
                  <c:v>-5.6925130089853337E-2</c:v>
                </c:pt>
                <c:pt idx="2178">
                  <c:v>-5.406737004700557E-2</c:v>
                </c:pt>
                <c:pt idx="2179">
                  <c:v>-5.2637380359502384E-2</c:v>
                </c:pt>
                <c:pt idx="2180">
                  <c:v>-5.3265451360376748E-2</c:v>
                </c:pt>
                <c:pt idx="2181">
                  <c:v>-4.655715002241545E-2</c:v>
                </c:pt>
                <c:pt idx="2182">
                  <c:v>-4.9872092489927966E-2</c:v>
                </c:pt>
                <c:pt idx="2183">
                  <c:v>-4.9619828401237576E-2</c:v>
                </c:pt>
                <c:pt idx="2184">
                  <c:v>-6.3381167339124356E-2</c:v>
                </c:pt>
                <c:pt idx="2185">
                  <c:v>-7.2058756079120823E-2</c:v>
                </c:pt>
                <c:pt idx="2186">
                  <c:v>-6.6357291763762483E-2</c:v>
                </c:pt>
                <c:pt idx="2187">
                  <c:v>-5.4158362665506776E-2</c:v>
                </c:pt>
                <c:pt idx="2188">
                  <c:v>-5.3630161611767924E-2</c:v>
                </c:pt>
                <c:pt idx="2189">
                  <c:v>-4.8911861442654803E-2</c:v>
                </c:pt>
                <c:pt idx="2190">
                  <c:v>-5.4440957627030939E-2</c:v>
                </c:pt>
                <c:pt idx="2191">
                  <c:v>-4.8087749434440274E-2</c:v>
                </c:pt>
                <c:pt idx="2192">
                  <c:v>-5.4380295881363505E-2</c:v>
                </c:pt>
                <c:pt idx="2193">
                  <c:v>-5.1401212347180536E-2</c:v>
                </c:pt>
                <c:pt idx="2194">
                  <c:v>-4.506945769878945E-2</c:v>
                </c:pt>
                <c:pt idx="2195">
                  <c:v>-4.2104429934944121E-2</c:v>
                </c:pt>
                <c:pt idx="2196">
                  <c:v>-3.9030654895328976E-2</c:v>
                </c:pt>
                <c:pt idx="2197">
                  <c:v>-3.8402583894454501E-2</c:v>
                </c:pt>
                <c:pt idx="2198">
                  <c:v>-4.495849109086103E-2</c:v>
                </c:pt>
                <c:pt idx="2199">
                  <c:v>-4.2644467426861898E-2</c:v>
                </c:pt>
                <c:pt idx="2200">
                  <c:v>-4.9369043867319551E-2</c:v>
                </c:pt>
                <c:pt idx="2201">
                  <c:v>-4.8462816569238121E-2</c:v>
                </c:pt>
                <c:pt idx="2202">
                  <c:v>-4.0652246925855118E-2</c:v>
                </c:pt>
                <c:pt idx="2203">
                  <c:v>-3.9490056652152217E-2</c:v>
                </c:pt>
                <c:pt idx="2204">
                  <c:v>-3.2759561992605213E-2</c:v>
                </c:pt>
                <c:pt idx="2205">
                  <c:v>-2.4730018242910434E-2</c:v>
                </c:pt>
                <c:pt idx="2206">
                  <c:v>-2.0225513738405865E-2</c:v>
                </c:pt>
                <c:pt idx="2207">
                  <c:v>-1.5871184043297903E-2</c:v>
                </c:pt>
                <c:pt idx="2208">
                  <c:v>-1.3231658329375562E-2</c:v>
                </c:pt>
                <c:pt idx="2209">
                  <c:v>-1.5572313979277497E-2</c:v>
                </c:pt>
                <c:pt idx="2210">
                  <c:v>-1.9080338344585446E-2</c:v>
                </c:pt>
                <c:pt idx="2211">
                  <c:v>-1.8527724637102283E-2</c:v>
                </c:pt>
                <c:pt idx="2212">
                  <c:v>-1.8009140689383862E-2</c:v>
                </c:pt>
                <c:pt idx="2213">
                  <c:v>-2.1276737404180346E-2</c:v>
                </c:pt>
                <c:pt idx="2214">
                  <c:v>-1.4620220483252289E-2</c:v>
                </c:pt>
                <c:pt idx="2215">
                  <c:v>-1.426660689265391E-2</c:v>
                </c:pt>
                <c:pt idx="2216">
                  <c:v>-1.0419024707085112E-2</c:v>
                </c:pt>
                <c:pt idx="2217">
                  <c:v>-8.1545661279608384E-3</c:v>
                </c:pt>
                <c:pt idx="2218">
                  <c:v>-2.7652878695744176E-3</c:v>
                </c:pt>
                <c:pt idx="2219">
                  <c:v>-7.018268062774613E-3</c:v>
                </c:pt>
                <c:pt idx="2220">
                  <c:v>-1.5944422004530501E-2</c:v>
                </c:pt>
                <c:pt idx="2221">
                  <c:v>-1.9326684214186374E-2</c:v>
                </c:pt>
                <c:pt idx="2222">
                  <c:v>-2.0990443555725213E-2</c:v>
                </c:pt>
                <c:pt idx="2223">
                  <c:v>-1.5105514448592094E-2</c:v>
                </c:pt>
                <c:pt idx="2224">
                  <c:v>-7.5871568727537975E-3</c:v>
                </c:pt>
                <c:pt idx="2225">
                  <c:v>0</c:v>
                </c:pt>
                <c:pt idx="2226">
                  <c:v>-6.0328908426119376E-3</c:v>
                </c:pt>
                <c:pt idx="2227">
                  <c:v>-6.9362745459832231E-3</c:v>
                </c:pt>
                <c:pt idx="2228">
                  <c:v>-6.1583608014134095E-3</c:v>
                </c:pt>
                <c:pt idx="2229">
                  <c:v>-2.8267643659413144E-3</c:v>
                </c:pt>
                <c:pt idx="2230">
                  <c:v>-1.7558413646407978E-3</c:v>
                </c:pt>
                <c:pt idx="2231">
                  <c:v>0</c:v>
                </c:pt>
                <c:pt idx="2232">
                  <c:v>0</c:v>
                </c:pt>
                <c:pt idx="2233">
                  <c:v>0</c:v>
                </c:pt>
                <c:pt idx="2234">
                  <c:v>0</c:v>
                </c:pt>
                <c:pt idx="2235">
                  <c:v>-3.6039933298355198E-3</c:v>
                </c:pt>
                <c:pt idx="2236">
                  <c:v>-1.1399492284149826E-3</c:v>
                </c:pt>
                <c:pt idx="2237">
                  <c:v>0</c:v>
                </c:pt>
                <c:pt idx="2238">
                  <c:v>0</c:v>
                </c:pt>
                <c:pt idx="2239">
                  <c:v>0</c:v>
                </c:pt>
                <c:pt idx="2240">
                  <c:v>-2.728388358972933E-3</c:v>
                </c:pt>
                <c:pt idx="2241">
                  <c:v>-8.8723362151511553E-3</c:v>
                </c:pt>
                <c:pt idx="2242">
                  <c:v>-1.0477185265832856E-2</c:v>
                </c:pt>
                <c:pt idx="2243">
                  <c:v>-1.8364431210037391E-2</c:v>
                </c:pt>
                <c:pt idx="2244">
                  <c:v>-1.4588614270108935E-2</c:v>
                </c:pt>
                <c:pt idx="2245">
                  <c:v>-1.420226172087069E-2</c:v>
                </c:pt>
                <c:pt idx="2246">
                  <c:v>-1.8081009358719924E-2</c:v>
                </c:pt>
                <c:pt idx="2247">
                  <c:v>-1.6639254723757935E-2</c:v>
                </c:pt>
                <c:pt idx="2248">
                  <c:v>-2.0615134146969027E-2</c:v>
                </c:pt>
                <c:pt idx="2249">
                  <c:v>-2.2938323490887425E-2</c:v>
                </c:pt>
                <c:pt idx="2250">
                  <c:v>-2.0699943243143171E-2</c:v>
                </c:pt>
                <c:pt idx="2251">
                  <c:v>-2.2250427488585078E-2</c:v>
                </c:pt>
                <c:pt idx="2252">
                  <c:v>-2.5479696919834982E-2</c:v>
                </c:pt>
                <c:pt idx="2253">
                  <c:v>-1.4218933594477678E-2</c:v>
                </c:pt>
                <c:pt idx="2254">
                  <c:v>-1.4499455989515408E-2</c:v>
                </c:pt>
                <c:pt idx="2255">
                  <c:v>-1.8054189388134967E-2</c:v>
                </c:pt>
                <c:pt idx="2256">
                  <c:v>-1.7633043363543099E-2</c:v>
                </c:pt>
                <c:pt idx="2257">
                  <c:v>-1.7648990373080209E-2</c:v>
                </c:pt>
                <c:pt idx="2258">
                  <c:v>-1.1443429070963407E-2</c:v>
                </c:pt>
                <c:pt idx="2259">
                  <c:v>-1.5977453827970778E-2</c:v>
                </c:pt>
                <c:pt idx="2260">
                  <c:v>-1.7424282511421918E-2</c:v>
                </c:pt>
                <c:pt idx="2261">
                  <c:v>-1.5247515709616577E-2</c:v>
                </c:pt>
                <c:pt idx="2262">
                  <c:v>-1.3038854888737017E-2</c:v>
                </c:pt>
                <c:pt idx="2263">
                  <c:v>-1.1231768762562711E-2</c:v>
                </c:pt>
                <c:pt idx="2264">
                  <c:v>-1.1616671583661198E-2</c:v>
                </c:pt>
                <c:pt idx="2265">
                  <c:v>-1.0488783090950915E-2</c:v>
                </c:pt>
                <c:pt idx="2266">
                  <c:v>-1.5970205187272102E-2</c:v>
                </c:pt>
                <c:pt idx="2267">
                  <c:v>-1.7385139851649134E-2</c:v>
                </c:pt>
                <c:pt idx="2268">
                  <c:v>-1.2897506395113112E-2</c:v>
                </c:pt>
                <c:pt idx="2269">
                  <c:v>-1.7496768918408456E-2</c:v>
                </c:pt>
                <c:pt idx="2270">
                  <c:v>-1.6096331535428776E-2</c:v>
                </c:pt>
                <c:pt idx="2271">
                  <c:v>-1.6998062438341233E-2</c:v>
                </c:pt>
                <c:pt idx="2272">
                  <c:v>-1.556283158000793E-2</c:v>
                </c:pt>
                <c:pt idx="2273">
                  <c:v>-1.5920914430521238E-2</c:v>
                </c:pt>
                <c:pt idx="2274">
                  <c:v>-1.5696931432932937E-2</c:v>
                </c:pt>
                <c:pt idx="2275">
                  <c:v>-1.4969167906788261E-2</c:v>
                </c:pt>
                <c:pt idx="2276">
                  <c:v>-1.8057088844414371E-2</c:v>
                </c:pt>
                <c:pt idx="2277">
                  <c:v>-2.2606335746888973E-2</c:v>
                </c:pt>
                <c:pt idx="2278">
                  <c:v>-2.2693319435272863E-2</c:v>
                </c:pt>
                <c:pt idx="2279">
                  <c:v>-2.5086095729898061E-2</c:v>
                </c:pt>
                <c:pt idx="2280">
                  <c:v>-2.0507854264628977E-2</c:v>
                </c:pt>
                <c:pt idx="2281">
                  <c:v>-1.6703767625975807E-2</c:v>
                </c:pt>
                <c:pt idx="2282">
                  <c:v>-1.6106479632406745E-2</c:v>
                </c:pt>
                <c:pt idx="2283">
                  <c:v>-1.45190273194018E-2</c:v>
                </c:pt>
                <c:pt idx="2284">
                  <c:v>-2.0104104977713977E-2</c:v>
                </c:pt>
                <c:pt idx="2285">
                  <c:v>-2.3334824137103749E-2</c:v>
                </c:pt>
                <c:pt idx="2286">
                  <c:v>-2.8501655227103462E-2</c:v>
                </c:pt>
                <c:pt idx="2287">
                  <c:v>-2.9104017269161564E-2</c:v>
                </c:pt>
                <c:pt idx="2288">
                  <c:v>-2.670834151825674E-2</c:v>
                </c:pt>
                <c:pt idx="2289">
                  <c:v>-2.6270523620058217E-2</c:v>
                </c:pt>
                <c:pt idx="2290">
                  <c:v>-2.659526272335766E-2</c:v>
                </c:pt>
                <c:pt idx="2291">
                  <c:v>-2.7794187894914946E-2</c:v>
                </c:pt>
                <c:pt idx="2292">
                  <c:v>-2.6950446117591675E-2</c:v>
                </c:pt>
                <c:pt idx="2293">
                  <c:v>-1.965758871067691E-2</c:v>
                </c:pt>
                <c:pt idx="2294">
                  <c:v>-1.8754408079624918E-2</c:v>
                </c:pt>
                <c:pt idx="2295">
                  <c:v>-1.6645053636316853E-2</c:v>
                </c:pt>
                <c:pt idx="2296">
                  <c:v>-1.3141060722587916E-2</c:v>
                </c:pt>
                <c:pt idx="2297">
                  <c:v>-2.2050365005302441E-2</c:v>
                </c:pt>
                <c:pt idx="2298">
                  <c:v>-2.7490469849641319E-2</c:v>
                </c:pt>
                <c:pt idx="2299">
                  <c:v>-2.6390126191585761E-2</c:v>
                </c:pt>
                <c:pt idx="2300">
                  <c:v>-2.7576728673955331E-2</c:v>
                </c:pt>
                <c:pt idx="2301">
                  <c:v>-2.8645178312936781E-2</c:v>
                </c:pt>
                <c:pt idx="2302">
                  <c:v>-3.750591670297021E-2</c:v>
                </c:pt>
                <c:pt idx="2303">
                  <c:v>-4.2344384369321197E-2</c:v>
                </c:pt>
                <c:pt idx="2304">
                  <c:v>-3.7983602125011395E-2</c:v>
                </c:pt>
                <c:pt idx="2305">
                  <c:v>-2.9159106938471235E-2</c:v>
                </c:pt>
                <c:pt idx="2306">
                  <c:v>-2.8490057401985625E-2</c:v>
                </c:pt>
                <c:pt idx="2307">
                  <c:v>-2.7319401929153275E-2</c:v>
                </c:pt>
                <c:pt idx="2308">
                  <c:v>-2.737739105474235E-2</c:v>
                </c:pt>
                <c:pt idx="2309">
                  <c:v>-2.3690007531337542E-2</c:v>
                </c:pt>
                <c:pt idx="2310">
                  <c:v>-2.5091894642457202E-2</c:v>
                </c:pt>
                <c:pt idx="2311">
                  <c:v>-2.5044053613845985E-2</c:v>
                </c:pt>
                <c:pt idx="2312">
                  <c:v>-2.0680371913256779E-2</c:v>
                </c:pt>
                <c:pt idx="2313">
                  <c:v>-1.9495944023096956E-2</c:v>
                </c:pt>
                <c:pt idx="2314">
                  <c:v>-2.0362156586586133E-2</c:v>
                </c:pt>
                <c:pt idx="2315">
                  <c:v>-2.4532299580521166E-2</c:v>
                </c:pt>
                <c:pt idx="2316">
                  <c:v>-2.5191201020028697E-2</c:v>
                </c:pt>
                <c:pt idx="2317">
                  <c:v>-2.3371067340596907E-2</c:v>
                </c:pt>
                <c:pt idx="2318">
                  <c:v>-1.7124913650567564E-2</c:v>
                </c:pt>
                <c:pt idx="2319">
                  <c:v>-1.3106267247234404E-2</c:v>
                </c:pt>
                <c:pt idx="2320">
                  <c:v>-1.3004061413383283E-2</c:v>
                </c:pt>
                <c:pt idx="2321">
                  <c:v>-1.2018246278366562E-2</c:v>
                </c:pt>
                <c:pt idx="2322">
                  <c:v>-1.2831543764755482E-2</c:v>
                </c:pt>
                <c:pt idx="2323">
                  <c:v>-1.7731624877044716E-2</c:v>
                </c:pt>
                <c:pt idx="2324">
                  <c:v>-1.9872873339426889E-2</c:v>
                </c:pt>
                <c:pt idx="2325">
                  <c:v>-1.7717127595647586E-2</c:v>
                </c:pt>
                <c:pt idx="2326">
                  <c:v>-1.3699206056384194E-2</c:v>
                </c:pt>
                <c:pt idx="2327">
                  <c:v>-1.5538911065702377E-2</c:v>
                </c:pt>
                <c:pt idx="2328">
                  <c:v>-1.2732962251253754E-2</c:v>
                </c:pt>
                <c:pt idx="2329">
                  <c:v>-1.5098193711224228E-2</c:v>
                </c:pt>
                <c:pt idx="2330">
                  <c:v>-1.7477922452591943E-2</c:v>
                </c:pt>
                <c:pt idx="2331">
                  <c:v>-1.71785535917377E-2</c:v>
                </c:pt>
                <c:pt idx="2332">
                  <c:v>-2.0043941259915155E-2</c:v>
                </c:pt>
                <c:pt idx="2333">
                  <c:v>-1.9641641701140022E-2</c:v>
                </c:pt>
                <c:pt idx="2334">
                  <c:v>-2.4451839668766073E-2</c:v>
                </c:pt>
                <c:pt idx="2335">
                  <c:v>-1.6565318588631528E-2</c:v>
                </c:pt>
                <c:pt idx="2336">
                  <c:v>-1.6600836928055029E-2</c:v>
                </c:pt>
                <c:pt idx="2337">
                  <c:v>-4.8232455208835345E-3</c:v>
                </c:pt>
                <c:pt idx="2338">
                  <c:v>0</c:v>
                </c:pt>
                <c:pt idx="2339">
                  <c:v>0</c:v>
                </c:pt>
                <c:pt idx="2340">
                  <c:v>-3.951265801823256E-3</c:v>
                </c:pt>
                <c:pt idx="2341">
                  <c:v>-4.2262992450259329E-3</c:v>
                </c:pt>
                <c:pt idx="2342">
                  <c:v>-7.0126328188335751E-4</c:v>
                </c:pt>
                <c:pt idx="2343">
                  <c:v>-4.2428588502451126E-3</c:v>
                </c:pt>
                <c:pt idx="2344">
                  <c:v>-9.3799363823166004E-3</c:v>
                </c:pt>
                <c:pt idx="2345">
                  <c:v>-1.1143174346723517E-2</c:v>
                </c:pt>
                <c:pt idx="2346">
                  <c:v>-8.7161122078849296E-3</c:v>
                </c:pt>
                <c:pt idx="2347">
                  <c:v>-8.0825273125488817E-3</c:v>
                </c:pt>
                <c:pt idx="2348">
                  <c:v>-8.1588454931235121E-3</c:v>
                </c:pt>
                <c:pt idx="2349">
                  <c:v>-2.6704163372746059E-3</c:v>
                </c:pt>
                <c:pt idx="2350">
                  <c:v>-4.0146242913569052E-3</c:v>
                </c:pt>
                <c:pt idx="2351">
                  <c:v>0</c:v>
                </c:pt>
                <c:pt idx="2352">
                  <c:v>0</c:v>
                </c:pt>
                <c:pt idx="2353">
                  <c:v>-3.7123019943635649E-3</c:v>
                </c:pt>
                <c:pt idx="2354">
                  <c:v>-4.566772125701446E-3</c:v>
                </c:pt>
                <c:pt idx="2355">
                  <c:v>-5.090108086512557E-3</c:v>
                </c:pt>
                <c:pt idx="2356">
                  <c:v>-1.3482919595585452E-3</c:v>
                </c:pt>
                <c:pt idx="2357">
                  <c:v>-7.2827921809145435E-3</c:v>
                </c:pt>
                <c:pt idx="2358">
                  <c:v>-8.6958712607935196E-3</c:v>
                </c:pt>
                <c:pt idx="2359">
                  <c:v>-9.5827349522916716E-3</c:v>
                </c:pt>
                <c:pt idx="2360">
                  <c:v>-1.1204572530980839E-2</c:v>
                </c:pt>
                <c:pt idx="2361">
                  <c:v>-6.9142254519802826E-3</c:v>
                </c:pt>
                <c:pt idx="2362">
                  <c:v>-5.6602347453327262E-3</c:v>
                </c:pt>
                <c:pt idx="2363">
                  <c:v>-5.9316207937865073E-4</c:v>
                </c:pt>
                <c:pt idx="2364">
                  <c:v>0</c:v>
                </c:pt>
                <c:pt idx="2365">
                  <c:v>-2.5339454764340408E-3</c:v>
                </c:pt>
                <c:pt idx="2366">
                  <c:v>-2.6859535242562682E-3</c:v>
                </c:pt>
                <c:pt idx="2367">
                  <c:v>-9.4718222251521933E-4</c:v>
                </c:pt>
                <c:pt idx="2368">
                  <c:v>0</c:v>
                </c:pt>
                <c:pt idx="2369">
                  <c:v>-3.2381239606165124E-3</c:v>
                </c:pt>
                <c:pt idx="2370">
                  <c:v>-2.1304011314495774E-3</c:v>
                </c:pt>
                <c:pt idx="2371">
                  <c:v>0</c:v>
                </c:pt>
                <c:pt idx="2372">
                  <c:v>-5.7871697790631282E-3</c:v>
                </c:pt>
                <c:pt idx="2373">
                  <c:v>-6.3022022446298509E-3</c:v>
                </c:pt>
                <c:pt idx="2374">
                  <c:v>0</c:v>
                </c:pt>
                <c:pt idx="2375">
                  <c:v>-8.2721071797766665E-3</c:v>
                </c:pt>
                <c:pt idx="2376">
                  <c:v>-3.6124260060547142E-3</c:v>
                </c:pt>
                <c:pt idx="2377">
                  <c:v>0</c:v>
                </c:pt>
                <c:pt idx="2378">
                  <c:v>0</c:v>
                </c:pt>
                <c:pt idx="2379">
                  <c:v>0</c:v>
                </c:pt>
                <c:pt idx="2380">
                  <c:v>-5.5613045835012365E-5</c:v>
                </c:pt>
                <c:pt idx="2381">
                  <c:v>0</c:v>
                </c:pt>
                <c:pt idx="2382">
                  <c:v>0</c:v>
                </c:pt>
                <c:pt idx="2383">
                  <c:v>-3.2084181752251029E-3</c:v>
                </c:pt>
                <c:pt idx="2384">
                  <c:v>0</c:v>
                </c:pt>
                <c:pt idx="2385">
                  <c:v>0</c:v>
                </c:pt>
                <c:pt idx="2386">
                  <c:v>-9.3342191363976479E-4</c:v>
                </c:pt>
                <c:pt idx="2387">
                  <c:v>0</c:v>
                </c:pt>
                <c:pt idx="2388">
                  <c:v>0</c:v>
                </c:pt>
                <c:pt idx="2389">
                  <c:v>-2.3667111618489445E-3</c:v>
                </c:pt>
                <c:pt idx="2390">
                  <c:v>-2.9658086504708026E-3</c:v>
                </c:pt>
                <c:pt idx="2391">
                  <c:v>-1.1919831369240352E-3</c:v>
                </c:pt>
                <c:pt idx="2392">
                  <c:v>-1.0546324454083766E-3</c:v>
                </c:pt>
                <c:pt idx="2393">
                  <c:v>-2.9602870146309135E-3</c:v>
                </c:pt>
                <c:pt idx="2394">
                  <c:v>-4.3579510865889848E-3</c:v>
                </c:pt>
                <c:pt idx="2395">
                  <c:v>-8.9795602845299527E-4</c:v>
                </c:pt>
                <c:pt idx="2396">
                  <c:v>0</c:v>
                </c:pt>
                <c:pt idx="2397">
                  <c:v>0</c:v>
                </c:pt>
                <c:pt idx="2398">
                  <c:v>-3.346768413913237E-4</c:v>
                </c:pt>
                <c:pt idx="2399">
                  <c:v>-4.0531560094725361E-4</c:v>
                </c:pt>
                <c:pt idx="2400">
                  <c:v>-3.8686722587875089E-3</c:v>
                </c:pt>
                <c:pt idx="2401">
                  <c:v>0</c:v>
                </c:pt>
                <c:pt idx="2402">
                  <c:v>-5.0710022581967884E-3</c:v>
                </c:pt>
                <c:pt idx="2403">
                  <c:v>-6.7862446064470561E-3</c:v>
                </c:pt>
                <c:pt idx="2404">
                  <c:v>-1.6791139422740686E-2</c:v>
                </c:pt>
                <c:pt idx="2405">
                  <c:v>-1.3433322867292818E-2</c:v>
                </c:pt>
                <c:pt idx="2406">
                  <c:v>-1.2841008962861E-2</c:v>
                </c:pt>
                <c:pt idx="2407">
                  <c:v>-4.8344880255243305E-3</c:v>
                </c:pt>
                <c:pt idx="2408">
                  <c:v>-1.7975081683102578E-3</c:v>
                </c:pt>
                <c:pt idx="2409">
                  <c:v>-2.8443407285734246E-3</c:v>
                </c:pt>
                <c:pt idx="2410">
                  <c:v>-1.4266949843900534E-2</c:v>
                </c:pt>
                <c:pt idx="2411">
                  <c:v>-1.3154990176089898E-2</c:v>
                </c:pt>
                <c:pt idx="2412">
                  <c:v>-1.6766459676722634E-2</c:v>
                </c:pt>
                <c:pt idx="2413">
                  <c:v>-2.2506557271407157E-2</c:v>
                </c:pt>
                <c:pt idx="2414">
                  <c:v>-1.8322654772857216E-2</c:v>
                </c:pt>
                <c:pt idx="2415">
                  <c:v>-1.2551021947149521E-2</c:v>
                </c:pt>
                <c:pt idx="2416">
                  <c:v>-3.726641648716722E-3</c:v>
                </c:pt>
                <c:pt idx="2417">
                  <c:v>0</c:v>
                </c:pt>
                <c:pt idx="2418">
                  <c:v>0</c:v>
                </c:pt>
                <c:pt idx="2419">
                  <c:v>-1.333677508174147E-3</c:v>
                </c:pt>
                <c:pt idx="2420">
                  <c:v>0</c:v>
                </c:pt>
                <c:pt idx="2421">
                  <c:v>-9.8435342247116253E-4</c:v>
                </c:pt>
                <c:pt idx="2422">
                  <c:v>-6.1607417737885584E-3</c:v>
                </c:pt>
                <c:pt idx="2423">
                  <c:v>0</c:v>
                </c:pt>
                <c:pt idx="2424">
                  <c:v>0</c:v>
                </c:pt>
                <c:pt idx="2425">
                  <c:v>0</c:v>
                </c:pt>
                <c:pt idx="2426">
                  <c:v>0</c:v>
                </c:pt>
                <c:pt idx="2427">
                  <c:v>0</c:v>
                </c:pt>
                <c:pt idx="2428">
                  <c:v>0</c:v>
                </c:pt>
                <c:pt idx="2429">
                  <c:v>0</c:v>
                </c:pt>
                <c:pt idx="2430">
                  <c:v>0</c:v>
                </c:pt>
                <c:pt idx="2431">
                  <c:v>0</c:v>
                </c:pt>
                <c:pt idx="2432">
                  <c:v>0</c:v>
                </c:pt>
                <c:pt idx="2433">
                  <c:v>-3.429955738463164E-3</c:v>
                </c:pt>
                <c:pt idx="2434">
                  <c:v>0</c:v>
                </c:pt>
                <c:pt idx="2435">
                  <c:v>0</c:v>
                </c:pt>
                <c:pt idx="2436">
                  <c:v>0</c:v>
                </c:pt>
                <c:pt idx="2437">
                  <c:v>-3.0006432296304508E-3</c:v>
                </c:pt>
                <c:pt idx="2438">
                  <c:v>-1.3981538849690001E-2</c:v>
                </c:pt>
                <c:pt idx="2439">
                  <c:v>-1.5550519807070562E-2</c:v>
                </c:pt>
                <c:pt idx="2440">
                  <c:v>-1.7156951314941438E-2</c:v>
                </c:pt>
                <c:pt idx="2441">
                  <c:v>-9.2292611006389302E-3</c:v>
                </c:pt>
                <c:pt idx="2442">
                  <c:v>-1.9168111578987568E-2</c:v>
                </c:pt>
                <c:pt idx="2443">
                  <c:v>-2.1810674983755107E-2</c:v>
                </c:pt>
                <c:pt idx="2444">
                  <c:v>-2.6150339650211962E-2</c:v>
                </c:pt>
                <c:pt idx="2445">
                  <c:v>-2.9518261085527242E-2</c:v>
                </c:pt>
                <c:pt idx="2446">
                  <c:v>-3.1129948811010721E-2</c:v>
                </c:pt>
                <c:pt idx="2447">
                  <c:v>-4.1951843848287318E-2</c:v>
                </c:pt>
                <c:pt idx="2448">
                  <c:v>-4.6496501001638046E-2</c:v>
                </c:pt>
                <c:pt idx="2449">
                  <c:v>-3.9824389769560931E-2</c:v>
                </c:pt>
                <c:pt idx="2450">
                  <c:v>-3.7647001623514309E-2</c:v>
                </c:pt>
                <c:pt idx="2451">
                  <c:v>-4.6151561720806922E-2</c:v>
                </c:pt>
                <c:pt idx="2452">
                  <c:v>-5.1126571691194722E-2</c:v>
                </c:pt>
                <c:pt idx="2453">
                  <c:v>-4.6065491157399441E-2</c:v>
                </c:pt>
                <c:pt idx="2454">
                  <c:v>-4.7869687852946985E-2</c:v>
                </c:pt>
                <c:pt idx="2455">
                  <c:v>-4.2859198413673583E-2</c:v>
                </c:pt>
                <c:pt idx="2456">
                  <c:v>-4.2718594592534687E-2</c:v>
                </c:pt>
                <c:pt idx="2457">
                  <c:v>-4.6370351778934005E-2</c:v>
                </c:pt>
                <c:pt idx="2458">
                  <c:v>-6.0204059508267793E-2</c:v>
                </c:pt>
                <c:pt idx="2459">
                  <c:v>-5.8175159509779029E-2</c:v>
                </c:pt>
                <c:pt idx="2460">
                  <c:v>-6.6278275986904167E-2</c:v>
                </c:pt>
                <c:pt idx="2461">
                  <c:v>-5.8328903874949378E-2</c:v>
                </c:pt>
                <c:pt idx="2462">
                  <c:v>-4.7631844005973756E-2</c:v>
                </c:pt>
                <c:pt idx="2463">
                  <c:v>-4.2918330861816067E-2</c:v>
                </c:pt>
                <c:pt idx="2464">
                  <c:v>-4.4342108807646885E-2</c:v>
                </c:pt>
                <c:pt idx="2465">
                  <c:v>-4.1033319820473979E-2</c:v>
                </c:pt>
                <c:pt idx="2466">
                  <c:v>-4.0599681867429016E-2</c:v>
                </c:pt>
                <c:pt idx="2467">
                  <c:v>-3.9782997055861191E-2</c:v>
                </c:pt>
                <c:pt idx="2468">
                  <c:v>-3.25938054161381E-2</c:v>
                </c:pt>
                <c:pt idx="2469">
                  <c:v>-2.8575427051255486E-2</c:v>
                </c:pt>
                <c:pt idx="2470">
                  <c:v>-2.5678594119475262E-2</c:v>
                </c:pt>
                <c:pt idx="2471">
                  <c:v>-1.6365890564235319E-2</c:v>
                </c:pt>
                <c:pt idx="2472">
                  <c:v>-1.840793110675587E-2</c:v>
                </c:pt>
                <c:pt idx="2473">
                  <c:v>-1.704657074507554E-2</c:v>
                </c:pt>
                <c:pt idx="2474">
                  <c:v>-1.6562341697508698E-2</c:v>
                </c:pt>
                <c:pt idx="2475">
                  <c:v>-1.5490730331726654E-2</c:v>
                </c:pt>
                <c:pt idx="2476">
                  <c:v>-2.0153652381362352E-2</c:v>
                </c:pt>
                <c:pt idx="2477">
                  <c:v>-1.6603734411208437E-2</c:v>
                </c:pt>
                <c:pt idx="2478">
                  <c:v>-1.2665513364918946E-2</c:v>
                </c:pt>
                <c:pt idx="2479">
                  <c:v>-1.4381668415454185E-2</c:v>
                </c:pt>
                <c:pt idx="2480">
                  <c:v>-1.3827137457317895E-2</c:v>
                </c:pt>
                <c:pt idx="2481">
                  <c:v>-1.5853409347000413E-2</c:v>
                </c:pt>
                <c:pt idx="2482">
                  <c:v>-1.7628039818476715E-2</c:v>
                </c:pt>
                <c:pt idx="2483">
                  <c:v>-1.7559051962310335E-2</c:v>
                </c:pt>
                <c:pt idx="2484">
                  <c:v>-1.9555100600720077E-2</c:v>
                </c:pt>
                <c:pt idx="2485">
                  <c:v>-2.2377689458721317E-2</c:v>
                </c:pt>
                <c:pt idx="2486">
                  <c:v>-2.1445367859674769E-2</c:v>
                </c:pt>
                <c:pt idx="2487">
                  <c:v>-2.3852715526275547E-2</c:v>
                </c:pt>
                <c:pt idx="2488">
                  <c:v>-1.3659595520914225E-2</c:v>
                </c:pt>
                <c:pt idx="2489">
                  <c:v>-1.2112953488387479E-2</c:v>
                </c:pt>
                <c:pt idx="2490">
                  <c:v>-1.1861312070181151E-2</c:v>
                </c:pt>
                <c:pt idx="2491">
                  <c:v>-1.6258795130377202E-2</c:v>
                </c:pt>
                <c:pt idx="2492">
                  <c:v>-2.0342876215418304E-2</c:v>
                </c:pt>
                <c:pt idx="2493">
                  <c:v>-1.975549389720288E-2</c:v>
                </c:pt>
                <c:pt idx="2494">
                  <c:v>-1.8452608956463501E-2</c:v>
                </c:pt>
                <c:pt idx="2495">
                  <c:v>-1.6737110933129795E-2</c:v>
                </c:pt>
                <c:pt idx="2496">
                  <c:v>-1.3170110255734779E-2</c:v>
                </c:pt>
                <c:pt idx="2497">
                  <c:v>-1.3497309802123159E-2</c:v>
                </c:pt>
                <c:pt idx="2498">
                  <c:v>-2.2059031265953544E-2</c:v>
                </c:pt>
                <c:pt idx="2499">
                  <c:v>-2.4924326892057813E-2</c:v>
                </c:pt>
                <c:pt idx="2500">
                  <c:v>-2.9717997354808512E-2</c:v>
                </c:pt>
                <c:pt idx="2501">
                  <c:v>-3.3316535337879705E-2</c:v>
                </c:pt>
                <c:pt idx="2502">
                  <c:v>-3.6267244500189588E-2</c:v>
                </c:pt>
                <c:pt idx="2503">
                  <c:v>-3.0670686797104163E-2</c:v>
                </c:pt>
                <c:pt idx="2504">
                  <c:v>-2.8714059790789448E-2</c:v>
                </c:pt>
                <c:pt idx="2505">
                  <c:v>-2.893547795772311E-2</c:v>
                </c:pt>
                <c:pt idx="2506">
                  <c:v>-3.8581951331367215E-2</c:v>
                </c:pt>
                <c:pt idx="2507">
                  <c:v>-3.8202846636053667E-2</c:v>
                </c:pt>
                <c:pt idx="2508">
                  <c:v>-3.1479487282253027E-2</c:v>
                </c:pt>
                <c:pt idx="2509">
                  <c:v>-3.3393407520464824E-2</c:v>
                </c:pt>
                <c:pt idx="2510">
                  <c:v>-2.9768588449330391E-2</c:v>
                </c:pt>
                <c:pt idx="2511">
                  <c:v>-2.5938119864100551E-2</c:v>
                </c:pt>
                <c:pt idx="2512">
                  <c:v>-2.3036687741909256E-2</c:v>
                </c:pt>
                <c:pt idx="2513">
                  <c:v>-1.9105693994837192E-2</c:v>
                </c:pt>
                <c:pt idx="2514">
                  <c:v>-1.7356687584222819E-2</c:v>
                </c:pt>
                <c:pt idx="2515">
                  <c:v>-1.6836322040568841E-2</c:v>
                </c:pt>
                <c:pt idx="2516">
                  <c:v>-1.1971035612845404E-2</c:v>
                </c:pt>
                <c:pt idx="2517">
                  <c:v>-9.886288302222046E-3</c:v>
                </c:pt>
                <c:pt idx="2518">
                  <c:v>-1.1414533573104513E-2</c:v>
                </c:pt>
                <c:pt idx="2519">
                  <c:v>-8.7154658290008458E-3</c:v>
                </c:pt>
                <c:pt idx="2520">
                  <c:v>-7.3541054673205153E-3</c:v>
                </c:pt>
                <c:pt idx="2521">
                  <c:v>-7.3810435825854004E-3</c:v>
                </c:pt>
                <c:pt idx="2522">
                  <c:v>-9.8094161196371488E-4</c:v>
                </c:pt>
                <c:pt idx="2523">
                  <c:v>-5.0367705273366425E-3</c:v>
                </c:pt>
                <c:pt idx="2524">
                  <c:v>-8.5249279405417155E-3</c:v>
                </c:pt>
                <c:pt idx="2525">
                  <c:v>-9.5084976613117878E-3</c:v>
                </c:pt>
                <c:pt idx="2526">
                  <c:v>-1.0369203295385709E-2</c:v>
                </c:pt>
                <c:pt idx="2527">
                  <c:v>-1.218391242615835E-2</c:v>
                </c:pt>
                <c:pt idx="2528">
                  <c:v>-9.4046873634616723E-3</c:v>
                </c:pt>
                <c:pt idx="2529">
                  <c:v>-1.281400151247658E-2</c:v>
                </c:pt>
                <c:pt idx="2530">
                  <c:v>-1.762738279127507E-2</c:v>
                </c:pt>
                <c:pt idx="2531">
                  <c:v>-1.2567616311882968E-2</c:v>
                </c:pt>
                <c:pt idx="2532">
                  <c:v>-1.6999264786561441E-2</c:v>
                </c:pt>
                <c:pt idx="2533">
                  <c:v>-2.2531433823891778E-2</c:v>
                </c:pt>
                <c:pt idx="2534">
                  <c:v>-1.8927639623208203E-2</c:v>
                </c:pt>
                <c:pt idx="2535">
                  <c:v>-2.2250226181614208E-2</c:v>
                </c:pt>
                <c:pt idx="2536">
                  <c:v>-2.983757630549666E-2</c:v>
                </c:pt>
                <c:pt idx="2537">
                  <c:v>-2.7024185828317449E-2</c:v>
                </c:pt>
                <c:pt idx="2538">
                  <c:v>-1.5773909055608826E-2</c:v>
                </c:pt>
                <c:pt idx="2539">
                  <c:v>-1.2283123533597506E-2</c:v>
                </c:pt>
                <c:pt idx="2540">
                  <c:v>-1.1251590827111912E-2</c:v>
                </c:pt>
                <c:pt idx="2541">
                  <c:v>-9.3889187106235283E-3</c:v>
                </c:pt>
                <c:pt idx="2542">
                  <c:v>-3.2076067981290368E-3</c:v>
                </c:pt>
                <c:pt idx="2543">
                  <c:v>-4.1964327365117127E-3</c:v>
                </c:pt>
                <c:pt idx="2544">
                  <c:v>-8.9618510295952358E-4</c:v>
                </c:pt>
                <c:pt idx="2545">
                  <c:v>0</c:v>
                </c:pt>
                <c:pt idx="2546">
                  <c:v>0</c:v>
                </c:pt>
                <c:pt idx="2547">
                  <c:v>-4.8119145919620632E-3</c:v>
                </c:pt>
                <c:pt idx="2548">
                  <c:v>-3.4262984817953201E-3</c:v>
                </c:pt>
                <c:pt idx="2549">
                  <c:v>-2.8867549277654669E-3</c:v>
                </c:pt>
                <c:pt idx="2550">
                  <c:v>-1.2753444348905241E-3</c:v>
                </c:pt>
                <c:pt idx="2551">
                  <c:v>0</c:v>
                </c:pt>
                <c:pt idx="2552">
                  <c:v>-1.0834456323967068E-3</c:v>
                </c:pt>
                <c:pt idx="2553">
                  <c:v>0</c:v>
                </c:pt>
                <c:pt idx="2554">
                  <c:v>0</c:v>
                </c:pt>
                <c:pt idx="2555">
                  <c:v>0</c:v>
                </c:pt>
                <c:pt idx="2556">
                  <c:v>-7.9137775097981589E-4</c:v>
                </c:pt>
                <c:pt idx="2557">
                  <c:v>0</c:v>
                </c:pt>
                <c:pt idx="2558">
                  <c:v>0</c:v>
                </c:pt>
                <c:pt idx="2559">
                  <c:v>0</c:v>
                </c:pt>
                <c:pt idx="2560">
                  <c:v>-4.6218606900094716E-4</c:v>
                </c:pt>
                <c:pt idx="2561">
                  <c:v>-3.2941261645149655E-3</c:v>
                </c:pt>
                <c:pt idx="2562">
                  <c:v>0</c:v>
                </c:pt>
                <c:pt idx="2563">
                  <c:v>0</c:v>
                </c:pt>
                <c:pt idx="2564">
                  <c:v>0</c:v>
                </c:pt>
                <c:pt idx="2565">
                  <c:v>-1.7148974887392088E-3</c:v>
                </c:pt>
                <c:pt idx="2566">
                  <c:v>-4.8405505418934736E-3</c:v>
                </c:pt>
                <c:pt idx="2567">
                  <c:v>-3.4574442433263908E-3</c:v>
                </c:pt>
                <c:pt idx="2568">
                  <c:v>-1.3477409585292977E-3</c:v>
                </c:pt>
                <c:pt idx="2569">
                  <c:v>-1.510421522702865E-3</c:v>
                </c:pt>
                <c:pt idx="2570">
                  <c:v>-1.3760332305590151E-4</c:v>
                </c:pt>
                <c:pt idx="2571">
                  <c:v>-3.6156237642224198E-3</c:v>
                </c:pt>
                <c:pt idx="2572">
                  <c:v>-3.3211269326355319E-3</c:v>
                </c:pt>
                <c:pt idx="2573">
                  <c:v>-2.7507804487539866E-3</c:v>
                </c:pt>
                <c:pt idx="2574">
                  <c:v>-3.6207678136824795E-3</c:v>
                </c:pt>
                <c:pt idx="2575">
                  <c:v>-3.9499869791247422E-3</c:v>
                </c:pt>
                <c:pt idx="2576">
                  <c:v>-8.5500532087615655E-3</c:v>
                </c:pt>
                <c:pt idx="2577">
                  <c:v>-1.1318194824443184E-2</c:v>
                </c:pt>
                <c:pt idx="2578">
                  <c:v>-1.8726269053076838E-2</c:v>
                </c:pt>
                <c:pt idx="2579">
                  <c:v>-1.3480624616205583E-2</c:v>
                </c:pt>
                <c:pt idx="2580">
                  <c:v>-1.315076244458091E-2</c:v>
                </c:pt>
                <c:pt idx="2581">
                  <c:v>-1.7084031262960653E-2</c:v>
                </c:pt>
                <c:pt idx="2582">
                  <c:v>-2.4159028289056916E-2</c:v>
                </c:pt>
                <c:pt idx="2583">
                  <c:v>-2.7407495523069314E-2</c:v>
                </c:pt>
                <c:pt idx="2584">
                  <c:v>-2.6351679371397152E-2</c:v>
                </c:pt>
                <c:pt idx="2585">
                  <c:v>-2.2952105684496238E-2</c:v>
                </c:pt>
                <c:pt idx="2586">
                  <c:v>-2.4180890499262087E-2</c:v>
                </c:pt>
                <c:pt idx="2587">
                  <c:v>-1.6964432113014682E-2</c:v>
                </c:pt>
                <c:pt idx="2588">
                  <c:v>-1.0095197065319694E-2</c:v>
                </c:pt>
                <c:pt idx="2589">
                  <c:v>-6.6795482238560799E-3</c:v>
                </c:pt>
                <c:pt idx="2590">
                  <c:v>-4.0091435479152615E-3</c:v>
                </c:pt>
                <c:pt idx="2591">
                  <c:v>-6.648683927095167E-4</c:v>
                </c:pt>
                <c:pt idx="2592">
                  <c:v>-6.5007925051197013E-4</c:v>
                </c:pt>
                <c:pt idx="2593">
                  <c:v>0</c:v>
                </c:pt>
                <c:pt idx="2594">
                  <c:v>-1.3427035625330763E-3</c:v>
                </c:pt>
                <c:pt idx="2595">
                  <c:v>-1.4744041512025907E-3</c:v>
                </c:pt>
                <c:pt idx="2596">
                  <c:v>0</c:v>
                </c:pt>
                <c:pt idx="2597">
                  <c:v>-7.0528463362862226E-6</c:v>
                </c:pt>
                <c:pt idx="2598">
                  <c:v>-1.8914451538598609E-4</c:v>
                </c:pt>
                <c:pt idx="2599">
                  <c:v>0</c:v>
                </c:pt>
                <c:pt idx="2600">
                  <c:v>-3.4719379400687256E-3</c:v>
                </c:pt>
                <c:pt idx="2601">
                  <c:v>0</c:v>
                </c:pt>
                <c:pt idx="2602">
                  <c:v>0</c:v>
                </c:pt>
                <c:pt idx="2603">
                  <c:v>-7.7668837181998907E-4</c:v>
                </c:pt>
                <c:pt idx="2604">
                  <c:v>-1.1398236911013271E-3</c:v>
                </c:pt>
                <c:pt idx="2605">
                  <c:v>-4.2835927293799481E-3</c:v>
                </c:pt>
                <c:pt idx="2606">
                  <c:v>-3.5381761161623615E-3</c:v>
                </c:pt>
                <c:pt idx="2607">
                  <c:v>0</c:v>
                </c:pt>
                <c:pt idx="2608">
                  <c:v>-1.8929841433990013E-4</c:v>
                </c:pt>
                <c:pt idx="2609">
                  <c:v>0</c:v>
                </c:pt>
                <c:pt idx="2610">
                  <c:v>-4.0989223514353856E-4</c:v>
                </c:pt>
                <c:pt idx="2611">
                  <c:v>0</c:v>
                </c:pt>
                <c:pt idx="2612">
                  <c:v>-8.6185372060954002E-5</c:v>
                </c:pt>
                <c:pt idx="2613">
                  <c:v>-1.04556798061336E-2</c:v>
                </c:pt>
                <c:pt idx="2614">
                  <c:v>-2.4093881218813173E-2</c:v>
                </c:pt>
                <c:pt idx="2615">
                  <c:v>-2.9320136831952448E-2</c:v>
                </c:pt>
                <c:pt idx="2616">
                  <c:v>-2.5996930279836183E-2</c:v>
                </c:pt>
                <c:pt idx="2617">
                  <c:v>-2.8116710202953921E-2</c:v>
                </c:pt>
                <c:pt idx="2618">
                  <c:v>-2.2334051967244362E-2</c:v>
                </c:pt>
                <c:pt idx="2619">
                  <c:v>-2.192150287009953E-2</c:v>
                </c:pt>
                <c:pt idx="2620">
                  <c:v>-3.5354380308163402E-2</c:v>
                </c:pt>
                <c:pt idx="2621">
                  <c:v>-3.5959579060503399E-2</c:v>
                </c:pt>
                <c:pt idx="2622">
                  <c:v>-3.57390459025827E-2</c:v>
                </c:pt>
                <c:pt idx="2623">
                  <c:v>-3.0709875956435817E-2</c:v>
                </c:pt>
                <c:pt idx="2624">
                  <c:v>-2.2680060887430575E-2</c:v>
                </c:pt>
                <c:pt idx="2625">
                  <c:v>-2.2517195882874153E-2</c:v>
                </c:pt>
                <c:pt idx="2626">
                  <c:v>-1.6387261295036537E-2</c:v>
                </c:pt>
                <c:pt idx="2627">
                  <c:v>-1.0501307356048151E-2</c:v>
                </c:pt>
                <c:pt idx="2628">
                  <c:v>-1.1518421489562058E-2</c:v>
                </c:pt>
                <c:pt idx="2629">
                  <c:v>-9.8783645565191369E-3</c:v>
                </c:pt>
                <c:pt idx="2630">
                  <c:v>-9.1052310718545693E-3</c:v>
                </c:pt>
                <c:pt idx="2631">
                  <c:v>-8.5101717750509787E-3</c:v>
                </c:pt>
                <c:pt idx="2632">
                  <c:v>-1.0930966784411078E-2</c:v>
                </c:pt>
                <c:pt idx="2633">
                  <c:v>-8.7991462578437263E-3</c:v>
                </c:pt>
                <c:pt idx="2634">
                  <c:v>-8.0608671515860486E-3</c:v>
                </c:pt>
                <c:pt idx="2635">
                  <c:v>-3.9315738843113124E-3</c:v>
                </c:pt>
                <c:pt idx="2636">
                  <c:v>-3.4550194740917695E-3</c:v>
                </c:pt>
                <c:pt idx="2637">
                  <c:v>-1.716102849567136E-3</c:v>
                </c:pt>
                <c:pt idx="2638">
                  <c:v>-7.1102931950317583E-4</c:v>
                </c:pt>
                <c:pt idx="2639">
                  <c:v>-5.2230870332840018E-3</c:v>
                </c:pt>
                <c:pt idx="2640">
                  <c:v>-1.0704096466779944E-2</c:v>
                </c:pt>
                <c:pt idx="2641">
                  <c:v>-9.0621383858180415E-5</c:v>
                </c:pt>
                <c:pt idx="2642">
                  <c:v>0</c:v>
                </c:pt>
                <c:pt idx="2643">
                  <c:v>-2.7088173333915666E-3</c:v>
                </c:pt>
                <c:pt idx="2644">
                  <c:v>-5.113700043120617E-3</c:v>
                </c:pt>
                <c:pt idx="2645">
                  <c:v>-7.7256382152198766E-3</c:v>
                </c:pt>
                <c:pt idx="2646">
                  <c:v>-9.2624076561130808E-3</c:v>
                </c:pt>
                <c:pt idx="2647">
                  <c:v>-1.3269279111396415E-2</c:v>
                </c:pt>
                <c:pt idx="2648">
                  <c:v>-1.9935578523726072E-2</c:v>
                </c:pt>
                <c:pt idx="2649">
                  <c:v>-2.4521825355365956E-2</c:v>
                </c:pt>
                <c:pt idx="2650">
                  <c:v>-1.922386494664996E-2</c:v>
                </c:pt>
                <c:pt idx="2651">
                  <c:v>-1.3690355204595384E-2</c:v>
                </c:pt>
                <c:pt idx="2652">
                  <c:v>-1.686393923333751E-2</c:v>
                </c:pt>
                <c:pt idx="2653">
                  <c:v>-1.2280225190228311E-2</c:v>
                </c:pt>
                <c:pt idx="2654">
                  <c:v>-1.1919936021761668E-2</c:v>
                </c:pt>
                <c:pt idx="2655">
                  <c:v>-1.4902294516449532E-2</c:v>
                </c:pt>
                <c:pt idx="2656">
                  <c:v>-1.0587689254707988E-2</c:v>
                </c:pt>
                <c:pt idx="2657">
                  <c:v>-1.1396915190209134E-2</c:v>
                </c:pt>
                <c:pt idx="2658">
                  <c:v>-8.8362659858530757E-3</c:v>
                </c:pt>
                <c:pt idx="2659">
                  <c:v>-6.3313381291684179E-3</c:v>
                </c:pt>
                <c:pt idx="2660">
                  <c:v>-2.686655433749463E-3</c:v>
                </c:pt>
                <c:pt idx="2661">
                  <c:v>0</c:v>
                </c:pt>
                <c:pt idx="2662">
                  <c:v>0</c:v>
                </c:pt>
                <c:pt idx="2663">
                  <c:v>0</c:v>
                </c:pt>
                <c:pt idx="2664">
                  <c:v>-2.036450897297537E-3</c:v>
                </c:pt>
                <c:pt idx="2665">
                  <c:v>-1.2127427059176132E-2</c:v>
                </c:pt>
                <c:pt idx="2666">
                  <c:v>-1.3026990685833906E-2</c:v>
                </c:pt>
                <c:pt idx="2667">
                  <c:v>-9.4746900943503132E-3</c:v>
                </c:pt>
                <c:pt idx="2668">
                  <c:v>-1.9626728307863606E-2</c:v>
                </c:pt>
                <c:pt idx="2669">
                  <c:v>-2.7649778288097115E-2</c:v>
                </c:pt>
                <c:pt idx="2670">
                  <c:v>-2.1391232748396605E-2</c:v>
                </c:pt>
                <c:pt idx="2671">
                  <c:v>-2.0339328745496044E-2</c:v>
                </c:pt>
                <c:pt idx="2672">
                  <c:v>-1.23691572429665E-2</c:v>
                </c:pt>
                <c:pt idx="2673">
                  <c:v>-1.1929762273472422E-2</c:v>
                </c:pt>
                <c:pt idx="2674">
                  <c:v>-1.1374538257578726E-2</c:v>
                </c:pt>
                <c:pt idx="2675">
                  <c:v>-9.0453672158474774E-3</c:v>
                </c:pt>
                <c:pt idx="2676">
                  <c:v>-4.6992599531143764E-3</c:v>
                </c:pt>
                <c:pt idx="2677">
                  <c:v>-7.154961637923507E-3</c:v>
                </c:pt>
                <c:pt idx="2678">
                  <c:v>-6.0187038729708764E-3</c:v>
                </c:pt>
                <c:pt idx="2679">
                  <c:v>-1.0760140707111177E-2</c:v>
                </c:pt>
                <c:pt idx="2680">
                  <c:v>-1.0710409757841766E-2</c:v>
                </c:pt>
                <c:pt idx="2681">
                  <c:v>-5.0650027572350931E-3</c:v>
                </c:pt>
                <c:pt idx="2682">
                  <c:v>-4.7168861123492167E-3</c:v>
                </c:pt>
                <c:pt idx="2683">
                  <c:v>-3.9281154865954404E-3</c:v>
                </c:pt>
                <c:pt idx="2684">
                  <c:v>-4.0804558628382281E-3</c:v>
                </c:pt>
                <c:pt idx="2685">
                  <c:v>-4.4814509854282925E-3</c:v>
                </c:pt>
                <c:pt idx="2686">
                  <c:v>-9.6559877321932275E-3</c:v>
                </c:pt>
                <c:pt idx="2687">
                  <c:v>-8.7878993898832247E-3</c:v>
                </c:pt>
                <c:pt idx="2688">
                  <c:v>-3.8739779975173194E-3</c:v>
                </c:pt>
                <c:pt idx="2689">
                  <c:v>-3.1223482072939568E-4</c:v>
                </c:pt>
                <c:pt idx="2690">
                  <c:v>0</c:v>
                </c:pt>
                <c:pt idx="2691">
                  <c:v>0</c:v>
                </c:pt>
                <c:pt idx="2692">
                  <c:v>-1.090969653079199E-3</c:v>
                </c:pt>
                <c:pt idx="2693">
                  <c:v>-6.8364936522283815E-3</c:v>
                </c:pt>
                <c:pt idx="2694">
                  <c:v>-5.6382359600812837E-3</c:v>
                </c:pt>
                <c:pt idx="2695">
                  <c:v>-5.4760563661416795E-3</c:v>
                </c:pt>
                <c:pt idx="2696">
                  <c:v>-7.633044965539959E-3</c:v>
                </c:pt>
                <c:pt idx="2697">
                  <c:v>-1.9130954408197454E-3</c:v>
                </c:pt>
                <c:pt idx="2698">
                  <c:v>0</c:v>
                </c:pt>
                <c:pt idx="2699">
                  <c:v>0</c:v>
                </c:pt>
                <c:pt idx="2700">
                  <c:v>0</c:v>
                </c:pt>
                <c:pt idx="2701">
                  <c:v>0</c:v>
                </c:pt>
                <c:pt idx="2702">
                  <c:v>0</c:v>
                </c:pt>
                <c:pt idx="2703">
                  <c:v>0</c:v>
                </c:pt>
                <c:pt idx="2704">
                  <c:v>-6.9529069993212733E-4</c:v>
                </c:pt>
                <c:pt idx="2705">
                  <c:v>0</c:v>
                </c:pt>
                <c:pt idx="2706">
                  <c:v>-1.5589447143472546E-3</c:v>
                </c:pt>
                <c:pt idx="2707">
                  <c:v>-5.3317754135662199E-4</c:v>
                </c:pt>
                <c:pt idx="2708">
                  <c:v>0</c:v>
                </c:pt>
                <c:pt idx="2709">
                  <c:v>0</c:v>
                </c:pt>
                <c:pt idx="2710">
                  <c:v>0</c:v>
                </c:pt>
                <c:pt idx="2711">
                  <c:v>0</c:v>
                </c:pt>
                <c:pt idx="2712">
                  <c:v>-5.1603763423524462E-4</c:v>
                </c:pt>
                <c:pt idx="2713">
                  <c:v>-3.747966732611685E-3</c:v>
                </c:pt>
                <c:pt idx="2714">
                  <c:v>-1.6241797709597439E-3</c:v>
                </c:pt>
                <c:pt idx="2715">
                  <c:v>-3.8380299046244515E-3</c:v>
                </c:pt>
                <c:pt idx="2716">
                  <c:v>-2.402495966934648E-3</c:v>
                </c:pt>
                <c:pt idx="2717">
                  <c:v>0</c:v>
                </c:pt>
                <c:pt idx="2718">
                  <c:v>0</c:v>
                </c:pt>
                <c:pt idx="2719">
                  <c:v>0</c:v>
                </c:pt>
                <c:pt idx="2720">
                  <c:v>-8.2865761104122804E-4</c:v>
                </c:pt>
                <c:pt idx="2721">
                  <c:v>-4.5003321904688587E-3</c:v>
                </c:pt>
                <c:pt idx="2722">
                  <c:v>-5.8842570814763295E-3</c:v>
                </c:pt>
                <c:pt idx="2723">
                  <c:v>-4.0650899339014224E-3</c:v>
                </c:pt>
                <c:pt idx="2724">
                  <c:v>-5.4465900769613551E-3</c:v>
                </c:pt>
                <c:pt idx="2725">
                  <c:v>-6.7977808706785048E-3</c:v>
                </c:pt>
                <c:pt idx="2726">
                  <c:v>-1.6088202631336923E-3</c:v>
                </c:pt>
                <c:pt idx="2727">
                  <c:v>0</c:v>
                </c:pt>
                <c:pt idx="2728">
                  <c:v>0</c:v>
                </c:pt>
                <c:pt idx="2729">
                  <c:v>0</c:v>
                </c:pt>
                <c:pt idx="2730">
                  <c:v>-3.8879836797413025E-3</c:v>
                </c:pt>
                <c:pt idx="2731">
                  <c:v>-9.884643036492835E-3</c:v>
                </c:pt>
                <c:pt idx="2732">
                  <c:v>-9.720260266697367E-3</c:v>
                </c:pt>
                <c:pt idx="2733">
                  <c:v>-1.2167937772992743E-2</c:v>
                </c:pt>
                <c:pt idx="2734">
                  <c:v>-1.1297853148983683E-2</c:v>
                </c:pt>
                <c:pt idx="2735">
                  <c:v>-8.4353048427283639E-3</c:v>
                </c:pt>
                <c:pt idx="2736">
                  <c:v>-7.6796258094194991E-3</c:v>
                </c:pt>
                <c:pt idx="2737">
                  <c:v>-1.6359999470120234E-3</c:v>
                </c:pt>
                <c:pt idx="2738">
                  <c:v>-7.2563251238288995E-3</c:v>
                </c:pt>
                <c:pt idx="2739">
                  <c:v>-3.3779755990938076E-3</c:v>
                </c:pt>
                <c:pt idx="2740">
                  <c:v>-5.3987396116711439E-3</c:v>
                </c:pt>
                <c:pt idx="2741">
                  <c:v>0</c:v>
                </c:pt>
                <c:pt idx="2742">
                  <c:v>0</c:v>
                </c:pt>
                <c:pt idx="2743">
                  <c:v>0</c:v>
                </c:pt>
                <c:pt idx="2744">
                  <c:v>-8.5693813842790956E-4</c:v>
                </c:pt>
                <c:pt idx="2745">
                  <c:v>-1.2764057566080345E-3</c:v>
                </c:pt>
                <c:pt idx="2746">
                  <c:v>-1.2632036284249137E-3</c:v>
                </c:pt>
                <c:pt idx="2747">
                  <c:v>-1.7588835320254681E-3</c:v>
                </c:pt>
                <c:pt idx="2748">
                  <c:v>-1.1967729197946753E-2</c:v>
                </c:pt>
                <c:pt idx="2749">
                  <c:v>-1.7798869177711452E-2</c:v>
                </c:pt>
                <c:pt idx="2750">
                  <c:v>-1.5315668885824363E-2</c:v>
                </c:pt>
                <c:pt idx="2751">
                  <c:v>-1.8093516674888122E-2</c:v>
                </c:pt>
                <c:pt idx="2752">
                  <c:v>-1.8641404994485189E-2</c:v>
                </c:pt>
                <c:pt idx="2753">
                  <c:v>-2.181891720945428E-2</c:v>
                </c:pt>
                <c:pt idx="2754">
                  <c:v>-2.2623646931885455E-2</c:v>
                </c:pt>
                <c:pt idx="2755">
                  <c:v>-1.6785905888029196E-2</c:v>
                </c:pt>
                <c:pt idx="2756">
                  <c:v>-1.607539135308611E-2</c:v>
                </c:pt>
                <c:pt idx="2757">
                  <c:v>-1.3143318702974915E-2</c:v>
                </c:pt>
                <c:pt idx="2758">
                  <c:v>-1.0075624190619581E-2</c:v>
                </c:pt>
                <c:pt idx="2759">
                  <c:v>-1.0653517346996377E-2</c:v>
                </c:pt>
                <c:pt idx="2760">
                  <c:v>-5.087620124364034E-3</c:v>
                </c:pt>
                <c:pt idx="2761">
                  <c:v>0</c:v>
                </c:pt>
                <c:pt idx="2762">
                  <c:v>0</c:v>
                </c:pt>
                <c:pt idx="2763">
                  <c:v>0</c:v>
                </c:pt>
                <c:pt idx="2764">
                  <c:v>0</c:v>
                </c:pt>
                <c:pt idx="2765">
                  <c:v>0</c:v>
                </c:pt>
                <c:pt idx="2766">
                  <c:v>0</c:v>
                </c:pt>
                <c:pt idx="2767">
                  <c:v>0</c:v>
                </c:pt>
                <c:pt idx="2768">
                  <c:v>-1.4196106278477894E-3</c:v>
                </c:pt>
                <c:pt idx="2769">
                  <c:v>0</c:v>
                </c:pt>
                <c:pt idx="2770">
                  <c:v>0</c:v>
                </c:pt>
                <c:pt idx="2771">
                  <c:v>-3.0698515195437537E-5</c:v>
                </c:pt>
                <c:pt idx="2772">
                  <c:v>0</c:v>
                </c:pt>
                <c:pt idx="2773">
                  <c:v>0</c:v>
                </c:pt>
                <c:pt idx="2774">
                  <c:v>0</c:v>
                </c:pt>
                <c:pt idx="2775">
                  <c:v>-2.4383993312354635E-3</c:v>
                </c:pt>
                <c:pt idx="2776">
                  <c:v>-5.5084357408513585E-3</c:v>
                </c:pt>
                <c:pt idx="2777">
                  <c:v>-4.1365807184902126E-3</c:v>
                </c:pt>
                <c:pt idx="2778">
                  <c:v>-4.748369681653708E-3</c:v>
                </c:pt>
                <c:pt idx="2779">
                  <c:v>-7.8312489893516135E-3</c:v>
                </c:pt>
                <c:pt idx="2780">
                  <c:v>-8.4249411415819875E-3</c:v>
                </c:pt>
                <c:pt idx="2781">
                  <c:v>-6.6082548311188205E-3</c:v>
                </c:pt>
                <c:pt idx="2782">
                  <c:v>-6.0495887645658497E-3</c:v>
                </c:pt>
                <c:pt idx="2783">
                  <c:v>-1.5125431331651784E-3</c:v>
                </c:pt>
                <c:pt idx="2784">
                  <c:v>0</c:v>
                </c:pt>
                <c:pt idx="2785">
                  <c:v>-4.9409881394163468E-3</c:v>
                </c:pt>
                <c:pt idx="2786">
                  <c:v>-1.1316888597831531E-2</c:v>
                </c:pt>
                <c:pt idx="2787">
                  <c:v>-4.760532634795922E-3</c:v>
                </c:pt>
                <c:pt idx="2788">
                  <c:v>-1.0209706759804926E-2</c:v>
                </c:pt>
                <c:pt idx="2789">
                  <c:v>-5.0574110456231836E-3</c:v>
                </c:pt>
                <c:pt idx="2790">
                  <c:v>-6.8695335807319458E-3</c:v>
                </c:pt>
                <c:pt idx="2791">
                  <c:v>-5.1528778287127652E-3</c:v>
                </c:pt>
                <c:pt idx="2792">
                  <c:v>-1.079647820708729E-2</c:v>
                </c:pt>
                <c:pt idx="2793">
                  <c:v>-1.9109655824783411E-2</c:v>
                </c:pt>
                <c:pt idx="2794">
                  <c:v>-8.1472749763515928E-3</c:v>
                </c:pt>
                <c:pt idx="2795">
                  <c:v>-9.2340828057919655E-3</c:v>
                </c:pt>
                <c:pt idx="2796">
                  <c:v>-2.0390889907589194E-2</c:v>
                </c:pt>
                <c:pt idx="2797">
                  <c:v>-1.8162555482791332E-2</c:v>
                </c:pt>
                <c:pt idx="2798">
                  <c:v>-2.7922869824637986E-2</c:v>
                </c:pt>
                <c:pt idx="2799">
                  <c:v>-3.4224841737611866E-2</c:v>
                </c:pt>
                <c:pt idx="2800">
                  <c:v>-4.2594484464818394E-2</c:v>
                </c:pt>
                <c:pt idx="2801">
                  <c:v>-4.2670741468383899E-2</c:v>
                </c:pt>
                <c:pt idx="2802">
                  <c:v>-5.3896238084843229E-2</c:v>
                </c:pt>
                <c:pt idx="2803">
                  <c:v>-5.7427344830095262E-2</c:v>
                </c:pt>
                <c:pt idx="2804">
                  <c:v>-4.7022047587862881E-2</c:v>
                </c:pt>
                <c:pt idx="2805">
                  <c:v>-4.2641053627301195E-2</c:v>
                </c:pt>
                <c:pt idx="2806">
                  <c:v>-2.9372335006912498E-2</c:v>
                </c:pt>
                <c:pt idx="2807">
                  <c:v>-2.7542749035872727E-2</c:v>
                </c:pt>
                <c:pt idx="2808">
                  <c:v>-2.1408426107836664E-2</c:v>
                </c:pt>
                <c:pt idx="2809">
                  <c:v>-1.909161027432138E-2</c:v>
                </c:pt>
                <c:pt idx="2810">
                  <c:v>-2.1675034563050311E-2</c:v>
                </c:pt>
                <c:pt idx="2811">
                  <c:v>-1.6466273739358162E-2</c:v>
                </c:pt>
                <c:pt idx="2812">
                  <c:v>-1.6442989158116927E-2</c:v>
                </c:pt>
                <c:pt idx="2813">
                  <c:v>-7.3713163064833553E-3</c:v>
                </c:pt>
                <c:pt idx="2814">
                  <c:v>0</c:v>
                </c:pt>
                <c:pt idx="2815">
                  <c:v>-1.603514069243972E-3</c:v>
                </c:pt>
                <c:pt idx="2816">
                  <c:v>-6.3289600429764503E-3</c:v>
                </c:pt>
                <c:pt idx="2817">
                  <c:v>0</c:v>
                </c:pt>
                <c:pt idx="2818">
                  <c:v>0</c:v>
                </c:pt>
                <c:pt idx="2819">
                  <c:v>0</c:v>
                </c:pt>
                <c:pt idx="2820">
                  <c:v>0</c:v>
                </c:pt>
                <c:pt idx="2821">
                  <c:v>0</c:v>
                </c:pt>
                <c:pt idx="2822">
                  <c:v>-3.4330596362984744E-3</c:v>
                </c:pt>
                <c:pt idx="2823">
                  <c:v>-2.7348685130705874E-3</c:v>
                </c:pt>
                <c:pt idx="2824">
                  <c:v>-2.515322371694384E-3</c:v>
                </c:pt>
                <c:pt idx="2825">
                  <c:v>-2.1278205660276717E-3</c:v>
                </c:pt>
                <c:pt idx="2826">
                  <c:v>-1.0042946206035852E-3</c:v>
                </c:pt>
                <c:pt idx="2827">
                  <c:v>-3.0765121168833121E-3</c:v>
                </c:pt>
                <c:pt idx="2828">
                  <c:v>-2.1748252229280007E-3</c:v>
                </c:pt>
                <c:pt idx="2829">
                  <c:v>0</c:v>
                </c:pt>
                <c:pt idx="2830">
                  <c:v>-4.2963615436486524E-4</c:v>
                </c:pt>
                <c:pt idx="2831">
                  <c:v>-1.8405680959117099E-3</c:v>
                </c:pt>
                <c:pt idx="2832">
                  <c:v>-2.252042616274208E-3</c:v>
                </c:pt>
                <c:pt idx="2833">
                  <c:v>-6.1465780076241927E-4</c:v>
                </c:pt>
                <c:pt idx="2834">
                  <c:v>-2.1555589356375693E-3</c:v>
                </c:pt>
                <c:pt idx="2835">
                  <c:v>-6.7305880510070137E-3</c:v>
                </c:pt>
                <c:pt idx="2836">
                  <c:v>-1.1180755932616027E-4</c:v>
                </c:pt>
                <c:pt idx="2837">
                  <c:v>0</c:v>
                </c:pt>
                <c:pt idx="2838">
                  <c:v>-8.0107245803027194E-3</c:v>
                </c:pt>
                <c:pt idx="2839">
                  <c:v>0</c:v>
                </c:pt>
                <c:pt idx="2840">
                  <c:v>-4.3139632234213687E-3</c:v>
                </c:pt>
                <c:pt idx="2841">
                  <c:v>-1.3826429602452839E-2</c:v>
                </c:pt>
                <c:pt idx="2842">
                  <c:v>-2.2906203836311811E-2</c:v>
                </c:pt>
                <c:pt idx="2843">
                  <c:v>-2.0549496488320163E-2</c:v>
                </c:pt>
                <c:pt idx="2844">
                  <c:v>-3.4295923116014482E-2</c:v>
                </c:pt>
                <c:pt idx="2845">
                  <c:v>-4.0505168079489229E-2</c:v>
                </c:pt>
                <c:pt idx="2846">
                  <c:v>-4.4781383420454013E-2</c:v>
                </c:pt>
                <c:pt idx="2847">
                  <c:v>-3.1653571344061215E-2</c:v>
                </c:pt>
                <c:pt idx="2848">
                  <c:v>-1.1586346309214846E-2</c:v>
                </c:pt>
                <c:pt idx="2849">
                  <c:v>-6.1551584453281016E-3</c:v>
                </c:pt>
                <c:pt idx="2850">
                  <c:v>-3.1674417189597737E-3</c:v>
                </c:pt>
                <c:pt idx="2851">
                  <c:v>0</c:v>
                </c:pt>
                <c:pt idx="2852">
                  <c:v>0</c:v>
                </c:pt>
                <c:pt idx="2853">
                  <c:v>-1.9233310744504184E-4</c:v>
                </c:pt>
                <c:pt idx="2854">
                  <c:v>0</c:v>
                </c:pt>
                <c:pt idx="2855">
                  <c:v>0</c:v>
                </c:pt>
                <c:pt idx="2856">
                  <c:v>-3.4676073565296228E-3</c:v>
                </c:pt>
                <c:pt idx="2857">
                  <c:v>-4.5618151741736446E-3</c:v>
                </c:pt>
                <c:pt idx="2858">
                  <c:v>-4.5730263198461296E-3</c:v>
                </c:pt>
                <c:pt idx="2859">
                  <c:v>-1.9154242381606013E-3</c:v>
                </c:pt>
                <c:pt idx="2860">
                  <c:v>-1.0962818795934193E-2</c:v>
                </c:pt>
                <c:pt idx="2861">
                  <c:v>-1.6279144073872431E-2</c:v>
                </c:pt>
                <c:pt idx="2862">
                  <c:v>-6.8937334740706291E-3</c:v>
                </c:pt>
                <c:pt idx="2863">
                  <c:v>0</c:v>
                </c:pt>
                <c:pt idx="2864">
                  <c:v>-6.6118516968677321E-3</c:v>
                </c:pt>
                <c:pt idx="2865">
                  <c:v>-8.3157306647020368E-3</c:v>
                </c:pt>
                <c:pt idx="2866">
                  <c:v>-5.7348715357615765E-3</c:v>
                </c:pt>
                <c:pt idx="2867">
                  <c:v>-1.1011220449218651E-2</c:v>
                </c:pt>
                <c:pt idx="2868">
                  <c:v>-6.911226904149359E-4</c:v>
                </c:pt>
                <c:pt idx="2869">
                  <c:v>0</c:v>
                </c:pt>
                <c:pt idx="2870">
                  <c:v>-5.3931230384325346E-3</c:v>
                </c:pt>
                <c:pt idx="2871">
                  <c:v>-6.7682510101441107E-4</c:v>
                </c:pt>
                <c:pt idx="2872">
                  <c:v>0</c:v>
                </c:pt>
                <c:pt idx="2873">
                  <c:v>0</c:v>
                </c:pt>
                <c:pt idx="2874">
                  <c:v>0</c:v>
                </c:pt>
                <c:pt idx="2875">
                  <c:v>0</c:v>
                </c:pt>
                <c:pt idx="2876">
                  <c:v>-1.1675665278360392E-2</c:v>
                </c:pt>
                <c:pt idx="2877">
                  <c:v>-1.4630380132347742E-2</c:v>
                </c:pt>
                <c:pt idx="2878">
                  <c:v>-1.2612304544009523E-2</c:v>
                </c:pt>
                <c:pt idx="2879">
                  <c:v>-1.5447334745683494E-2</c:v>
                </c:pt>
                <c:pt idx="2880">
                  <c:v>-1.250704616675169E-2</c:v>
                </c:pt>
                <c:pt idx="2881">
                  <c:v>-1.0577665454681529E-2</c:v>
                </c:pt>
                <c:pt idx="2882">
                  <c:v>-8.8721591592153537E-3</c:v>
                </c:pt>
                <c:pt idx="2883">
                  <c:v>-4.1772080883315521E-3</c:v>
                </c:pt>
                <c:pt idx="2884">
                  <c:v>-1.7364960715117173E-3</c:v>
                </c:pt>
                <c:pt idx="2885">
                  <c:v>-3.6808373651209259E-3</c:v>
                </c:pt>
                <c:pt idx="2886">
                  <c:v>0</c:v>
                </c:pt>
                <c:pt idx="2887">
                  <c:v>-3.7338909277151444E-5</c:v>
                </c:pt>
                <c:pt idx="2888">
                  <c:v>0</c:v>
                </c:pt>
                <c:pt idx="2889">
                  <c:v>0</c:v>
                </c:pt>
                <c:pt idx="2890">
                  <c:v>0</c:v>
                </c:pt>
                <c:pt idx="2891">
                  <c:v>0</c:v>
                </c:pt>
                <c:pt idx="2892">
                  <c:v>0</c:v>
                </c:pt>
                <c:pt idx="2893">
                  <c:v>-8.0187557695754474E-4</c:v>
                </c:pt>
                <c:pt idx="2894">
                  <c:v>0</c:v>
                </c:pt>
                <c:pt idx="2895">
                  <c:v>0</c:v>
                </c:pt>
                <c:pt idx="2896">
                  <c:v>0</c:v>
                </c:pt>
                <c:pt idx="2897">
                  <c:v>-2.5724548643979439E-4</c:v>
                </c:pt>
                <c:pt idx="2898">
                  <c:v>0</c:v>
                </c:pt>
                <c:pt idx="2899">
                  <c:v>-1.2107510962380275E-3</c:v>
                </c:pt>
                <c:pt idx="2900">
                  <c:v>0</c:v>
                </c:pt>
                <c:pt idx="2901">
                  <c:v>-2.3560231117114583E-3</c:v>
                </c:pt>
                <c:pt idx="2902">
                  <c:v>0</c:v>
                </c:pt>
                <c:pt idx="2903">
                  <c:v>0</c:v>
                </c:pt>
                <c:pt idx="2904">
                  <c:v>0</c:v>
                </c:pt>
                <c:pt idx="2905">
                  <c:v>0</c:v>
                </c:pt>
                <c:pt idx="2906">
                  <c:v>-2.6677089247968411E-3</c:v>
                </c:pt>
                <c:pt idx="2907">
                  <c:v>0</c:v>
                </c:pt>
                <c:pt idx="2908">
                  <c:v>0</c:v>
                </c:pt>
                <c:pt idx="2909">
                  <c:v>0</c:v>
                </c:pt>
                <c:pt idx="2910">
                  <c:v>0</c:v>
                </c:pt>
                <c:pt idx="2911">
                  <c:v>-3.4844066873164214E-3</c:v>
                </c:pt>
                <c:pt idx="2912">
                  <c:v>0</c:v>
                </c:pt>
                <c:pt idx="2913">
                  <c:v>0</c:v>
                </c:pt>
                <c:pt idx="2914">
                  <c:v>-1.8445288293863493E-3</c:v>
                </c:pt>
                <c:pt idx="2915">
                  <c:v>-9.4814723801572853E-3</c:v>
                </c:pt>
                <c:pt idx="2916">
                  <c:v>-1.0110414915757482E-2</c:v>
                </c:pt>
                <c:pt idx="2917">
                  <c:v>-2.113629622840929E-2</c:v>
                </c:pt>
                <c:pt idx="2918">
                  <c:v>-2.1236000489457285E-2</c:v>
                </c:pt>
                <c:pt idx="2919">
                  <c:v>-1.8986611933391462E-2</c:v>
                </c:pt>
                <c:pt idx="2920">
                  <c:v>-1.0089769083924338E-2</c:v>
                </c:pt>
                <c:pt idx="2921">
                  <c:v>-1.0524842223042508E-2</c:v>
                </c:pt>
                <c:pt idx="2922">
                  <c:v>-1.2971625073708082E-2</c:v>
                </c:pt>
                <c:pt idx="2923">
                  <c:v>-1.6599752350729413E-2</c:v>
                </c:pt>
                <c:pt idx="2924">
                  <c:v>-1.6067492734933131E-2</c:v>
                </c:pt>
                <c:pt idx="2925">
                  <c:v>-1.9915170809009508E-2</c:v>
                </c:pt>
                <c:pt idx="2926">
                  <c:v>-8.9205100225442369E-3</c:v>
                </c:pt>
                <c:pt idx="2927">
                  <c:v>-3.4418112336489504E-3</c:v>
                </c:pt>
                <c:pt idx="2928">
                  <c:v>0</c:v>
                </c:pt>
                <c:pt idx="2929">
                  <c:v>0</c:v>
                </c:pt>
                <c:pt idx="2930">
                  <c:v>0</c:v>
                </c:pt>
                <c:pt idx="2931">
                  <c:v>-4.8981263275283959E-3</c:v>
                </c:pt>
                <c:pt idx="2932">
                  <c:v>0</c:v>
                </c:pt>
                <c:pt idx="2933">
                  <c:v>-5.1792666737388027E-3</c:v>
                </c:pt>
                <c:pt idx="2934">
                  <c:v>-1.6804360736320301E-2</c:v>
                </c:pt>
                <c:pt idx="2935">
                  <c:v>-1.1181426023435526E-2</c:v>
                </c:pt>
                <c:pt idx="2936">
                  <c:v>-9.4127024886059285E-3</c:v>
                </c:pt>
                <c:pt idx="2937">
                  <c:v>-6.3293335461617195E-3</c:v>
                </c:pt>
                <c:pt idx="2938">
                  <c:v>-8.840147644791907E-3</c:v>
                </c:pt>
                <c:pt idx="2939">
                  <c:v>-1.0035324898848619E-2</c:v>
                </c:pt>
                <c:pt idx="2940">
                  <c:v>-1.0307474344090073E-2</c:v>
                </c:pt>
                <c:pt idx="2941">
                  <c:v>-1.580895802949922E-2</c:v>
                </c:pt>
                <c:pt idx="2942">
                  <c:v>-3.0113410473738167E-2</c:v>
                </c:pt>
                <c:pt idx="2943">
                  <c:v>-3.9215793194181892E-2</c:v>
                </c:pt>
                <c:pt idx="2944">
                  <c:v>-3.6372847714291723E-2</c:v>
                </c:pt>
                <c:pt idx="2945">
                  <c:v>-3.1226794178678685E-2</c:v>
                </c:pt>
                <c:pt idx="2946">
                  <c:v>-4.0900244587497747E-2</c:v>
                </c:pt>
                <c:pt idx="2947">
                  <c:v>-5.0003618744900225E-2</c:v>
                </c:pt>
                <c:pt idx="2948">
                  <c:v>-4.4492716408380706E-2</c:v>
                </c:pt>
                <c:pt idx="2949">
                  <c:v>-3.1920800049968445E-2</c:v>
                </c:pt>
                <c:pt idx="2950">
                  <c:v>-3.06567179272621E-2</c:v>
                </c:pt>
                <c:pt idx="2951">
                  <c:v>-3.8209484680811756E-2</c:v>
                </c:pt>
                <c:pt idx="2952">
                  <c:v>-4.1951167764022079E-2</c:v>
                </c:pt>
                <c:pt idx="2953">
                  <c:v>-3.8138596938244285E-2</c:v>
                </c:pt>
                <c:pt idx="2954">
                  <c:v>-3.9620299473447695E-2</c:v>
                </c:pt>
                <c:pt idx="2955">
                  <c:v>-3.5143961603629426E-2</c:v>
                </c:pt>
                <c:pt idx="2956">
                  <c:v>-2.1916209696848266E-2</c:v>
                </c:pt>
                <c:pt idx="2957">
                  <c:v>-2.0667494847006362E-2</c:v>
                </c:pt>
                <c:pt idx="2958">
                  <c:v>-1.9122340346427791E-2</c:v>
                </c:pt>
                <c:pt idx="2959">
                  <c:v>-1.5510039786365115E-2</c:v>
                </c:pt>
                <c:pt idx="2960">
                  <c:v>-1.5544244361450077E-2</c:v>
                </c:pt>
                <c:pt idx="2961">
                  <c:v>-1.615100378034906E-2</c:v>
                </c:pt>
                <c:pt idx="2962">
                  <c:v>-9.8524047799157799E-3</c:v>
                </c:pt>
                <c:pt idx="2963">
                  <c:v>-1.3424056424660158E-2</c:v>
                </c:pt>
                <c:pt idx="2964">
                  <c:v>-2.0634281708880375E-2</c:v>
                </c:pt>
                <c:pt idx="2965">
                  <c:v>-1.7263396048330493E-2</c:v>
                </c:pt>
                <c:pt idx="2966">
                  <c:v>-3.0908542914844461E-2</c:v>
                </c:pt>
                <c:pt idx="2967">
                  <c:v>-3.6069963723321607E-2</c:v>
                </c:pt>
                <c:pt idx="2968">
                  <c:v>-4.1368698550618199E-2</c:v>
                </c:pt>
                <c:pt idx="2969">
                  <c:v>-3.7075776518212145E-2</c:v>
                </c:pt>
                <c:pt idx="2970">
                  <c:v>-4.5853463634588087E-2</c:v>
                </c:pt>
                <c:pt idx="2971">
                  <c:v>-4.8620068468636313E-2</c:v>
                </c:pt>
                <c:pt idx="2972">
                  <c:v>-4.2263470406102455E-2</c:v>
                </c:pt>
                <c:pt idx="2973">
                  <c:v>-3.5830531697726653E-2</c:v>
                </c:pt>
                <c:pt idx="2974">
                  <c:v>-4.2300649292064452E-2</c:v>
                </c:pt>
                <c:pt idx="2975">
                  <c:v>-4.6545982350439274E-2</c:v>
                </c:pt>
                <c:pt idx="2976">
                  <c:v>-4.2488526595792164E-2</c:v>
                </c:pt>
                <c:pt idx="2977">
                  <c:v>-4.2991680852477065E-2</c:v>
                </c:pt>
                <c:pt idx="2978">
                  <c:v>-4.6002674896915341E-2</c:v>
                </c:pt>
                <c:pt idx="2979">
                  <c:v>-4.3683208131369278E-2</c:v>
                </c:pt>
                <c:pt idx="2980">
                  <c:v>-4.0014891383123863E-2</c:v>
                </c:pt>
                <c:pt idx="2981">
                  <c:v>-2.6864967277623109E-2</c:v>
                </c:pt>
                <c:pt idx="2982">
                  <c:v>-3.0942747489929423E-2</c:v>
                </c:pt>
                <c:pt idx="2983">
                  <c:v>-3.3068884048473302E-2</c:v>
                </c:pt>
                <c:pt idx="2984">
                  <c:v>-3.1945090255463549E-2</c:v>
                </c:pt>
                <c:pt idx="2985">
                  <c:v>-4.7030795023382921E-2</c:v>
                </c:pt>
                <c:pt idx="2986">
                  <c:v>-4.6934129919881884E-2</c:v>
                </c:pt>
                <c:pt idx="2987">
                  <c:v>-4.0383210213386977E-2</c:v>
                </c:pt>
                <c:pt idx="2988">
                  <c:v>-4.0697000010905815E-2</c:v>
                </c:pt>
                <c:pt idx="2989">
                  <c:v>-4.0621650802022846E-2</c:v>
                </c:pt>
                <c:pt idx="2990">
                  <c:v>-4.5442513015088726E-2</c:v>
                </c:pt>
                <c:pt idx="2991">
                  <c:v>-3.7737560688334781E-2</c:v>
                </c:pt>
                <c:pt idx="2992">
                  <c:v>-5.3268420650838699E-2</c:v>
                </c:pt>
                <c:pt idx="2993">
                  <c:v>-4.8129802892418083E-2</c:v>
                </c:pt>
                <c:pt idx="2994">
                  <c:v>-4.6313490383557143E-2</c:v>
                </c:pt>
                <c:pt idx="2995">
                  <c:v>-2.9639503607343354E-2</c:v>
                </c:pt>
                <c:pt idx="2996">
                  <c:v>-2.4805256995331315E-2</c:v>
                </c:pt>
                <c:pt idx="2997">
                  <c:v>-2.2254785418341694E-2</c:v>
                </c:pt>
                <c:pt idx="2998">
                  <c:v>-1.4037755902271964E-2</c:v>
                </c:pt>
                <c:pt idx="2999">
                  <c:v>-1.0855243263929393E-2</c:v>
                </c:pt>
                <c:pt idx="3000">
                  <c:v>-1.1164075876653246E-2</c:v>
                </c:pt>
                <c:pt idx="3001">
                  <c:v>-1.779232766594907E-2</c:v>
                </c:pt>
                <c:pt idx="3002">
                  <c:v>-1.8934463042700078E-2</c:v>
                </c:pt>
                <c:pt idx="3003">
                  <c:v>-2.5968708266700502E-2</c:v>
                </c:pt>
                <c:pt idx="3004">
                  <c:v>-3.1488037817371195E-2</c:v>
                </c:pt>
                <c:pt idx="3005">
                  <c:v>-4.4826334945079371E-2</c:v>
                </c:pt>
                <c:pt idx="3006">
                  <c:v>-3.5702636330017468E-2</c:v>
                </c:pt>
                <c:pt idx="3007">
                  <c:v>-3.0141170708589904E-2</c:v>
                </c:pt>
                <c:pt idx="3008">
                  <c:v>-2.3232837978380716E-2</c:v>
                </c:pt>
                <c:pt idx="3009">
                  <c:v>-2.8865191342375751E-2</c:v>
                </c:pt>
                <c:pt idx="3010">
                  <c:v>-2.6057937593009117E-2</c:v>
                </c:pt>
                <c:pt idx="3011">
                  <c:v>-2.6218054661885204E-2</c:v>
                </c:pt>
                <c:pt idx="3012">
                  <c:v>-1.9359293779625308E-2</c:v>
                </c:pt>
                <c:pt idx="3013">
                  <c:v>-2.5079389314490608E-2</c:v>
                </c:pt>
                <c:pt idx="3014">
                  <c:v>-2.8609896325437201E-2</c:v>
                </c:pt>
                <c:pt idx="3015">
                  <c:v>-2.4140994232811241E-2</c:v>
                </c:pt>
                <c:pt idx="3016">
                  <c:v>-3.397456171050639E-2</c:v>
                </c:pt>
                <c:pt idx="3017">
                  <c:v>-4.5794968854007911E-2</c:v>
                </c:pt>
                <c:pt idx="3018">
                  <c:v>-4.2278837678966674E-2</c:v>
                </c:pt>
                <c:pt idx="3019">
                  <c:v>-4.0324219714327425E-2</c:v>
                </c:pt>
                <c:pt idx="3020">
                  <c:v>-3.5571270932951982E-2</c:v>
                </c:pt>
                <c:pt idx="3021">
                  <c:v>-3.5347701898700845E-2</c:v>
                </c:pt>
                <c:pt idx="3022">
                  <c:v>-4.3449724727528283E-2</c:v>
                </c:pt>
                <c:pt idx="3023">
                  <c:v>-6.2765395280958369E-2</c:v>
                </c:pt>
                <c:pt idx="3024">
                  <c:v>-8.7393680779110805E-2</c:v>
                </c:pt>
                <c:pt idx="3025">
                  <c:v>-0.12508365249341435</c:v>
                </c:pt>
                <c:pt idx="3026">
                  <c:v>-0.11933232669434091</c:v>
                </c:pt>
                <c:pt idx="3027">
                  <c:v>-0.10487370580297972</c:v>
                </c:pt>
                <c:pt idx="3028">
                  <c:v>-8.1244293041004778E-2</c:v>
                </c:pt>
                <c:pt idx="3029">
                  <c:v>-7.8427620640527773E-2</c:v>
                </c:pt>
                <c:pt idx="3030">
                  <c:v>-8.272202982837229E-2</c:v>
                </c:pt>
                <c:pt idx="3031">
                  <c:v>-0.10302467587447206</c:v>
                </c:pt>
                <c:pt idx="3032">
                  <c:v>-9.5221571288778839E-2</c:v>
                </c:pt>
                <c:pt idx="3033">
                  <c:v>-8.4264705736553314E-2</c:v>
                </c:pt>
                <c:pt idx="3034">
                  <c:v>-9.6083130006136996E-2</c:v>
                </c:pt>
                <c:pt idx="3035">
                  <c:v>-9.798123606411413E-2</c:v>
                </c:pt>
                <c:pt idx="3036">
                  <c:v>-8.795384266093742E-2</c:v>
                </c:pt>
                <c:pt idx="3037">
                  <c:v>-8.6523694847601251E-2</c:v>
                </c:pt>
                <c:pt idx="3038">
                  <c:v>-9.0578672009850925E-2</c:v>
                </c:pt>
                <c:pt idx="3039">
                  <c:v>-9.3384934322258584E-2</c:v>
                </c:pt>
                <c:pt idx="3040">
                  <c:v>-9.6449465962481939E-2</c:v>
                </c:pt>
                <c:pt idx="3041">
                  <c:v>-9.0524142977106759E-2</c:v>
                </c:pt>
                <c:pt idx="3042">
                  <c:v>-8.3636134704556664E-2</c:v>
                </c:pt>
                <c:pt idx="3043">
                  <c:v>-8.5008779174271742E-2</c:v>
                </c:pt>
                <c:pt idx="3044">
                  <c:v>-9.5987456339594823E-2</c:v>
                </c:pt>
                <c:pt idx="3045">
                  <c:v>-8.7510670340271046E-2</c:v>
                </c:pt>
                <c:pt idx="3046">
                  <c:v>-9.4333739492007518E-2</c:v>
                </c:pt>
                <c:pt idx="3047">
                  <c:v>-9.7135044619620303E-2</c:v>
                </c:pt>
                <c:pt idx="3048">
                  <c:v>-0.1086942081244292</c:v>
                </c:pt>
                <c:pt idx="3049">
                  <c:v>-9.9855051916596271E-2</c:v>
                </c:pt>
                <c:pt idx="3050">
                  <c:v>-0.11421750342293602</c:v>
                </c:pt>
                <c:pt idx="3051">
                  <c:v>-0.11877811343426814</c:v>
                </c:pt>
                <c:pt idx="3052">
                  <c:v>-0.10299394132874351</c:v>
                </c:pt>
                <c:pt idx="3053">
                  <c:v>-0.10267420290947094</c:v>
                </c:pt>
                <c:pt idx="3054">
                  <c:v>-9.905793660157225E-2</c:v>
                </c:pt>
                <c:pt idx="3055">
                  <c:v>-8.4068401218674316E-2</c:v>
                </c:pt>
                <c:pt idx="3056">
                  <c:v>-8.5500036187448947E-2</c:v>
                </c:pt>
                <c:pt idx="3057">
                  <c:v>-7.8803870966462575E-2</c:v>
                </c:pt>
                <c:pt idx="3058">
                  <c:v>-7.703068596531748E-2</c:v>
                </c:pt>
                <c:pt idx="3059">
                  <c:v>-7.7723700399648266E-2</c:v>
                </c:pt>
                <c:pt idx="3060">
                  <c:v>-7.8104412191898565E-2</c:v>
                </c:pt>
                <c:pt idx="3061">
                  <c:v>-8.3625228898007831E-2</c:v>
                </c:pt>
                <c:pt idx="3062">
                  <c:v>-8.9807334055760246E-2</c:v>
                </c:pt>
                <c:pt idx="3063">
                  <c:v>-7.8655155422614809E-2</c:v>
                </c:pt>
                <c:pt idx="3064">
                  <c:v>-7.4840601722919065E-2</c:v>
                </c:pt>
                <c:pt idx="3065">
                  <c:v>-7.2623748682628109E-2</c:v>
                </c:pt>
                <c:pt idx="3066">
                  <c:v>-7.5720502024018588E-2</c:v>
                </c:pt>
                <c:pt idx="3067">
                  <c:v>-7.7322168431259164E-2</c:v>
                </c:pt>
                <c:pt idx="3068">
                  <c:v>-5.9282972962522607E-2</c:v>
                </c:pt>
                <c:pt idx="3069">
                  <c:v>-4.5462837472747819E-2</c:v>
                </c:pt>
                <c:pt idx="3070">
                  <c:v>-4.6986180360228724E-2</c:v>
                </c:pt>
                <c:pt idx="3071">
                  <c:v>-5.0209341913889594E-2</c:v>
                </c:pt>
                <c:pt idx="3072">
                  <c:v>-4.4359863855876758E-2</c:v>
                </c:pt>
                <c:pt idx="3073">
                  <c:v>-4.1689428406849971E-2</c:v>
                </c:pt>
                <c:pt idx="3074">
                  <c:v>-4.6525657892779959E-2</c:v>
                </c:pt>
                <c:pt idx="3075">
                  <c:v>-4.2560901493798098E-2</c:v>
                </c:pt>
                <c:pt idx="3076">
                  <c:v>-3.6180013225769025E-2</c:v>
                </c:pt>
                <c:pt idx="3077">
                  <c:v>-3.1859826676990832E-2</c:v>
                </c:pt>
                <c:pt idx="3078">
                  <c:v>-3.3173976366125735E-2</c:v>
                </c:pt>
                <c:pt idx="3079">
                  <c:v>-2.8421523303230001E-2</c:v>
                </c:pt>
                <c:pt idx="3080">
                  <c:v>-3.3077311262624698E-2</c:v>
                </c:pt>
                <c:pt idx="3081">
                  <c:v>-2.9592410351791498E-2</c:v>
                </c:pt>
                <c:pt idx="3082">
                  <c:v>-3.143152591070919E-2</c:v>
                </c:pt>
                <c:pt idx="3083">
                  <c:v>-4.1230888813319377E-2</c:v>
                </c:pt>
                <c:pt idx="3084">
                  <c:v>-4.6393796777234875E-2</c:v>
                </c:pt>
                <c:pt idx="3085">
                  <c:v>-4.0305382412106572E-2</c:v>
                </c:pt>
                <c:pt idx="3086">
                  <c:v>-3.2546892489567547E-2</c:v>
                </c:pt>
                <c:pt idx="3087">
                  <c:v>-2.5877000347994339E-2</c:v>
                </c:pt>
                <c:pt idx="3088">
                  <c:v>-2.7957035087945337E-2</c:v>
                </c:pt>
                <c:pt idx="3089">
                  <c:v>-2.2763392578301178E-2</c:v>
                </c:pt>
                <c:pt idx="3090">
                  <c:v>-2.2115984244083786E-2</c:v>
                </c:pt>
                <c:pt idx="3091">
                  <c:v>-2.3799939918920265E-2</c:v>
                </c:pt>
                <c:pt idx="3092">
                  <c:v>-2.0147981880498045E-2</c:v>
                </c:pt>
                <c:pt idx="3093">
                  <c:v>-1.9090614363740377E-2</c:v>
                </c:pt>
                <c:pt idx="3094">
                  <c:v>-1.8697013891023184E-2</c:v>
                </c:pt>
                <c:pt idx="3095">
                  <c:v>-1.9219005449928828E-2</c:v>
                </c:pt>
                <c:pt idx="3096">
                  <c:v>-1.560323486050974E-2</c:v>
                </c:pt>
                <c:pt idx="3097">
                  <c:v>-1.8851182338145422E-2</c:v>
                </c:pt>
                <c:pt idx="3098">
                  <c:v>-4.5153509141544479E-2</c:v>
                </c:pt>
                <c:pt idx="3099">
                  <c:v>-3.9478028269833376E-2</c:v>
                </c:pt>
                <c:pt idx="3100">
                  <c:v>-3.9593034957075668E-2</c:v>
                </c:pt>
                <c:pt idx="3101">
                  <c:v>-4.7543863649657792E-2</c:v>
                </c:pt>
                <c:pt idx="3102">
                  <c:v>-5.6030564018571538E-2</c:v>
                </c:pt>
                <c:pt idx="3103">
                  <c:v>-5.4211277198833563E-2</c:v>
                </c:pt>
                <c:pt idx="3104">
                  <c:v>-6.805272858322664E-2</c:v>
                </c:pt>
                <c:pt idx="3105">
                  <c:v>-7.2513699180180691E-2</c:v>
                </c:pt>
                <c:pt idx="3106">
                  <c:v>-6.0646694499606801E-2</c:v>
                </c:pt>
                <c:pt idx="3107">
                  <c:v>-5.2614567976387971E-2</c:v>
                </c:pt>
                <c:pt idx="3108">
                  <c:v>-5.0792306845772961E-2</c:v>
                </c:pt>
                <c:pt idx="3109">
                  <c:v>-6.0111814260234264E-2</c:v>
                </c:pt>
                <c:pt idx="3110">
                  <c:v>-6.2841240208320714E-2</c:v>
                </c:pt>
                <c:pt idx="3111">
                  <c:v>-6.1537500607255047E-2</c:v>
                </c:pt>
                <c:pt idx="3112">
                  <c:v>-4.7572615321468503E-2</c:v>
                </c:pt>
                <c:pt idx="3113">
                  <c:v>-5.1090233651948092E-2</c:v>
                </c:pt>
                <c:pt idx="3114">
                  <c:v>-5.1378246088533253E-2</c:v>
                </c:pt>
                <c:pt idx="3115">
                  <c:v>-5.3204968685463649E-2</c:v>
                </c:pt>
                <c:pt idx="3116">
                  <c:v>-4.2965407773064013E-2</c:v>
                </c:pt>
                <c:pt idx="3117">
                  <c:v>-4.7028812149465082E-2</c:v>
                </c:pt>
                <c:pt idx="3118">
                  <c:v>-4.9438003959799137E-2</c:v>
                </c:pt>
                <c:pt idx="3119">
                  <c:v>-4.9448909766348081E-2</c:v>
                </c:pt>
                <c:pt idx="3120">
                  <c:v>-5.81983409293928E-2</c:v>
                </c:pt>
                <c:pt idx="3121">
                  <c:v>-5.332592399445979E-2</c:v>
                </c:pt>
                <c:pt idx="3122">
                  <c:v>-6.3250703672381614E-2</c:v>
                </c:pt>
                <c:pt idx="3123">
                  <c:v>-8.2574305721483499E-2</c:v>
                </c:pt>
                <c:pt idx="3124">
                  <c:v>-9.2175876950776003E-2</c:v>
                </c:pt>
                <c:pt idx="3125">
                  <c:v>-9.1213191663601423E-2</c:v>
                </c:pt>
                <c:pt idx="3126">
                  <c:v>-8.7733743656042695E-2</c:v>
                </c:pt>
                <c:pt idx="3127">
                  <c:v>-9.5870466778434582E-2</c:v>
                </c:pt>
                <c:pt idx="3128">
                  <c:v>-9.3723510043752123E-2</c:v>
                </c:pt>
                <c:pt idx="3129">
                  <c:v>-0.11117726198820777</c:v>
                </c:pt>
                <c:pt idx="3130">
                  <c:v>-0.11003760520385431</c:v>
                </c:pt>
                <c:pt idx="3131">
                  <c:v>-0.10858465434046138</c:v>
                </c:pt>
                <c:pt idx="3132">
                  <c:v>-0.12015125362246271</c:v>
                </c:pt>
                <c:pt idx="3133">
                  <c:v>-0.11313336710828559</c:v>
                </c:pt>
                <c:pt idx="3134">
                  <c:v>-9.7449825854098115E-2</c:v>
                </c:pt>
                <c:pt idx="3135">
                  <c:v>-0.10418763142736176</c:v>
                </c:pt>
                <c:pt idx="3136">
                  <c:v>-9.8898810969655027E-2</c:v>
                </c:pt>
                <c:pt idx="3137">
                  <c:v>-0.10209669088086193</c:v>
                </c:pt>
                <c:pt idx="3138">
                  <c:v>-0.10533571542586684</c:v>
                </c:pt>
                <c:pt idx="3139">
                  <c:v>-8.5799450149062539E-2</c:v>
                </c:pt>
                <c:pt idx="3140">
                  <c:v>-8.9162404313940402E-2</c:v>
                </c:pt>
                <c:pt idx="3141">
                  <c:v>-0.10046577708333115</c:v>
                </c:pt>
                <c:pt idx="3142">
                  <c:v>-0.10783264940707105</c:v>
                </c:pt>
                <c:pt idx="3143">
                  <c:v>-0.11178352568862726</c:v>
                </c:pt>
                <c:pt idx="3144">
                  <c:v>-0.12016364658445011</c:v>
                </c:pt>
                <c:pt idx="3145">
                  <c:v>-0.13043840350889369</c:v>
                </c:pt>
                <c:pt idx="3146">
                  <c:v>-0.14336773289102023</c:v>
                </c:pt>
                <c:pt idx="3147">
                  <c:v>-0.13757278386575145</c:v>
                </c:pt>
                <c:pt idx="3148">
                  <c:v>-0.15241856088959649</c:v>
                </c:pt>
                <c:pt idx="3149">
                  <c:v>-0.14044844676528812</c:v>
                </c:pt>
                <c:pt idx="3150">
                  <c:v>-0.12732975292399529</c:v>
                </c:pt>
                <c:pt idx="3151">
                  <c:v>-0.12118581808916384</c:v>
                </c:pt>
                <c:pt idx="3152">
                  <c:v>-0.11033751488394727</c:v>
                </c:pt>
                <c:pt idx="3153">
                  <c:v>-0.10808596155009187</c:v>
                </c:pt>
                <c:pt idx="3154">
                  <c:v>-0.11106175958248599</c:v>
                </c:pt>
                <c:pt idx="3155">
                  <c:v>-9.8211745157078201E-2</c:v>
                </c:pt>
                <c:pt idx="3156">
                  <c:v>-0.10531390381276906</c:v>
                </c:pt>
                <c:pt idx="3157">
                  <c:v>-0.10741822875821527</c:v>
                </c:pt>
                <c:pt idx="3158">
                  <c:v>-0.10005036499751641</c:v>
                </c:pt>
                <c:pt idx="3159">
                  <c:v>-9.3678895380597704E-2</c:v>
                </c:pt>
                <c:pt idx="3160">
                  <c:v>-9.2661185342199359E-2</c:v>
                </c:pt>
                <c:pt idx="3161">
                  <c:v>-8.1349385358657211E-2</c:v>
                </c:pt>
                <c:pt idx="3162">
                  <c:v>-7.4371652041319014E-2</c:v>
                </c:pt>
                <c:pt idx="3163">
                  <c:v>-7.5484044309300447E-2</c:v>
                </c:pt>
                <c:pt idx="3164">
                  <c:v>-7.653298461190694E-2</c:v>
                </c:pt>
                <c:pt idx="3165">
                  <c:v>-7.480887574023154E-2</c:v>
                </c:pt>
                <c:pt idx="3166">
                  <c:v>-8.420571523749365E-2</c:v>
                </c:pt>
                <c:pt idx="3167">
                  <c:v>-8.0346546874643709E-2</c:v>
                </c:pt>
                <c:pt idx="3168">
                  <c:v>-8.8778718210813179E-2</c:v>
                </c:pt>
                <c:pt idx="3169">
                  <c:v>-7.6641546958915896E-2</c:v>
                </c:pt>
                <c:pt idx="3170">
                  <c:v>-7.358246822196679E-2</c:v>
                </c:pt>
                <c:pt idx="3171">
                  <c:v>-7.7686521513686158E-2</c:v>
                </c:pt>
                <c:pt idx="3172">
                  <c:v>-7.4019196202399717E-2</c:v>
                </c:pt>
                <c:pt idx="3173">
                  <c:v>-7.9028431437672797E-2</c:v>
                </c:pt>
                <c:pt idx="3174">
                  <c:v>-7.6883457576908287E-2</c:v>
                </c:pt>
                <c:pt idx="3175">
                  <c:v>-7.5759168065418825E-2</c:v>
                </c:pt>
                <c:pt idx="3176">
                  <c:v>-7.3833797491069553E-2</c:v>
                </c:pt>
                <c:pt idx="3177">
                  <c:v>-7.5768586716529307E-2</c:v>
                </c:pt>
                <c:pt idx="3178">
                  <c:v>-7.8509414189643967E-2</c:v>
                </c:pt>
                <c:pt idx="3179">
                  <c:v>-7.8019148613425848E-2</c:v>
                </c:pt>
                <c:pt idx="3180">
                  <c:v>-7.9442356368049194E-2</c:v>
                </c:pt>
                <c:pt idx="3181">
                  <c:v>-7.3358403469236166E-2</c:v>
                </c:pt>
                <c:pt idx="3182">
                  <c:v>-7.6864620274687434E-2</c:v>
                </c:pt>
                <c:pt idx="3183">
                  <c:v>-8.0947853390268221E-2</c:v>
                </c:pt>
                <c:pt idx="3184">
                  <c:v>-8.0997425238217402E-2</c:v>
                </c:pt>
                <c:pt idx="3185">
                  <c:v>-8.2791430415501188E-2</c:v>
                </c:pt>
                <c:pt idx="3186">
                  <c:v>-9.1059518934958672E-2</c:v>
                </c:pt>
                <c:pt idx="3187">
                  <c:v>-8.5324056127229153E-2</c:v>
                </c:pt>
                <c:pt idx="3188">
                  <c:v>-9.0029911653052519E-2</c:v>
                </c:pt>
                <c:pt idx="3189">
                  <c:v>-8.7146812976323429E-2</c:v>
                </c:pt>
                <c:pt idx="3190">
                  <c:v>-8.9234779211946336E-2</c:v>
                </c:pt>
                <c:pt idx="3191">
                  <c:v>-8.0845735383492712E-2</c:v>
                </c:pt>
                <c:pt idx="3192">
                  <c:v>-6.6217083053665471E-2</c:v>
                </c:pt>
                <c:pt idx="3193">
                  <c:v>-6.3158995753675451E-2</c:v>
                </c:pt>
                <c:pt idx="3194">
                  <c:v>-6.5326772664496602E-2</c:v>
                </c:pt>
                <c:pt idx="3195">
                  <c:v>-6.5521094308457872E-2</c:v>
                </c:pt>
                <c:pt idx="3196">
                  <c:v>-6.1439844066795035E-2</c:v>
                </c:pt>
                <c:pt idx="3197">
                  <c:v>-5.7771527318549731E-2</c:v>
                </c:pt>
                <c:pt idx="3198">
                  <c:v>-5.7601495880083675E-2</c:v>
                </c:pt>
                <c:pt idx="3199">
                  <c:v>-5.5857062550749181E-2</c:v>
                </c:pt>
                <c:pt idx="3200">
                  <c:v>-5.9010327798801776E-2</c:v>
                </c:pt>
                <c:pt idx="3201">
                  <c:v>-6.0004243350184505E-2</c:v>
                </c:pt>
                <c:pt idx="3202">
                  <c:v>-5.9719700942955645E-2</c:v>
                </c:pt>
                <c:pt idx="3203">
                  <c:v>-6.2958229769480956E-2</c:v>
                </c:pt>
                <c:pt idx="3204">
                  <c:v>-7.3800088634464078E-2</c:v>
                </c:pt>
                <c:pt idx="3205">
                  <c:v>-7.4950651225366482E-2</c:v>
                </c:pt>
                <c:pt idx="3206">
                  <c:v>-8.1041048464412846E-2</c:v>
                </c:pt>
                <c:pt idx="3207">
                  <c:v>-8.586438926987594E-2</c:v>
                </c:pt>
                <c:pt idx="3208">
                  <c:v>-8.1306257850941255E-2</c:v>
                </c:pt>
                <c:pt idx="3209">
                  <c:v>-8.1694405420384086E-2</c:v>
                </c:pt>
                <c:pt idx="3210">
                  <c:v>-8.0352495496397558E-2</c:v>
                </c:pt>
                <c:pt idx="3211">
                  <c:v>-7.2524604986729635E-2</c:v>
                </c:pt>
                <c:pt idx="3212">
                  <c:v>-7.8009729962315366E-2</c:v>
                </c:pt>
                <c:pt idx="3213">
                  <c:v>-7.7766827907364E-2</c:v>
                </c:pt>
                <c:pt idx="3214">
                  <c:v>-7.6659392824177441E-2</c:v>
                </c:pt>
                <c:pt idx="3215">
                  <c:v>-7.3731679484294044E-2</c:v>
                </c:pt>
                <c:pt idx="3216">
                  <c:v>-7.6228117747018986E-2</c:v>
                </c:pt>
                <c:pt idx="3217">
                  <c:v>-7.3533887810976584E-2</c:v>
                </c:pt>
                <c:pt idx="3218">
                  <c:v>-7.4129245704847135E-2</c:v>
                </c:pt>
                <c:pt idx="3219">
                  <c:v>-6.9620686133861853E-2</c:v>
                </c:pt>
                <c:pt idx="3220">
                  <c:v>-7.0393511243390883E-2</c:v>
                </c:pt>
                <c:pt idx="3221">
                  <c:v>-6.043750130126091E-2</c:v>
                </c:pt>
                <c:pt idx="3222">
                  <c:v>-5.3426554845796725E-2</c:v>
                </c:pt>
                <c:pt idx="3223">
                  <c:v>-5.4695594153297833E-2</c:v>
                </c:pt>
                <c:pt idx="3224">
                  <c:v>-4.9972884199171674E-2</c:v>
                </c:pt>
                <c:pt idx="3225">
                  <c:v>-5.0007088774256636E-2</c:v>
                </c:pt>
                <c:pt idx="3226">
                  <c:v>-5.0511234467900623E-2</c:v>
                </c:pt>
                <c:pt idx="3227">
                  <c:v>-5.343151203059171E-2</c:v>
                </c:pt>
                <c:pt idx="3228">
                  <c:v>-5.2126780992567179E-2</c:v>
                </c:pt>
                <c:pt idx="3229">
                  <c:v>-6.0076618248190217E-2</c:v>
                </c:pt>
                <c:pt idx="3230">
                  <c:v>-5.9483738946717102E-2</c:v>
                </c:pt>
                <c:pt idx="3231">
                  <c:v>-5.5203705594777941E-2</c:v>
                </c:pt>
                <c:pt idx="3232">
                  <c:v>-5.5624074865387674E-2</c:v>
                </c:pt>
                <c:pt idx="3233">
                  <c:v>-5.5590366008782199E-2</c:v>
                </c:pt>
                <c:pt idx="3234">
                  <c:v>-6.3256156575655975E-2</c:v>
                </c:pt>
                <c:pt idx="3235">
                  <c:v>-7.1394366853486435E-2</c:v>
                </c:pt>
                <c:pt idx="3236">
                  <c:v>-7.1840017766550246E-2</c:v>
                </c:pt>
                <c:pt idx="3237">
                  <c:v>-7.1921315597187063E-2</c:v>
                </c:pt>
                <c:pt idx="3238">
                  <c:v>-6.9060524252035127E-2</c:v>
                </c:pt>
                <c:pt idx="3239">
                  <c:v>-7.1941640054846268E-2</c:v>
                </c:pt>
                <c:pt idx="3240">
                  <c:v>-6.565989548271578E-2</c:v>
                </c:pt>
                <c:pt idx="3241">
                  <c:v>-5.995120147287869E-2</c:v>
                </c:pt>
                <c:pt idx="3242">
                  <c:v>-6.096990294823601E-2</c:v>
                </c:pt>
                <c:pt idx="3243">
                  <c:v>-5.5629527768661924E-2</c:v>
                </c:pt>
                <c:pt idx="3244">
                  <c:v>-7.429382424003883E-2</c:v>
                </c:pt>
                <c:pt idx="3245">
                  <c:v>-8.0906213037990837E-2</c:v>
                </c:pt>
                <c:pt idx="3246">
                  <c:v>-7.4106442654790494E-2</c:v>
                </c:pt>
                <c:pt idx="3247">
                  <c:v>-6.3062826368653901E-2</c:v>
                </c:pt>
                <c:pt idx="3248">
                  <c:v>-5.584764389963881E-2</c:v>
                </c:pt>
                <c:pt idx="3249">
                  <c:v>-5.4208798606436126E-2</c:v>
                </c:pt>
                <c:pt idx="3250">
                  <c:v>-5.4523579840913938E-2</c:v>
                </c:pt>
                <c:pt idx="3251">
                  <c:v>-5.8729255420929438E-2</c:v>
                </c:pt>
                <c:pt idx="3252">
                  <c:v>-5.8440251547385191E-2</c:v>
                </c:pt>
                <c:pt idx="3253">
                  <c:v>-5.7358098106652822E-2</c:v>
                </c:pt>
                <c:pt idx="3254">
                  <c:v>-4.7279645700088357E-2</c:v>
                </c:pt>
                <c:pt idx="3255">
                  <c:v>-4.2746300205128263E-2</c:v>
                </c:pt>
                <c:pt idx="3256">
                  <c:v>-3.8664554244986049E-2</c:v>
                </c:pt>
                <c:pt idx="3257">
                  <c:v>-3.8492044214122556E-2</c:v>
                </c:pt>
                <c:pt idx="3258">
                  <c:v>-3.5702636330017468E-2</c:v>
                </c:pt>
                <c:pt idx="3259">
                  <c:v>-3.473747245044545E-2</c:v>
                </c:pt>
                <c:pt idx="3260">
                  <c:v>-3.2562755480911254E-2</c:v>
                </c:pt>
                <c:pt idx="3261">
                  <c:v>-3.1353698109428785E-2</c:v>
                </c:pt>
                <c:pt idx="3262">
                  <c:v>-2.7898044588885673E-2</c:v>
                </c:pt>
                <c:pt idx="3263">
                  <c:v>-2.792382194981935E-2</c:v>
                </c:pt>
                <c:pt idx="3264">
                  <c:v>-2.5900299116530467E-2</c:v>
                </c:pt>
                <c:pt idx="3265">
                  <c:v>-2.6707328801144459E-2</c:v>
                </c:pt>
                <c:pt idx="3266">
                  <c:v>-2.6851582878676838E-2</c:v>
                </c:pt>
                <c:pt idx="3267">
                  <c:v>-2.6441127977656964E-2</c:v>
                </c:pt>
                <c:pt idx="3268">
                  <c:v>-3.2126027500478327E-2</c:v>
                </c:pt>
                <c:pt idx="3269">
                  <c:v>-3.2245991372515492E-2</c:v>
                </c:pt>
                <c:pt idx="3270">
                  <c:v>-3.3585918422584071E-2</c:v>
                </c:pt>
                <c:pt idx="3271">
                  <c:v>-4.1468337964996271E-2</c:v>
                </c:pt>
                <c:pt idx="3272">
                  <c:v>-3.903336879372854E-2</c:v>
                </c:pt>
                <c:pt idx="3273">
                  <c:v>-3.4559013797828109E-2</c:v>
                </c:pt>
                <c:pt idx="3274">
                  <c:v>-2.7513862767278963E-2</c:v>
                </c:pt>
                <c:pt idx="3275">
                  <c:v>-2.6149645511715169E-2</c:v>
                </c:pt>
                <c:pt idx="3276">
                  <c:v>-2.4949511072863584E-2</c:v>
                </c:pt>
                <c:pt idx="3277">
                  <c:v>-2.8248021835407533E-2</c:v>
                </c:pt>
                <c:pt idx="3278">
                  <c:v>-2.592855506986147E-2</c:v>
                </c:pt>
                <c:pt idx="3279">
                  <c:v>-2.5728284804146573E-2</c:v>
                </c:pt>
                <c:pt idx="3280">
                  <c:v>-2.5663841401812548E-2</c:v>
                </c:pt>
                <c:pt idx="3281">
                  <c:v>-3.2823503401124499E-2</c:v>
                </c:pt>
                <c:pt idx="3282">
                  <c:v>-3.2795247447793274E-2</c:v>
                </c:pt>
                <c:pt idx="3283">
                  <c:v>-3.3735625403390923E-2</c:v>
                </c:pt>
                <c:pt idx="3284">
                  <c:v>-3.5993127359000288E-2</c:v>
                </c:pt>
                <c:pt idx="3285">
                  <c:v>-3.538339362922438E-2</c:v>
                </c:pt>
                <c:pt idx="3286">
                  <c:v>-3.2839366392468206E-2</c:v>
                </c:pt>
                <c:pt idx="3287">
                  <c:v>-3.1415662919365483E-2</c:v>
                </c:pt>
                <c:pt idx="3288">
                  <c:v>-3.4882222246457317E-2</c:v>
                </c:pt>
                <c:pt idx="3289">
                  <c:v>-3.5089928289364747E-2</c:v>
                </c:pt>
                <c:pt idx="3290">
                  <c:v>-2.8429454798901799E-2</c:v>
                </c:pt>
                <c:pt idx="3291">
                  <c:v>-2.8182091277634935E-2</c:v>
                </c:pt>
                <c:pt idx="3292">
                  <c:v>-2.9047615742829103E-2</c:v>
                </c:pt>
                <c:pt idx="3293">
                  <c:v>-3.0813364966781776E-2</c:v>
                </c:pt>
                <c:pt idx="3294">
                  <c:v>-2.4511295936992084E-2</c:v>
                </c:pt>
                <c:pt idx="3295">
                  <c:v>-2.2014857674267363E-2</c:v>
                </c:pt>
                <c:pt idx="3296">
                  <c:v>-2.4021526079253452E-2</c:v>
                </c:pt>
                <c:pt idx="3297">
                  <c:v>-2.3863391884295315E-2</c:v>
                </c:pt>
                <c:pt idx="3298">
                  <c:v>-2.7716611625391407E-2</c:v>
                </c:pt>
                <c:pt idx="3299">
                  <c:v>-3.8336388611561856E-2</c:v>
                </c:pt>
                <c:pt idx="3300">
                  <c:v>-3.5092902600241671E-2</c:v>
                </c:pt>
                <c:pt idx="3301">
                  <c:v>-4.4460990425693292E-2</c:v>
                </c:pt>
                <c:pt idx="3302">
                  <c:v>-4.5594698588292903E-2</c:v>
                </c:pt>
                <c:pt idx="3303">
                  <c:v>-4.0652881066230884E-2</c:v>
                </c:pt>
                <c:pt idx="3304">
                  <c:v>-3.8830619935615984E-2</c:v>
                </c:pt>
                <c:pt idx="3305">
                  <c:v>-3.7432693823446828E-2</c:v>
                </c:pt>
                <c:pt idx="3306">
                  <c:v>-3.6226610762841283E-2</c:v>
                </c:pt>
                <c:pt idx="3307">
                  <c:v>-2.7593177723997719E-2</c:v>
                </c:pt>
                <c:pt idx="3308">
                  <c:v>-2.5247933597518202E-2</c:v>
                </c:pt>
                <c:pt idx="3309">
                  <c:v>-2.9191374101881995E-2</c:v>
                </c:pt>
                <c:pt idx="3310">
                  <c:v>-3.7489205730108943E-2</c:v>
                </c:pt>
                <c:pt idx="3311">
                  <c:v>-3.1286776114697323E-2</c:v>
                </c:pt>
                <c:pt idx="3312">
                  <c:v>-2.7987273915194399E-2</c:v>
                </c:pt>
                <c:pt idx="3313">
                  <c:v>-3.3058473960403845E-2</c:v>
                </c:pt>
                <c:pt idx="3314">
                  <c:v>-3.0883756990869871E-2</c:v>
                </c:pt>
                <c:pt idx="3315">
                  <c:v>-3.1001737988989087E-2</c:v>
                </c:pt>
                <c:pt idx="3316">
                  <c:v>-2.9131392165863468E-2</c:v>
                </c:pt>
                <c:pt idx="3317">
                  <c:v>-3.0897637108295628E-2</c:v>
                </c:pt>
                <c:pt idx="3318">
                  <c:v>-2.9281594865149585E-2</c:v>
                </c:pt>
                <c:pt idx="3319">
                  <c:v>-3.2243017061638679E-2</c:v>
                </c:pt>
                <c:pt idx="3320">
                  <c:v>-2.8396241660775812E-2</c:v>
                </c:pt>
                <c:pt idx="3321">
                  <c:v>-2.9570103020214344E-2</c:v>
                </c:pt>
                <c:pt idx="3322">
                  <c:v>-2.8999035331838896E-2</c:v>
                </c:pt>
                <c:pt idx="3323">
                  <c:v>-3.1975824801192099E-2</c:v>
                </c:pt>
                <c:pt idx="3324">
                  <c:v>-2.9014402604703116E-2</c:v>
                </c:pt>
                <c:pt idx="3325">
                  <c:v>-3.053774549218391E-2</c:v>
                </c:pt>
                <c:pt idx="3326">
                  <c:v>-2.3896605022421302E-2</c:v>
                </c:pt>
                <c:pt idx="3327">
                  <c:v>-2.126780992567201E-2</c:v>
                </c:pt>
                <c:pt idx="3328">
                  <c:v>-1.9510983634349999E-2</c:v>
                </c:pt>
                <c:pt idx="3329">
                  <c:v>-1.7473084965155983E-2</c:v>
                </c:pt>
                <c:pt idx="3330">
                  <c:v>-1.6336898210158712E-2</c:v>
                </c:pt>
                <c:pt idx="3331">
                  <c:v>-1.6631850705456919E-2</c:v>
                </c:pt>
                <c:pt idx="3332">
                  <c:v>-2.1405123944491344E-2</c:v>
                </c:pt>
                <c:pt idx="3333">
                  <c:v>-2.360115680864372E-2</c:v>
                </c:pt>
                <c:pt idx="3334">
                  <c:v>-2.5051133361159605E-2</c:v>
                </c:pt>
                <c:pt idx="3335">
                  <c:v>-2.7017152850827397E-2</c:v>
                </c:pt>
                <c:pt idx="3336">
                  <c:v>-3.5233190929938041E-2</c:v>
                </c:pt>
                <c:pt idx="3337">
                  <c:v>-4.3333726603326905E-2</c:v>
                </c:pt>
                <c:pt idx="3338">
                  <c:v>-4.4795104680871223E-2</c:v>
                </c:pt>
                <c:pt idx="3339">
                  <c:v>-4.8882303544287908E-2</c:v>
                </c:pt>
                <c:pt idx="3340">
                  <c:v>-3.3285017305532016E-2</c:v>
                </c:pt>
                <c:pt idx="3341">
                  <c:v>-3.1583215765433881E-2</c:v>
                </c:pt>
                <c:pt idx="3342">
                  <c:v>-2.3400886542928712E-2</c:v>
                </c:pt>
                <c:pt idx="3343">
                  <c:v>-1.80615028003136E-2</c:v>
                </c:pt>
                <c:pt idx="3344">
                  <c:v>-1.7672363793912016E-2</c:v>
                </c:pt>
                <c:pt idx="3345">
                  <c:v>-1.0902832237960736E-2</c:v>
                </c:pt>
                <c:pt idx="3346">
                  <c:v>-6.0661070335511491E-3</c:v>
                </c:pt>
                <c:pt idx="3347">
                  <c:v>-4.7891362303781326E-3</c:v>
                </c:pt>
                <c:pt idx="3348">
                  <c:v>-9.5376235454380787E-4</c:v>
                </c:pt>
                <c:pt idx="3349">
                  <c:v>0</c:v>
                </c:pt>
                <c:pt idx="3350">
                  <c:v>0</c:v>
                </c:pt>
                <c:pt idx="3351">
                  <c:v>0</c:v>
                </c:pt>
                <c:pt idx="3352">
                  <c:v>0</c:v>
                </c:pt>
                <c:pt idx="3353">
                  <c:v>-3.0941688178520721E-5</c:v>
                </c:pt>
                <c:pt idx="3354">
                  <c:v>0</c:v>
                </c:pt>
                <c:pt idx="3355">
                  <c:v>-1.5529772434580424E-3</c:v>
                </c:pt>
                <c:pt idx="3356">
                  <c:v>-2.9817359467343429E-3</c:v>
                </c:pt>
                <c:pt idx="3357">
                  <c:v>-3.7309750468029756E-3</c:v>
                </c:pt>
                <c:pt idx="3358">
                  <c:v>-5.6674095229959365E-3</c:v>
                </c:pt>
                <c:pt idx="3359">
                  <c:v>-7.7565395169617579E-3</c:v>
                </c:pt>
                <c:pt idx="3360">
                  <c:v>-9.064025574289869E-3</c:v>
                </c:pt>
                <c:pt idx="3361">
                  <c:v>-5.3310865979978583E-3</c:v>
                </c:pt>
                <c:pt idx="3362">
                  <c:v>0</c:v>
                </c:pt>
                <c:pt idx="3363">
                  <c:v>0</c:v>
                </c:pt>
                <c:pt idx="3364">
                  <c:v>0</c:v>
                </c:pt>
                <c:pt idx="3365">
                  <c:v>-5.143689628479331E-3</c:v>
                </c:pt>
                <c:pt idx="3366">
                  <c:v>-7.7410172946823508E-4</c:v>
                </c:pt>
                <c:pt idx="3367">
                  <c:v>-5.6855608391070955E-3</c:v>
                </c:pt>
                <c:pt idx="3368">
                  <c:v>0</c:v>
                </c:pt>
                <c:pt idx="3369">
                  <c:v>0</c:v>
                </c:pt>
                <c:pt idx="3370">
                  <c:v>0</c:v>
                </c:pt>
                <c:pt idx="3371">
                  <c:v>0</c:v>
                </c:pt>
                <c:pt idx="3372">
                  <c:v>-4.0421470965043005E-3</c:v>
                </c:pt>
                <c:pt idx="3373">
                  <c:v>-6.7712975705759293E-3</c:v>
                </c:pt>
                <c:pt idx="3374">
                  <c:v>-6.1252575959611644E-3</c:v>
                </c:pt>
                <c:pt idx="3375">
                  <c:v>-6.6367653315648756E-3</c:v>
                </c:pt>
                <c:pt idx="3376">
                  <c:v>-5.5410168830828388E-3</c:v>
                </c:pt>
                <c:pt idx="3377">
                  <c:v>-4.9277780550821548E-3</c:v>
                </c:pt>
                <c:pt idx="3378">
                  <c:v>-1.0176912271194105E-2</c:v>
                </c:pt>
                <c:pt idx="3379">
                  <c:v>-1.5168391103758561E-2</c:v>
                </c:pt>
                <c:pt idx="3380">
                  <c:v>-1.4092608570606791E-2</c:v>
                </c:pt>
                <c:pt idx="3381">
                  <c:v>-1.8107183688798045E-3</c:v>
                </c:pt>
                <c:pt idx="3382">
                  <c:v>-1.0591442703764553E-3</c:v>
                </c:pt>
                <c:pt idx="3383">
                  <c:v>-5.92702457946781E-3</c:v>
                </c:pt>
                <c:pt idx="3384">
                  <c:v>-4.2931471749417804E-3</c:v>
                </c:pt>
                <c:pt idx="3385">
                  <c:v>-4.8422098465238372E-3</c:v>
                </c:pt>
                <c:pt idx="3386">
                  <c:v>-6.2170057306930593E-3</c:v>
                </c:pt>
                <c:pt idx="3387">
                  <c:v>0</c:v>
                </c:pt>
                <c:pt idx="3388">
                  <c:v>-1.0267579783409198E-2</c:v>
                </c:pt>
                <c:pt idx="3389">
                  <c:v>-6.845053188939465E-3</c:v>
                </c:pt>
                <c:pt idx="3390">
                  <c:v>-6.9921871848187545E-3</c:v>
                </c:pt>
                <c:pt idx="3391">
                  <c:v>-1.2932128986203995E-2</c:v>
                </c:pt>
                <c:pt idx="3392">
                  <c:v>-1.2216393290120142E-2</c:v>
                </c:pt>
                <c:pt idx="3393">
                  <c:v>-1.0656298308006407E-2</c:v>
                </c:pt>
                <c:pt idx="3394">
                  <c:v>-1.2535816448916215E-2</c:v>
                </c:pt>
                <c:pt idx="3395">
                  <c:v>-1.6539759640005758E-2</c:v>
                </c:pt>
                <c:pt idx="3396">
                  <c:v>-1.4035159329505609E-2</c:v>
                </c:pt>
                <c:pt idx="3397">
                  <c:v>-7.7729466145654014E-3</c:v>
                </c:pt>
                <c:pt idx="3398">
                  <c:v>-3.6308873176664758E-3</c:v>
                </c:pt>
                <c:pt idx="3399">
                  <c:v>-5.6214678941755025E-3</c:v>
                </c:pt>
                <c:pt idx="3400">
                  <c:v>-9.2257761674251482E-3</c:v>
                </c:pt>
                <c:pt idx="3401">
                  <c:v>-1.6290581098597379E-2</c:v>
                </c:pt>
                <c:pt idx="3402">
                  <c:v>-1.3251077519206955E-2</c:v>
                </c:pt>
                <c:pt idx="3403">
                  <c:v>-1.4736181626001432E-2</c:v>
                </c:pt>
                <c:pt idx="3404">
                  <c:v>-1.0171705373191009E-2</c:v>
                </c:pt>
                <c:pt idx="3405">
                  <c:v>-9.8247539183918819E-3</c:v>
                </c:pt>
                <c:pt idx="3406">
                  <c:v>-6.4895584698634323E-3</c:v>
                </c:pt>
                <c:pt idx="3407">
                  <c:v>-5.297773103241088E-3</c:v>
                </c:pt>
                <c:pt idx="3408">
                  <c:v>-6.5783134931840515E-4</c:v>
                </c:pt>
                <c:pt idx="3409">
                  <c:v>0</c:v>
                </c:pt>
                <c:pt idx="3410">
                  <c:v>0</c:v>
                </c:pt>
                <c:pt idx="3411">
                  <c:v>0</c:v>
                </c:pt>
                <c:pt idx="3412">
                  <c:v>0</c:v>
                </c:pt>
                <c:pt idx="3413">
                  <c:v>-4.4991799489693118E-3</c:v>
                </c:pt>
                <c:pt idx="3414">
                  <c:v>-2.1290011082023552E-3</c:v>
                </c:pt>
                <c:pt idx="3415">
                  <c:v>-1.4727733242471119E-3</c:v>
                </c:pt>
                <c:pt idx="3416">
                  <c:v>0</c:v>
                </c:pt>
                <c:pt idx="3417">
                  <c:v>-1.1751825597328125E-4</c:v>
                </c:pt>
                <c:pt idx="3418">
                  <c:v>-1.9346384827231278E-3</c:v>
                </c:pt>
                <c:pt idx="3419">
                  <c:v>-1.8751826061832455E-3</c:v>
                </c:pt>
                <c:pt idx="3420">
                  <c:v>-4.6788987842666385E-3</c:v>
                </c:pt>
                <c:pt idx="3421">
                  <c:v>-6.6558066792173909E-3</c:v>
                </c:pt>
                <c:pt idx="3422">
                  <c:v>0</c:v>
                </c:pt>
                <c:pt idx="3423">
                  <c:v>-3.1267576448301693E-4</c:v>
                </c:pt>
                <c:pt idx="3424">
                  <c:v>-2.7359129392261483E-3</c:v>
                </c:pt>
                <c:pt idx="3425">
                  <c:v>-6.1008777123234825E-3</c:v>
                </c:pt>
                <c:pt idx="3426">
                  <c:v>-6.7678576714721439E-3</c:v>
                </c:pt>
                <c:pt idx="3427">
                  <c:v>-7.7687901483082245E-3</c:v>
                </c:pt>
                <c:pt idx="3428">
                  <c:v>-8.692941298362955E-3</c:v>
                </c:pt>
                <c:pt idx="3429">
                  <c:v>-1.0070842337408625E-2</c:v>
                </c:pt>
                <c:pt idx="3430">
                  <c:v>-8.5833197655486027E-3</c:v>
                </c:pt>
                <c:pt idx="3431">
                  <c:v>-9.6092293004943485E-3</c:v>
                </c:pt>
                <c:pt idx="3432">
                  <c:v>-4.1175142831768596E-3</c:v>
                </c:pt>
                <c:pt idx="3433">
                  <c:v>-7.8807243716881858E-3</c:v>
                </c:pt>
                <c:pt idx="3434">
                  <c:v>-8.1596348539119123E-3</c:v>
                </c:pt>
                <c:pt idx="3435">
                  <c:v>-9.8608500340428007E-3</c:v>
                </c:pt>
                <c:pt idx="3436">
                  <c:v>-1.8654162102957228E-2</c:v>
                </c:pt>
                <c:pt idx="3437">
                  <c:v>-1.9111149758740065E-2</c:v>
                </c:pt>
                <c:pt idx="3438">
                  <c:v>-1.7781352683461149E-2</c:v>
                </c:pt>
                <c:pt idx="3439">
                  <c:v>-1.8343799029040042E-2</c:v>
                </c:pt>
                <c:pt idx="3440">
                  <c:v>-2.3661599715816606E-2</c:v>
                </c:pt>
                <c:pt idx="3441">
                  <c:v>-1.7303550812586943E-2</c:v>
                </c:pt>
                <c:pt idx="3442">
                  <c:v>-9.9043286166780042E-3</c:v>
                </c:pt>
                <c:pt idx="3443">
                  <c:v>-7.8751739143304578E-3</c:v>
                </c:pt>
                <c:pt idx="3444">
                  <c:v>-7.5911755128622582E-3</c:v>
                </c:pt>
                <c:pt idx="3445">
                  <c:v>-6.2414892987182613E-3</c:v>
                </c:pt>
                <c:pt idx="3446">
                  <c:v>-6.4639701311387521E-3</c:v>
                </c:pt>
                <c:pt idx="3447">
                  <c:v>-8.1480714010834232E-3</c:v>
                </c:pt>
                <c:pt idx="3448">
                  <c:v>-7.2391840087623338E-3</c:v>
                </c:pt>
                <c:pt idx="3449">
                  <c:v>-4.8029957668511702E-3</c:v>
                </c:pt>
                <c:pt idx="3450">
                  <c:v>-3.2567308546223028E-3</c:v>
                </c:pt>
                <c:pt idx="3451">
                  <c:v>-4.6313941268759651E-3</c:v>
                </c:pt>
                <c:pt idx="3452">
                  <c:v>-5.9352890678191494E-3</c:v>
                </c:pt>
                <c:pt idx="3453">
                  <c:v>-9.9084914596963003E-3</c:v>
                </c:pt>
                <c:pt idx="3454">
                  <c:v>-1.0335876676238143E-2</c:v>
                </c:pt>
                <c:pt idx="3455">
                  <c:v>-7.5879377460702502E-3</c:v>
                </c:pt>
                <c:pt idx="3456">
                  <c:v>-1.2931178029069512E-2</c:v>
                </c:pt>
                <c:pt idx="3457">
                  <c:v>-1.4992710399336917E-2</c:v>
                </c:pt>
                <c:pt idx="3458">
                  <c:v>-1.3915459133832631E-2</c:v>
                </c:pt>
                <c:pt idx="3459">
                  <c:v>-1.0537080755454231E-2</c:v>
                </c:pt>
                <c:pt idx="3460">
                  <c:v>-1.0436709984902648E-2</c:v>
                </c:pt>
                <c:pt idx="3461">
                  <c:v>-1.09954560255765E-2</c:v>
                </c:pt>
                <c:pt idx="3462">
                  <c:v>-7.3270662502590289E-3</c:v>
                </c:pt>
                <c:pt idx="3463">
                  <c:v>-6.6378844616796773E-3</c:v>
                </c:pt>
                <c:pt idx="3464">
                  <c:v>-9.5194969065450774E-3</c:v>
                </c:pt>
                <c:pt idx="3465">
                  <c:v>-9.646694887658791E-3</c:v>
                </c:pt>
                <c:pt idx="3466">
                  <c:v>-7.1901549687694022E-3</c:v>
                </c:pt>
                <c:pt idx="3467">
                  <c:v>-8.4436332553802229E-3</c:v>
                </c:pt>
                <c:pt idx="3468">
                  <c:v>-9.7859188597140268E-3</c:v>
                </c:pt>
                <c:pt idx="3469">
                  <c:v>-8.3881286818033862E-3</c:v>
                </c:pt>
                <c:pt idx="3470">
                  <c:v>-4.4357405050176046E-3</c:v>
                </c:pt>
                <c:pt idx="3471">
                  <c:v>-3.2780076078268161E-3</c:v>
                </c:pt>
                <c:pt idx="3472">
                  <c:v>-4.2229729729725829E-4</c:v>
                </c:pt>
                <c:pt idx="3473">
                  <c:v>-2.1600529883661901E-3</c:v>
                </c:pt>
                <c:pt idx="3474">
                  <c:v>-4.4523918770905668E-3</c:v>
                </c:pt>
                <c:pt idx="3475">
                  <c:v>-5.0634047245492475E-3</c:v>
                </c:pt>
                <c:pt idx="3476">
                  <c:v>-9.4353149699534233E-3</c:v>
                </c:pt>
                <c:pt idx="3477">
                  <c:v>-2.154410023385922E-2</c:v>
                </c:pt>
                <c:pt idx="3478">
                  <c:v>-2.0885908498860295E-2</c:v>
                </c:pt>
                <c:pt idx="3479">
                  <c:v>-2.0224941535182506E-2</c:v>
                </c:pt>
                <c:pt idx="3480">
                  <c:v>-1.9837797134483859E-2</c:v>
                </c:pt>
                <c:pt idx="3481">
                  <c:v>-1.7816968118172904E-2</c:v>
                </c:pt>
                <c:pt idx="3482">
                  <c:v>-1.4607416151090846E-2</c:v>
                </c:pt>
                <c:pt idx="3483">
                  <c:v>-1.3581969154258244E-2</c:v>
                </c:pt>
                <c:pt idx="3484">
                  <c:v>-1.2530620023089911E-2</c:v>
                </c:pt>
                <c:pt idx="3485">
                  <c:v>-1.2547733933276017E-2</c:v>
                </c:pt>
                <c:pt idx="3486">
                  <c:v>-1.3003333974719422E-2</c:v>
                </c:pt>
                <c:pt idx="3487">
                  <c:v>-1.6427966164411889E-2</c:v>
                </c:pt>
                <c:pt idx="3488">
                  <c:v>-1.1210536248186798E-2</c:v>
                </c:pt>
                <c:pt idx="3489">
                  <c:v>-9.6314311299251498E-3</c:v>
                </c:pt>
                <c:pt idx="3490">
                  <c:v>-9.5907277759686993E-3</c:v>
                </c:pt>
                <c:pt idx="3491">
                  <c:v>-1.2029691246558727E-2</c:v>
                </c:pt>
                <c:pt idx="3492">
                  <c:v>-1.1755868683579473E-2</c:v>
                </c:pt>
                <c:pt idx="3493">
                  <c:v>-9.9043286166780042E-3</c:v>
                </c:pt>
                <c:pt idx="3494">
                  <c:v>-8.1984880554156758E-3</c:v>
                </c:pt>
                <c:pt idx="3495">
                  <c:v>-1.0490826944140164E-2</c:v>
                </c:pt>
                <c:pt idx="3496">
                  <c:v>-7.3423300079926701E-3</c:v>
                </c:pt>
                <c:pt idx="3497">
                  <c:v>-1.0809053165980798E-2</c:v>
                </c:pt>
                <c:pt idx="3498">
                  <c:v>-8.5074635149935407E-3</c:v>
                </c:pt>
                <c:pt idx="3499">
                  <c:v>-8.6554757111985126E-3</c:v>
                </c:pt>
                <c:pt idx="3500">
                  <c:v>-1.8529276812409012E-3</c:v>
                </c:pt>
                <c:pt idx="3501">
                  <c:v>-4.1614554039253182E-3</c:v>
                </c:pt>
                <c:pt idx="3502">
                  <c:v>-6.1855221870281696E-3</c:v>
                </c:pt>
                <c:pt idx="3503">
                  <c:v>-6.5624907492377593E-3</c:v>
                </c:pt>
                <c:pt idx="3504">
                  <c:v>-8.0796157603385543E-3</c:v>
                </c:pt>
                <c:pt idx="3505">
                  <c:v>-7.177666439714514E-3</c:v>
                </c:pt>
                <c:pt idx="3506">
                  <c:v>-1.6681899588526061E-2</c:v>
                </c:pt>
                <c:pt idx="3507">
                  <c:v>-1.5370604037772684E-2</c:v>
                </c:pt>
                <c:pt idx="3508">
                  <c:v>-2.4117662295373155E-2</c:v>
                </c:pt>
                <c:pt idx="3509">
                  <c:v>-2.3356787099257037E-2</c:v>
                </c:pt>
                <c:pt idx="3510">
                  <c:v>-1.9466379029631997E-2</c:v>
                </c:pt>
                <c:pt idx="3511">
                  <c:v>-1.8983489239513318E-2</c:v>
                </c:pt>
                <c:pt idx="3512">
                  <c:v>-1.7038516473757426E-2</c:v>
                </c:pt>
                <c:pt idx="3513">
                  <c:v>-2.6275402593173736E-2</c:v>
                </c:pt>
                <c:pt idx="3514">
                  <c:v>-2.3281393386815119E-2</c:v>
                </c:pt>
                <c:pt idx="3515">
                  <c:v>-2.1307280719931265E-2</c:v>
                </c:pt>
                <c:pt idx="3516">
                  <c:v>-2.4152815191971877E-2</c:v>
                </c:pt>
                <c:pt idx="3517">
                  <c:v>-1.7372931529557989E-2</c:v>
                </c:pt>
                <c:pt idx="3518">
                  <c:v>-1.5614824161510943E-2</c:v>
                </c:pt>
                <c:pt idx="3519">
                  <c:v>-1.4047282496077673E-2</c:v>
                </c:pt>
                <c:pt idx="3520">
                  <c:v>-1.5074117107249596E-2</c:v>
                </c:pt>
                <c:pt idx="3521">
                  <c:v>-2.1274440513898374E-2</c:v>
                </c:pt>
                <c:pt idx="3522">
                  <c:v>-1.4381697551878236E-2</c:v>
                </c:pt>
                <c:pt idx="3523">
                  <c:v>-1.9650931736775012E-2</c:v>
                </c:pt>
                <c:pt idx="3524">
                  <c:v>-2.2432635949202195E-2</c:v>
                </c:pt>
                <c:pt idx="3525">
                  <c:v>-2.3152807791361973E-2</c:v>
                </c:pt>
                <c:pt idx="3526">
                  <c:v>-2.2768901157455335E-2</c:v>
                </c:pt>
                <c:pt idx="3527">
                  <c:v>-1.9890526479381831E-2</c:v>
                </c:pt>
                <c:pt idx="3528">
                  <c:v>-2.1222173707113434E-2</c:v>
                </c:pt>
                <c:pt idx="3529">
                  <c:v>-2.7344790710754574E-2</c:v>
                </c:pt>
                <c:pt idx="3530">
                  <c:v>-2.9338792516503287E-2</c:v>
                </c:pt>
                <c:pt idx="3531">
                  <c:v>-2.6855425387051879E-2</c:v>
                </c:pt>
                <c:pt idx="3532">
                  <c:v>-2.9921128000947261E-2</c:v>
                </c:pt>
                <c:pt idx="3533">
                  <c:v>-3.1468317989402195E-2</c:v>
                </c:pt>
                <c:pt idx="3534">
                  <c:v>-2.4728675142831724E-2</c:v>
                </c:pt>
                <c:pt idx="3535">
                  <c:v>-2.5633399692134629E-2</c:v>
                </c:pt>
                <c:pt idx="3536">
                  <c:v>-2.4122750214617628E-2</c:v>
                </c:pt>
                <c:pt idx="3537">
                  <c:v>-2.5686129037032601E-2</c:v>
                </c:pt>
                <c:pt idx="3538">
                  <c:v>-3.3452143956661962E-2</c:v>
                </c:pt>
                <c:pt idx="3539">
                  <c:v>-3.6609891655072335E-2</c:v>
                </c:pt>
                <c:pt idx="3540">
                  <c:v>-3.1113088718510373E-2</c:v>
                </c:pt>
                <c:pt idx="3541">
                  <c:v>-2.8598268997365284E-2</c:v>
                </c:pt>
                <c:pt idx="3542">
                  <c:v>-2.5730532695894093E-2</c:v>
                </c:pt>
                <c:pt idx="3543">
                  <c:v>-3.3956310499985154E-2</c:v>
                </c:pt>
                <c:pt idx="3544">
                  <c:v>-3.6306004114739054E-2</c:v>
                </c:pt>
                <c:pt idx="3545">
                  <c:v>-3.9621939847843346E-2</c:v>
                </c:pt>
                <c:pt idx="3546">
                  <c:v>-3.2176001302507307E-2</c:v>
                </c:pt>
                <c:pt idx="3547">
                  <c:v>-3.5843466001598601E-2</c:v>
                </c:pt>
                <c:pt idx="3548">
                  <c:v>-3.6257900150972411E-2</c:v>
                </c:pt>
                <c:pt idx="3549">
                  <c:v>-3.8300930996714055E-2</c:v>
                </c:pt>
                <c:pt idx="3550">
                  <c:v>-4.2356465172730173E-2</c:v>
                </c:pt>
                <c:pt idx="3551">
                  <c:v>-4.6282488677066858E-2</c:v>
                </c:pt>
                <c:pt idx="3552">
                  <c:v>-3.9589099641810455E-2</c:v>
                </c:pt>
                <c:pt idx="3553">
                  <c:v>-3.3650572807199186E-2</c:v>
                </c:pt>
                <c:pt idx="3554">
                  <c:v>-3.1185707202273427E-2</c:v>
                </c:pt>
                <c:pt idx="3555">
                  <c:v>-3.355667757023173E-2</c:v>
                </c:pt>
                <c:pt idx="3556">
                  <c:v>-3.7031263876143417E-2</c:v>
                </c:pt>
                <c:pt idx="3557">
                  <c:v>-3.6705174506379334E-2</c:v>
                </c:pt>
                <c:pt idx="3558">
                  <c:v>-3.8119616056363048E-2</c:v>
                </c:pt>
                <c:pt idx="3559">
                  <c:v>-3.9391595867499518E-2</c:v>
                </c:pt>
                <c:pt idx="3560">
                  <c:v>-3.1165818063408457E-2</c:v>
                </c:pt>
                <c:pt idx="3561">
                  <c:v>-2.7611212663923412E-2</c:v>
                </c:pt>
                <c:pt idx="3562">
                  <c:v>-2.5687516651372033E-2</c:v>
                </c:pt>
                <c:pt idx="3563">
                  <c:v>-2.4189818241022953E-2</c:v>
                </c:pt>
                <c:pt idx="3564">
                  <c:v>-2.7896598679731155E-2</c:v>
                </c:pt>
                <c:pt idx="3565">
                  <c:v>-2.6256438530534831E-2</c:v>
                </c:pt>
                <c:pt idx="3566">
                  <c:v>-2.5592233800065034E-2</c:v>
                </c:pt>
                <c:pt idx="3567">
                  <c:v>-2.5692604570616617E-2</c:v>
                </c:pt>
                <c:pt idx="3568">
                  <c:v>-2.4564936650780078E-2</c:v>
                </c:pt>
                <c:pt idx="3569">
                  <c:v>-2.563016192534262E-2</c:v>
                </c:pt>
                <c:pt idx="3570">
                  <c:v>-2.1374811284449735E-2</c:v>
                </c:pt>
                <c:pt idx="3571">
                  <c:v>-1.7860909238921141E-2</c:v>
                </c:pt>
                <c:pt idx="3572">
                  <c:v>-1.3863192327047691E-2</c:v>
                </c:pt>
                <c:pt idx="3573">
                  <c:v>-1.5125458837808137E-2</c:v>
                </c:pt>
                <c:pt idx="3574">
                  <c:v>-1.4240623427370425E-2</c:v>
                </c:pt>
                <c:pt idx="3575">
                  <c:v>-7.8182817264141891E-3</c:v>
                </c:pt>
                <c:pt idx="3576">
                  <c:v>-7.3279913264852059E-3</c:v>
                </c:pt>
                <c:pt idx="3577">
                  <c:v>-7.1499141529260957E-3</c:v>
                </c:pt>
                <c:pt idx="3578">
                  <c:v>-2.3848465113525119E-3</c:v>
                </c:pt>
                <c:pt idx="3579">
                  <c:v>-4.1572925609070221E-3</c:v>
                </c:pt>
                <c:pt idx="3580">
                  <c:v>-4.546287114058245E-3</c:v>
                </c:pt>
                <c:pt idx="3581">
                  <c:v>-6.5194747047155888E-3</c:v>
                </c:pt>
                <c:pt idx="3582">
                  <c:v>-7.012077795210292E-3</c:v>
                </c:pt>
                <c:pt idx="3583">
                  <c:v>-7.2632359906456001E-3</c:v>
                </c:pt>
                <c:pt idx="3584">
                  <c:v>-4.9463825819248131E-3</c:v>
                </c:pt>
                <c:pt idx="3585">
                  <c:v>-2.1179620200704186E-3</c:v>
                </c:pt>
                <c:pt idx="3586">
                  <c:v>-4.3062298333373938E-4</c:v>
                </c:pt>
                <c:pt idx="3587">
                  <c:v>-1.1230425387050991E-3</c:v>
                </c:pt>
                <c:pt idx="3588">
                  <c:v>-4.4431411148279087E-3</c:v>
                </c:pt>
                <c:pt idx="3589">
                  <c:v>-5.5967111689980698E-5</c:v>
                </c:pt>
                <c:pt idx="3590">
                  <c:v>0</c:v>
                </c:pt>
                <c:pt idx="3591">
                  <c:v>-1.0214589538429797E-3</c:v>
                </c:pt>
                <c:pt idx="3592">
                  <c:v>-6.3791520735708707E-3</c:v>
                </c:pt>
                <c:pt idx="3593">
                  <c:v>0</c:v>
                </c:pt>
                <c:pt idx="3594">
                  <c:v>0</c:v>
                </c:pt>
                <c:pt idx="3595">
                  <c:v>-2.6339419062120228E-3</c:v>
                </c:pt>
                <c:pt idx="3596">
                  <c:v>-3.3505458338776162E-3</c:v>
                </c:pt>
                <c:pt idx="3597">
                  <c:v>0</c:v>
                </c:pt>
                <c:pt idx="3598">
                  <c:v>-2.629808546466772E-3</c:v>
                </c:pt>
                <c:pt idx="3599">
                  <c:v>0</c:v>
                </c:pt>
                <c:pt idx="3600">
                  <c:v>0</c:v>
                </c:pt>
                <c:pt idx="3601">
                  <c:v>0</c:v>
                </c:pt>
                <c:pt idx="3602">
                  <c:v>0</c:v>
                </c:pt>
                <c:pt idx="3603">
                  <c:v>-5.4918769016327751E-3</c:v>
                </c:pt>
                <c:pt idx="3604">
                  <c:v>-7.9793046015368407E-3</c:v>
                </c:pt>
                <c:pt idx="3605">
                  <c:v>-9.3054783834582988E-3</c:v>
                </c:pt>
                <c:pt idx="3606">
                  <c:v>-1.5710093595430186E-2</c:v>
                </c:pt>
                <c:pt idx="3607">
                  <c:v>-2.2043379830436916E-2</c:v>
                </c:pt>
                <c:pt idx="3608">
                  <c:v>-1.5220331575248158E-2</c:v>
                </c:pt>
                <c:pt idx="3609">
                  <c:v>-1.6611473788418207E-2</c:v>
                </c:pt>
                <c:pt idx="3610">
                  <c:v>-1.3695163577334468E-2</c:v>
                </c:pt>
                <c:pt idx="3611">
                  <c:v>-8.3318605641168331E-3</c:v>
                </c:pt>
                <c:pt idx="3612">
                  <c:v>-1.1091883080448617E-2</c:v>
                </c:pt>
                <c:pt idx="3613">
                  <c:v>-1.3268098364930814E-2</c:v>
                </c:pt>
                <c:pt idx="3614">
                  <c:v>-1.6735050105198934E-2</c:v>
                </c:pt>
                <c:pt idx="3615">
                  <c:v>-1.6619651632911014E-2</c:v>
                </c:pt>
                <c:pt idx="3616">
                  <c:v>-1.0145979067443966E-2</c:v>
                </c:pt>
                <c:pt idx="3617">
                  <c:v>-9.4881169104649166E-3</c:v>
                </c:pt>
                <c:pt idx="3618">
                  <c:v>-9.384985204916263E-3</c:v>
                </c:pt>
                <c:pt idx="3619">
                  <c:v>-8.3768387088273277E-3</c:v>
                </c:pt>
                <c:pt idx="3620">
                  <c:v>-7.86617775271925E-3</c:v>
                </c:pt>
                <c:pt idx="3621">
                  <c:v>-8.6321691868814776E-3</c:v>
                </c:pt>
                <c:pt idx="3622">
                  <c:v>-7.9029780529369376E-3</c:v>
                </c:pt>
                <c:pt idx="3623">
                  <c:v>-6.1247512004393156E-3</c:v>
                </c:pt>
                <c:pt idx="3624">
                  <c:v>-5.5245882796040036E-4</c:v>
                </c:pt>
                <c:pt idx="3625">
                  <c:v>-4.6886308425586609E-4</c:v>
                </c:pt>
                <c:pt idx="3626">
                  <c:v>0</c:v>
                </c:pt>
                <c:pt idx="3627">
                  <c:v>-1.2299705540161909E-3</c:v>
                </c:pt>
                <c:pt idx="3628">
                  <c:v>-4.3718710531089888E-3</c:v>
                </c:pt>
                <c:pt idx="3629">
                  <c:v>-9.5845387542536908E-4</c:v>
                </c:pt>
                <c:pt idx="3630">
                  <c:v>0</c:v>
                </c:pt>
                <c:pt idx="3631">
                  <c:v>-2.8974999243795985E-3</c:v>
                </c:pt>
                <c:pt idx="3632">
                  <c:v>-7.1940887028653089E-3</c:v>
                </c:pt>
                <c:pt idx="3633">
                  <c:v>-3.7643119927512902E-3</c:v>
                </c:pt>
                <c:pt idx="3634">
                  <c:v>-2.6415194854385593E-3</c:v>
                </c:pt>
                <c:pt idx="3635">
                  <c:v>-2.539939946176295E-3</c:v>
                </c:pt>
                <c:pt idx="3636">
                  <c:v>-4.5521177528077272E-3</c:v>
                </c:pt>
                <c:pt idx="3637">
                  <c:v>-4.6347357780742726E-3</c:v>
                </c:pt>
                <c:pt idx="3638">
                  <c:v>-6.348946936203026E-3</c:v>
                </c:pt>
                <c:pt idx="3639">
                  <c:v>-1.1313251886106324E-2</c:v>
                </c:pt>
                <c:pt idx="3640">
                  <c:v>-1.1121830887674156E-2</c:v>
                </c:pt>
                <c:pt idx="3641">
                  <c:v>-9.4166490219244059E-3</c:v>
                </c:pt>
                <c:pt idx="3642">
                  <c:v>-4.497039069296549E-3</c:v>
                </c:pt>
                <c:pt idx="3643">
                  <c:v>-1.9611623046906779E-3</c:v>
                </c:pt>
                <c:pt idx="3644">
                  <c:v>0</c:v>
                </c:pt>
                <c:pt idx="3645">
                  <c:v>0</c:v>
                </c:pt>
                <c:pt idx="3646">
                  <c:v>0</c:v>
                </c:pt>
                <c:pt idx="3647">
                  <c:v>-2.676948813385871E-3</c:v>
                </c:pt>
                <c:pt idx="3648">
                  <c:v>-3.5321100099338087E-3</c:v>
                </c:pt>
                <c:pt idx="3649">
                  <c:v>-4.516125005127436E-3</c:v>
                </c:pt>
                <c:pt idx="3650">
                  <c:v>-9.1802758273840102E-3</c:v>
                </c:pt>
                <c:pt idx="3651">
                  <c:v>-8.2332672864727785E-3</c:v>
                </c:pt>
                <c:pt idx="3652">
                  <c:v>-5.4609042415639797E-3</c:v>
                </c:pt>
                <c:pt idx="3653">
                  <c:v>-6.3891866248865226E-3</c:v>
                </c:pt>
                <c:pt idx="3654">
                  <c:v>-1.9314693969998409E-3</c:v>
                </c:pt>
                <c:pt idx="3655">
                  <c:v>0</c:v>
                </c:pt>
                <c:pt idx="3656">
                  <c:v>0</c:v>
                </c:pt>
                <c:pt idx="3657">
                  <c:v>-4.61286651361692E-3</c:v>
                </c:pt>
                <c:pt idx="3658">
                  <c:v>-1.071066640782381E-2</c:v>
                </c:pt>
                <c:pt idx="3659">
                  <c:v>-2.2098124041584066E-3</c:v>
                </c:pt>
                <c:pt idx="3660">
                  <c:v>-2.7044933594314591E-3</c:v>
                </c:pt>
                <c:pt idx="3661">
                  <c:v>-1.1572684706121161E-2</c:v>
                </c:pt>
                <c:pt idx="3662">
                  <c:v>-1.4380923036370508E-2</c:v>
                </c:pt>
                <c:pt idx="3663">
                  <c:v>-1.5178824271158131E-2</c:v>
                </c:pt>
                <c:pt idx="3664">
                  <c:v>-2.6491923921542093E-2</c:v>
                </c:pt>
                <c:pt idx="3665">
                  <c:v>-4.6468841778678494E-2</c:v>
                </c:pt>
                <c:pt idx="3666">
                  <c:v>-4.3632552233143884E-2</c:v>
                </c:pt>
                <c:pt idx="3667">
                  <c:v>-4.0533115572788048E-2</c:v>
                </c:pt>
                <c:pt idx="3668">
                  <c:v>-5.6653659214245478E-2</c:v>
                </c:pt>
                <c:pt idx="3669">
                  <c:v>-5.3899297027639737E-2</c:v>
                </c:pt>
                <c:pt idx="3670">
                  <c:v>-4.72939037139809E-2</c:v>
                </c:pt>
                <c:pt idx="3671">
                  <c:v>-5.0253529555294829E-2</c:v>
                </c:pt>
                <c:pt idx="3672">
                  <c:v>-4.4591191384091511E-2</c:v>
                </c:pt>
                <c:pt idx="3673">
                  <c:v>-4.03385380953315E-2</c:v>
                </c:pt>
                <c:pt idx="3674">
                  <c:v>-3.6040468553251936E-2</c:v>
                </c:pt>
                <c:pt idx="3675">
                  <c:v>-3.4399695087742432E-2</c:v>
                </c:pt>
                <c:pt idx="3676">
                  <c:v>-3.422248264831973E-2</c:v>
                </c:pt>
                <c:pt idx="3677">
                  <c:v>-3.5461633952122429E-2</c:v>
                </c:pt>
                <c:pt idx="3678">
                  <c:v>-3.5714094889692016E-2</c:v>
                </c:pt>
                <c:pt idx="3679">
                  <c:v>-2.6616150732092225E-2</c:v>
                </c:pt>
                <c:pt idx="3680">
                  <c:v>-2.0125633823888323E-2</c:v>
                </c:pt>
                <c:pt idx="3681">
                  <c:v>-2.3619123270397613E-2</c:v>
                </c:pt>
                <c:pt idx="3682">
                  <c:v>-2.8219077319835528E-2</c:v>
                </c:pt>
                <c:pt idx="3683">
                  <c:v>-3.6111709734929387E-2</c:v>
                </c:pt>
                <c:pt idx="3684">
                  <c:v>-4.348294575162126E-2</c:v>
                </c:pt>
                <c:pt idx="3685">
                  <c:v>-3.8991189246856073E-2</c:v>
                </c:pt>
                <c:pt idx="3686">
                  <c:v>-3.9430213028943562E-2</c:v>
                </c:pt>
                <c:pt idx="3687">
                  <c:v>-3.9756586692503482E-2</c:v>
                </c:pt>
                <c:pt idx="3688">
                  <c:v>-3.2440117334226137E-2</c:v>
                </c:pt>
                <c:pt idx="3689">
                  <c:v>-2.4685514708632561E-2</c:v>
                </c:pt>
                <c:pt idx="3690">
                  <c:v>-2.2729053756814666E-2</c:v>
                </c:pt>
                <c:pt idx="3691">
                  <c:v>-3.0171530955183989E-2</c:v>
                </c:pt>
                <c:pt idx="3692">
                  <c:v>-3.1134622679986457E-2</c:v>
                </c:pt>
                <c:pt idx="3693">
                  <c:v>-2.9218680150247756E-2</c:v>
                </c:pt>
                <c:pt idx="3694">
                  <c:v>-2.6696297061479357E-2</c:v>
                </c:pt>
                <c:pt idx="3695">
                  <c:v>-3.6965713400288203E-2</c:v>
                </c:pt>
                <c:pt idx="3696">
                  <c:v>-3.3582202527993377E-2</c:v>
                </c:pt>
                <c:pt idx="3697">
                  <c:v>-3.400831384590175E-2</c:v>
                </c:pt>
                <c:pt idx="3698">
                  <c:v>-4.7175019992056644E-2</c:v>
                </c:pt>
                <c:pt idx="3699">
                  <c:v>-6.20417188359903E-2</c:v>
                </c:pt>
                <c:pt idx="3700">
                  <c:v>-5.595638614857712E-2</c:v>
                </c:pt>
                <c:pt idx="3701">
                  <c:v>-5.7439538499625131E-2</c:v>
                </c:pt>
                <c:pt idx="3702">
                  <c:v>-5.7162588405853865E-2</c:v>
                </c:pt>
                <c:pt idx="3703">
                  <c:v>-4.8401258831680338E-2</c:v>
                </c:pt>
                <c:pt idx="3704">
                  <c:v>-4.8124308737909072E-2</c:v>
                </c:pt>
                <c:pt idx="3705">
                  <c:v>-5.7825576652839938E-2</c:v>
                </c:pt>
                <c:pt idx="3706">
                  <c:v>-5.2653021605669315E-2</c:v>
                </c:pt>
                <c:pt idx="3707">
                  <c:v>-4.9684490616645927E-2</c:v>
                </c:pt>
                <c:pt idx="3708">
                  <c:v>-3.9819813241242286E-2</c:v>
                </c:pt>
                <c:pt idx="3709">
                  <c:v>-5.0081214947112374E-2</c:v>
                </c:pt>
                <c:pt idx="3710">
                  <c:v>-5.00602878499945E-2</c:v>
                </c:pt>
                <c:pt idx="3711">
                  <c:v>-4.291657835728524E-2</c:v>
                </c:pt>
                <c:pt idx="3712">
                  <c:v>-4.6861113535290322E-2</c:v>
                </c:pt>
                <c:pt idx="3713">
                  <c:v>-4.0769101987094714E-2</c:v>
                </c:pt>
                <c:pt idx="3714">
                  <c:v>-4.1643142234800257E-2</c:v>
                </c:pt>
                <c:pt idx="3715">
                  <c:v>-4.0287333496000666E-2</c:v>
                </c:pt>
                <c:pt idx="3716">
                  <c:v>-3.3512297118472256E-2</c:v>
                </c:pt>
                <c:pt idx="3717">
                  <c:v>-3.3149857606688093E-2</c:v>
                </c:pt>
                <c:pt idx="3718">
                  <c:v>-3.5230545369056121E-2</c:v>
                </c:pt>
                <c:pt idx="3719">
                  <c:v>-3.5254144010486654E-2</c:v>
                </c:pt>
                <c:pt idx="3720">
                  <c:v>-3.2943258179823465E-2</c:v>
                </c:pt>
                <c:pt idx="3721">
                  <c:v>-3.739894883636441E-2</c:v>
                </c:pt>
                <c:pt idx="3722">
                  <c:v>-3.6577894217531437E-2</c:v>
                </c:pt>
                <c:pt idx="3723">
                  <c:v>-2.7702133495288273E-2</c:v>
                </c:pt>
                <c:pt idx="3724">
                  <c:v>-2.5899731598848064E-2</c:v>
                </c:pt>
                <c:pt idx="3725">
                  <c:v>-2.7967061639651458E-2</c:v>
                </c:pt>
                <c:pt idx="3726">
                  <c:v>-2.3565247126754119E-2</c:v>
                </c:pt>
                <c:pt idx="3727">
                  <c:v>-2.4064825913267418E-2</c:v>
                </c:pt>
                <c:pt idx="3728">
                  <c:v>-2.5027472380684368E-2</c:v>
                </c:pt>
                <c:pt idx="3729">
                  <c:v>-1.8111289411957499E-2</c:v>
                </c:pt>
                <c:pt idx="3730">
                  <c:v>-1.4393390243163995E-2</c:v>
                </c:pt>
                <c:pt idx="3731">
                  <c:v>-1.1712050267777885E-2</c:v>
                </c:pt>
                <c:pt idx="3732">
                  <c:v>-6.5323711024395381E-3</c:v>
                </c:pt>
                <c:pt idx="3733">
                  <c:v>-3.0932030569591484E-3</c:v>
                </c:pt>
                <c:pt idx="3734">
                  <c:v>-3.8666151355453149E-3</c:v>
                </c:pt>
                <c:pt idx="3735">
                  <c:v>-4.1244191617406667E-3</c:v>
                </c:pt>
                <c:pt idx="3736">
                  <c:v>-3.0126114701864992E-3</c:v>
                </c:pt>
                <c:pt idx="3737">
                  <c:v>0</c:v>
                </c:pt>
                <c:pt idx="3738">
                  <c:v>0</c:v>
                </c:pt>
                <c:pt idx="3739">
                  <c:v>0</c:v>
                </c:pt>
                <c:pt idx="3740">
                  <c:v>0</c:v>
                </c:pt>
                <c:pt idx="3741">
                  <c:v>-1.7980176744696319E-3</c:v>
                </c:pt>
                <c:pt idx="3742">
                  <c:v>0</c:v>
                </c:pt>
                <c:pt idx="3743">
                  <c:v>-2.6662863783186719E-3</c:v>
                </c:pt>
                <c:pt idx="3744">
                  <c:v>-1.0048795822243939E-3</c:v>
                </c:pt>
                <c:pt idx="3745">
                  <c:v>-1.0596269759832744E-4</c:v>
                </c:pt>
                <c:pt idx="3746">
                  <c:v>-5.1656815079197393E-3</c:v>
                </c:pt>
                <c:pt idx="3747">
                  <c:v>-1.7885620332123153E-3</c:v>
                </c:pt>
                <c:pt idx="3748">
                  <c:v>-7.061972283690432E-3</c:v>
                </c:pt>
                <c:pt idx="3749">
                  <c:v>-1.4534550020574022E-3</c:v>
                </c:pt>
                <c:pt idx="3750">
                  <c:v>0</c:v>
                </c:pt>
                <c:pt idx="3751">
                  <c:v>0</c:v>
                </c:pt>
                <c:pt idx="3752">
                  <c:v>-1.7015964148333618E-3</c:v>
                </c:pt>
                <c:pt idx="3753">
                  <c:v>-3.3070923067564095E-3</c:v>
                </c:pt>
                <c:pt idx="3754">
                  <c:v>0</c:v>
                </c:pt>
                <c:pt idx="3755">
                  <c:v>-1.7535310740679488E-4</c:v>
                </c:pt>
                <c:pt idx="3756">
                  <c:v>0</c:v>
                </c:pt>
                <c:pt idx="3757">
                  <c:v>-6.7934423921356402E-4</c:v>
                </c:pt>
                <c:pt idx="3758">
                  <c:v>0</c:v>
                </c:pt>
                <c:pt idx="3759">
                  <c:v>-5.6326982939047809E-4</c:v>
                </c:pt>
                <c:pt idx="3760">
                  <c:v>-3.3756891868348404E-3</c:v>
                </c:pt>
                <c:pt idx="3761">
                  <c:v>-5.0275107097680349E-3</c:v>
                </c:pt>
                <c:pt idx="3762">
                  <c:v>-3.9655942562196733E-3</c:v>
                </c:pt>
                <c:pt idx="3763">
                  <c:v>-9.6419568779830822E-3</c:v>
                </c:pt>
                <c:pt idx="3764">
                  <c:v>-8.3931571011951478E-3</c:v>
                </c:pt>
                <c:pt idx="3765">
                  <c:v>-2.0881591512353359E-2</c:v>
                </c:pt>
                <c:pt idx="3766">
                  <c:v>-1.8876088933756474E-2</c:v>
                </c:pt>
                <c:pt idx="3767">
                  <c:v>-1.81861925535729E-2</c:v>
                </c:pt>
                <c:pt idx="3768">
                  <c:v>-1.6035724406481822E-2</c:v>
                </c:pt>
                <c:pt idx="3769">
                  <c:v>-1.8329848192231379E-2</c:v>
                </c:pt>
                <c:pt idx="3770">
                  <c:v>-1.6812949442384761E-2</c:v>
                </c:pt>
                <c:pt idx="3771">
                  <c:v>-1.9457697780847827E-2</c:v>
                </c:pt>
                <c:pt idx="3772">
                  <c:v>-1.9137638257636147E-2</c:v>
                </c:pt>
                <c:pt idx="3773">
                  <c:v>-1.7941235674279854E-2</c:v>
                </c:pt>
                <c:pt idx="3774">
                  <c:v>-1.5268978809265144E-2</c:v>
                </c:pt>
                <c:pt idx="3775">
                  <c:v>-9.6131384215957238E-3</c:v>
                </c:pt>
                <c:pt idx="3776">
                  <c:v>-5.7610714178113476E-3</c:v>
                </c:pt>
                <c:pt idx="3777">
                  <c:v>-1.1798974674253171E-2</c:v>
                </c:pt>
                <c:pt idx="3778">
                  <c:v>-5.0384267917329417E-3</c:v>
                </c:pt>
                <c:pt idx="3779">
                  <c:v>-2.7661351699131975E-3</c:v>
                </c:pt>
                <c:pt idx="3780">
                  <c:v>-6.0592987770931028E-3</c:v>
                </c:pt>
                <c:pt idx="3781">
                  <c:v>-2.4190037634284067E-3</c:v>
                </c:pt>
                <c:pt idx="3782">
                  <c:v>0</c:v>
                </c:pt>
                <c:pt idx="3783">
                  <c:v>-5.0249480820796499E-4</c:v>
                </c:pt>
                <c:pt idx="3784">
                  <c:v>-5.0790360649073385E-3</c:v>
                </c:pt>
                <c:pt idx="3785">
                  <c:v>-4.6559284573016724E-3</c:v>
                </c:pt>
                <c:pt idx="3786">
                  <c:v>-6.3815095868768879E-4</c:v>
                </c:pt>
                <c:pt idx="3787">
                  <c:v>0</c:v>
                </c:pt>
                <c:pt idx="3788">
                  <c:v>0</c:v>
                </c:pt>
                <c:pt idx="3789">
                  <c:v>-1.4475326876913774E-3</c:v>
                </c:pt>
                <c:pt idx="3790">
                  <c:v>-7.7204635227835494E-3</c:v>
                </c:pt>
                <c:pt idx="3791">
                  <c:v>-4.9689802030276065E-3</c:v>
                </c:pt>
                <c:pt idx="3792">
                  <c:v>-4.9746193774178327E-3</c:v>
                </c:pt>
                <c:pt idx="3793">
                  <c:v>-1.5967539177079715E-3</c:v>
                </c:pt>
                <c:pt idx="3794">
                  <c:v>0</c:v>
                </c:pt>
                <c:pt idx="3795">
                  <c:v>0</c:v>
                </c:pt>
                <c:pt idx="3796">
                  <c:v>0</c:v>
                </c:pt>
                <c:pt idx="3797">
                  <c:v>-7.9855604509515565E-4</c:v>
                </c:pt>
                <c:pt idx="3798">
                  <c:v>0</c:v>
                </c:pt>
                <c:pt idx="3799">
                  <c:v>0</c:v>
                </c:pt>
                <c:pt idx="3800">
                  <c:v>-3.3715792913053821E-3</c:v>
                </c:pt>
                <c:pt idx="3801">
                  <c:v>0</c:v>
                </c:pt>
                <c:pt idx="3802">
                  <c:v>-3.2822592727258515E-3</c:v>
                </c:pt>
                <c:pt idx="3803">
                  <c:v>-2.8744452118980579E-3</c:v>
                </c:pt>
                <c:pt idx="3804">
                  <c:v>-1.5295173670837325E-3</c:v>
                </c:pt>
                <c:pt idx="3805">
                  <c:v>-4.6190308363236454E-4</c:v>
                </c:pt>
                <c:pt idx="3806">
                  <c:v>-3.7372939090180024E-3</c:v>
                </c:pt>
                <c:pt idx="3807">
                  <c:v>-7.2732564553745771E-3</c:v>
                </c:pt>
                <c:pt idx="3808">
                  <c:v>-7.8596501470491464E-3</c:v>
                </c:pt>
                <c:pt idx="3809">
                  <c:v>-7.0530368625275619E-3</c:v>
                </c:pt>
                <c:pt idx="3810">
                  <c:v>-3.5690169491816581E-3</c:v>
                </c:pt>
                <c:pt idx="3811">
                  <c:v>-5.6329853749291781E-3</c:v>
                </c:pt>
                <c:pt idx="3812">
                  <c:v>-1.5140633605681408E-3</c:v>
                </c:pt>
                <c:pt idx="3813">
                  <c:v>-2.0051573453965243E-3</c:v>
                </c:pt>
                <c:pt idx="3814">
                  <c:v>-2.6585183986386207E-3</c:v>
                </c:pt>
                <c:pt idx="3815">
                  <c:v>-2.7941702336088392E-3</c:v>
                </c:pt>
                <c:pt idx="3816">
                  <c:v>-1.8029674268177365E-3</c:v>
                </c:pt>
                <c:pt idx="3817">
                  <c:v>-9.395606683514357E-3</c:v>
                </c:pt>
                <c:pt idx="3818">
                  <c:v>-1.206743269887478E-2</c:v>
                </c:pt>
                <c:pt idx="3819">
                  <c:v>-1.1606817449118734E-2</c:v>
                </c:pt>
                <c:pt idx="3820">
                  <c:v>-1.0959037009340644E-2</c:v>
                </c:pt>
                <c:pt idx="3821">
                  <c:v>-8.3953890395893627E-3</c:v>
                </c:pt>
                <c:pt idx="3822">
                  <c:v>-8.9045126986858625E-3</c:v>
                </c:pt>
                <c:pt idx="3823">
                  <c:v>-8.6409360320035544E-3</c:v>
                </c:pt>
                <c:pt idx="3824">
                  <c:v>-6.8933454618665957E-3</c:v>
                </c:pt>
                <c:pt idx="3825">
                  <c:v>-9.9498045282815362E-3</c:v>
                </c:pt>
                <c:pt idx="3826">
                  <c:v>-6.8456956084435028E-3</c:v>
                </c:pt>
                <c:pt idx="3827">
                  <c:v>-3.4801564117170614E-3</c:v>
                </c:pt>
                <c:pt idx="3828">
                  <c:v>-2.4825144355444806E-3</c:v>
                </c:pt>
                <c:pt idx="3829">
                  <c:v>-1.3848506949795114E-3</c:v>
                </c:pt>
                <c:pt idx="3830">
                  <c:v>-5.8828251469310588E-3</c:v>
                </c:pt>
                <c:pt idx="3831">
                  <c:v>-4.8774561675007932E-3</c:v>
                </c:pt>
                <c:pt idx="3832">
                  <c:v>-3.5600021120475445E-3</c:v>
                </c:pt>
                <c:pt idx="3833">
                  <c:v>0</c:v>
                </c:pt>
                <c:pt idx="3834">
                  <c:v>0</c:v>
                </c:pt>
                <c:pt idx="3835">
                  <c:v>0</c:v>
                </c:pt>
                <c:pt idx="3836">
                  <c:v>0</c:v>
                </c:pt>
                <c:pt idx="3837">
                  <c:v>0</c:v>
                </c:pt>
                <c:pt idx="3838">
                  <c:v>-4.8984239723600664E-3</c:v>
                </c:pt>
                <c:pt idx="3839">
                  <c:v>-8.7979001640335897E-3</c:v>
                </c:pt>
                <c:pt idx="3840">
                  <c:v>-8.8162255712731508E-3</c:v>
                </c:pt>
                <c:pt idx="3841">
                  <c:v>-1.001036024767421E-2</c:v>
                </c:pt>
                <c:pt idx="3842">
                  <c:v>-2.9777934419759955E-2</c:v>
                </c:pt>
                <c:pt idx="3843">
                  <c:v>-4.5573583115736782E-2</c:v>
                </c:pt>
                <c:pt idx="3844">
                  <c:v>-3.9564554230207105E-2</c:v>
                </c:pt>
                <c:pt idx="3845">
                  <c:v>-4.3765334210679963E-2</c:v>
                </c:pt>
                <c:pt idx="3846">
                  <c:v>-3.1397389013023358E-2</c:v>
                </c:pt>
                <c:pt idx="3847">
                  <c:v>-2.9096058801543867E-2</c:v>
                </c:pt>
                <c:pt idx="3848">
                  <c:v>-3.5082074384958806E-2</c:v>
                </c:pt>
                <c:pt idx="3849">
                  <c:v>-3.5963824793764587E-2</c:v>
                </c:pt>
                <c:pt idx="3850">
                  <c:v>-3.7204838418917863E-2</c:v>
                </c:pt>
                <c:pt idx="3851">
                  <c:v>-4.2996093278879877E-2</c:v>
                </c:pt>
                <c:pt idx="3852">
                  <c:v>-5.4309688301869663E-2</c:v>
                </c:pt>
                <c:pt idx="3853">
                  <c:v>-4.74278586250233E-2</c:v>
                </c:pt>
                <c:pt idx="3854">
                  <c:v>-5.4849222384783181E-2</c:v>
                </c:pt>
                <c:pt idx="3855">
                  <c:v>-5.8192543775349215E-2</c:v>
                </c:pt>
                <c:pt idx="3856">
                  <c:v>-4.9629038355077371E-2</c:v>
                </c:pt>
                <c:pt idx="3857">
                  <c:v>-3.9209126564212049E-2</c:v>
                </c:pt>
                <c:pt idx="3858">
                  <c:v>-3.6898420562982093E-2</c:v>
                </c:pt>
                <c:pt idx="3859">
                  <c:v>-3.714943602493781E-2</c:v>
                </c:pt>
                <c:pt idx="3860">
                  <c:v>-3.7074855879195456E-2</c:v>
                </c:pt>
                <c:pt idx="3861">
                  <c:v>-3.4854924569640566E-2</c:v>
                </c:pt>
                <c:pt idx="3862">
                  <c:v>-2.6875701319727607E-2</c:v>
                </c:pt>
                <c:pt idx="3863">
                  <c:v>-2.4665571972184552E-2</c:v>
                </c:pt>
                <c:pt idx="3864">
                  <c:v>-2.6311875417915132E-2</c:v>
                </c:pt>
                <c:pt idx="3865">
                  <c:v>-3.1706790074788938E-2</c:v>
                </c:pt>
                <c:pt idx="3866">
                  <c:v>-3.4180720052129354E-2</c:v>
                </c:pt>
                <c:pt idx="3867">
                  <c:v>-3.9550490545581463E-2</c:v>
                </c:pt>
                <c:pt idx="3868">
                  <c:v>-3.5996640057891161E-2</c:v>
                </c:pt>
                <c:pt idx="3869">
                  <c:v>-3.8863074687967236E-2</c:v>
                </c:pt>
                <c:pt idx="3870">
                  <c:v>-4.9650773140408E-2</c:v>
                </c:pt>
                <c:pt idx="3871">
                  <c:v>-5.7837968453876787E-2</c:v>
                </c:pt>
                <c:pt idx="3872">
                  <c:v>-5.4137514708270107E-2</c:v>
                </c:pt>
                <c:pt idx="3873">
                  <c:v>-5.5024805356473916E-2</c:v>
                </c:pt>
                <c:pt idx="3874">
                  <c:v>-5.4224027677331366E-2</c:v>
                </c:pt>
                <c:pt idx="3875">
                  <c:v>-4.5912390063537867E-2</c:v>
                </c:pt>
                <c:pt idx="3876">
                  <c:v>-4.272249068707068E-2</c:v>
                </c:pt>
                <c:pt idx="3877">
                  <c:v>-3.1972721565893258E-2</c:v>
                </c:pt>
                <c:pt idx="3878">
                  <c:v>-3.641087949595756E-2</c:v>
                </c:pt>
                <c:pt idx="3879">
                  <c:v>-3.0649030522031162E-2</c:v>
                </c:pt>
                <c:pt idx="3880">
                  <c:v>-2.364361088938316E-2</c:v>
                </c:pt>
                <c:pt idx="3881">
                  <c:v>-4.0219154823694647E-2</c:v>
                </c:pt>
                <c:pt idx="3882">
                  <c:v>-4.2522189724219617E-2</c:v>
                </c:pt>
                <c:pt idx="3883">
                  <c:v>-5.0647163887526325E-2</c:v>
                </c:pt>
                <c:pt idx="3884">
                  <c:v>-5.980645812921459E-2</c:v>
                </c:pt>
                <c:pt idx="3885">
                  <c:v>-6.291069688114348E-2</c:v>
                </c:pt>
                <c:pt idx="3886">
                  <c:v>-5.9376876489738328E-2</c:v>
                </c:pt>
                <c:pt idx="3887">
                  <c:v>-5.4588831133076998E-2</c:v>
                </c:pt>
                <c:pt idx="3888">
                  <c:v>-5.3947441879692359E-2</c:v>
                </c:pt>
                <c:pt idx="3889">
                  <c:v>-6.1612576172964562E-2</c:v>
                </c:pt>
                <c:pt idx="3890">
                  <c:v>-7.3489570925505454E-2</c:v>
                </c:pt>
                <c:pt idx="3891">
                  <c:v>-7.6892982604926829E-2</c:v>
                </c:pt>
                <c:pt idx="3892">
                  <c:v>-8.5309458595020815E-2</c:v>
                </c:pt>
                <c:pt idx="3893">
                  <c:v>-9.5053887351590705E-2</c:v>
                </c:pt>
                <c:pt idx="3894">
                  <c:v>-0.10474930629810142</c:v>
                </c:pt>
                <c:pt idx="3895">
                  <c:v>-0.11546668632741364</c:v>
                </c:pt>
                <c:pt idx="3896">
                  <c:v>-0.11812301803262681</c:v>
                </c:pt>
                <c:pt idx="3897">
                  <c:v>-9.862052300712254E-2</c:v>
                </c:pt>
                <c:pt idx="3898">
                  <c:v>-9.4103523208702078E-2</c:v>
                </c:pt>
                <c:pt idx="3899">
                  <c:v>-9.3196202464213229E-2</c:v>
                </c:pt>
                <c:pt idx="3900">
                  <c:v>-8.8335707823116394E-2</c:v>
                </c:pt>
                <c:pt idx="3901">
                  <c:v>-8.8348492990957816E-2</c:v>
                </c:pt>
                <c:pt idx="3902">
                  <c:v>-8.462119039288396E-2</c:v>
                </c:pt>
                <c:pt idx="3903">
                  <c:v>-9.6681013045558983E-2</c:v>
                </c:pt>
                <c:pt idx="3904">
                  <c:v>-8.0380350219840913E-2</c:v>
                </c:pt>
                <c:pt idx="3905">
                  <c:v>-7.7867212394453156E-2</c:v>
                </c:pt>
                <c:pt idx="3906">
                  <c:v>-7.1373625647728423E-2</c:v>
                </c:pt>
                <c:pt idx="3907">
                  <c:v>-6.9743942920191926E-2</c:v>
                </c:pt>
                <c:pt idx="3908">
                  <c:v>-6.8084854306619813E-2</c:v>
                </c:pt>
                <c:pt idx="3909">
                  <c:v>-6.5724286150807831E-2</c:v>
                </c:pt>
                <c:pt idx="3910">
                  <c:v>-6.8100196508029787E-2</c:v>
                </c:pt>
                <c:pt idx="3911">
                  <c:v>-6.089745911836042E-2</c:v>
                </c:pt>
                <c:pt idx="3912">
                  <c:v>-5.7817512185330378E-2</c:v>
                </c:pt>
                <c:pt idx="3913">
                  <c:v>-5.3932525850543866E-2</c:v>
                </c:pt>
                <c:pt idx="3914">
                  <c:v>-4.4650067825315332E-2</c:v>
                </c:pt>
                <c:pt idx="3915">
                  <c:v>-4.4615974044404538E-2</c:v>
                </c:pt>
                <c:pt idx="3916">
                  <c:v>-5.1215677684213978E-2</c:v>
                </c:pt>
                <c:pt idx="3917">
                  <c:v>-5.2169451205193895E-2</c:v>
                </c:pt>
                <c:pt idx="3918">
                  <c:v>-4.9279150928480231E-2</c:v>
                </c:pt>
                <c:pt idx="3919">
                  <c:v>-4.6050043703965371E-2</c:v>
                </c:pt>
                <c:pt idx="3920">
                  <c:v>-5.2516781598222595E-2</c:v>
                </c:pt>
                <c:pt idx="3921">
                  <c:v>-5.1025178683374861E-2</c:v>
                </c:pt>
                <c:pt idx="3922">
                  <c:v>-4.4431441455224707E-2</c:v>
                </c:pt>
                <c:pt idx="3923">
                  <c:v>-4.1123492362353797E-2</c:v>
                </c:pt>
                <c:pt idx="3924">
                  <c:v>-4.0848611253760381E-2</c:v>
                </c:pt>
                <c:pt idx="3925">
                  <c:v>-3.5649735837123719E-2</c:v>
                </c:pt>
                <c:pt idx="3926">
                  <c:v>-2.9913031026619019E-2</c:v>
                </c:pt>
                <c:pt idx="3927">
                  <c:v>-2.9438275127436131E-2</c:v>
                </c:pt>
                <c:pt idx="3928">
                  <c:v>-3.4631610304674765E-2</c:v>
                </c:pt>
                <c:pt idx="3929">
                  <c:v>-3.5041588020127246E-2</c:v>
                </c:pt>
                <c:pt idx="3930">
                  <c:v>-3.1634340790353543E-2</c:v>
                </c:pt>
                <c:pt idx="3931">
                  <c:v>-2.512242863638936E-2</c:v>
                </c:pt>
                <c:pt idx="3932">
                  <c:v>-2.1638896571827604E-2</c:v>
                </c:pt>
                <c:pt idx="3933">
                  <c:v>-2.2279433480689503E-2</c:v>
                </c:pt>
                <c:pt idx="3934">
                  <c:v>-1.535754361127295E-2</c:v>
                </c:pt>
                <c:pt idx="3935">
                  <c:v>-1.5902617933584384E-2</c:v>
                </c:pt>
                <c:pt idx="3936">
                  <c:v>-1.6466443835396971E-2</c:v>
                </c:pt>
                <c:pt idx="3937">
                  <c:v>-1.4717432874672531E-2</c:v>
                </c:pt>
                <c:pt idx="3938">
                  <c:v>-1.6694019822976469E-2</c:v>
                </c:pt>
                <c:pt idx="3939">
                  <c:v>-1.2701211906059662E-2</c:v>
                </c:pt>
                <c:pt idx="3940">
                  <c:v>-1.1610637089175202E-2</c:v>
                </c:pt>
                <c:pt idx="3941">
                  <c:v>-1.2278875195027017E-2</c:v>
                </c:pt>
                <c:pt idx="3942">
                  <c:v>-1.3849319978231134E-2</c:v>
                </c:pt>
                <c:pt idx="3943">
                  <c:v>-1.572703496189376E-2</c:v>
                </c:pt>
                <c:pt idx="3944">
                  <c:v>-1.2237536485672718E-2</c:v>
                </c:pt>
                <c:pt idx="3945">
                  <c:v>-9.8573644058369547E-3</c:v>
                </c:pt>
                <c:pt idx="3946">
                  <c:v>-9.945582063943692E-3</c:v>
                </c:pt>
                <c:pt idx="3947">
                  <c:v>-1.3271004219531424E-2</c:v>
                </c:pt>
                <c:pt idx="3948">
                  <c:v>-1.3110763449250662E-2</c:v>
                </c:pt>
                <c:pt idx="3949">
                  <c:v>-1.7252305485390917E-2</c:v>
                </c:pt>
                <c:pt idx="3950">
                  <c:v>-8.7459071481447159E-3</c:v>
                </c:pt>
                <c:pt idx="3951">
                  <c:v>-8.8946412673680531E-3</c:v>
                </c:pt>
                <c:pt idx="3952">
                  <c:v>-6.9564098225887161E-3</c:v>
                </c:pt>
                <c:pt idx="3953">
                  <c:v>-6.1258000851491801E-3</c:v>
                </c:pt>
                <c:pt idx="3954">
                  <c:v>-3.3181772271442256E-3</c:v>
                </c:pt>
                <c:pt idx="3955">
                  <c:v>-7.6753624275449628E-4</c:v>
                </c:pt>
                <c:pt idx="3956">
                  <c:v>-8.050394017563578E-4</c:v>
                </c:pt>
                <c:pt idx="3957">
                  <c:v>-3.7196314973689804E-3</c:v>
                </c:pt>
                <c:pt idx="3958">
                  <c:v>0</c:v>
                </c:pt>
                <c:pt idx="3959">
                  <c:v>-6.1009655322683543E-3</c:v>
                </c:pt>
                <c:pt idx="3960">
                  <c:v>-1.1541447072762168E-2</c:v>
                </c:pt>
                <c:pt idx="3961">
                  <c:v>-3.6381943593304378E-3</c:v>
                </c:pt>
                <c:pt idx="3962">
                  <c:v>-3.5960629706799363E-3</c:v>
                </c:pt>
                <c:pt idx="3963">
                  <c:v>-2.6547030545681638E-3</c:v>
                </c:pt>
                <c:pt idx="3964">
                  <c:v>0</c:v>
                </c:pt>
                <c:pt idx="3965">
                  <c:v>0</c:v>
                </c:pt>
                <c:pt idx="3966">
                  <c:v>0</c:v>
                </c:pt>
                <c:pt idx="3967">
                  <c:v>0</c:v>
                </c:pt>
                <c:pt idx="3968">
                  <c:v>0</c:v>
                </c:pt>
                <c:pt idx="3969">
                  <c:v>0</c:v>
                </c:pt>
                <c:pt idx="3970">
                  <c:v>-1.4013719133936231E-3</c:v>
                </c:pt>
                <c:pt idx="3971">
                  <c:v>-5.0062745810215414E-3</c:v>
                </c:pt>
                <c:pt idx="3972">
                  <c:v>-1.9127115605023226E-3</c:v>
                </c:pt>
                <c:pt idx="3973">
                  <c:v>-3.5308379233249809E-3</c:v>
                </c:pt>
                <c:pt idx="3974">
                  <c:v>-2.5709253615676664E-3</c:v>
                </c:pt>
                <c:pt idx="3975">
                  <c:v>-1.2490579759569798E-3</c:v>
                </c:pt>
                <c:pt idx="3976">
                  <c:v>0</c:v>
                </c:pt>
                <c:pt idx="3977">
                  <c:v>-8.9543270739522729E-4</c:v>
                </c:pt>
                <c:pt idx="3978">
                  <c:v>0</c:v>
                </c:pt>
                <c:pt idx="3979">
                  <c:v>-3.3413007295801656E-4</c:v>
                </c:pt>
                <c:pt idx="3980">
                  <c:v>-6.282145941007844E-4</c:v>
                </c:pt>
                <c:pt idx="3981">
                  <c:v>0</c:v>
                </c:pt>
                <c:pt idx="3982">
                  <c:v>-9.1017116274372256E-4</c:v>
                </c:pt>
                <c:pt idx="3983">
                  <c:v>0</c:v>
                </c:pt>
                <c:pt idx="3984">
                  <c:v>0</c:v>
                </c:pt>
                <c:pt idx="3985">
                  <c:v>0</c:v>
                </c:pt>
                <c:pt idx="3986">
                  <c:v>-1.4604750674271916E-3</c:v>
                </c:pt>
                <c:pt idx="3987">
                  <c:v>-6.306559333864814E-3</c:v>
                </c:pt>
                <c:pt idx="3988">
                  <c:v>-5.4458042319082134E-3</c:v>
                </c:pt>
                <c:pt idx="3989">
                  <c:v>-2.015587762739246E-4</c:v>
                </c:pt>
                <c:pt idx="3990">
                  <c:v>-4.0968473398784733E-3</c:v>
                </c:pt>
                <c:pt idx="3991">
                  <c:v>-1.3423484075617553E-2</c:v>
                </c:pt>
                <c:pt idx="3992">
                  <c:v>-1.5598914556426147E-2</c:v>
                </c:pt>
                <c:pt idx="3993">
                  <c:v>-2.1116999087202992E-2</c:v>
                </c:pt>
                <c:pt idx="3994">
                  <c:v>-1.9413249185297743E-2</c:v>
                </c:pt>
                <c:pt idx="3995">
                  <c:v>-3.2074279365420288E-2</c:v>
                </c:pt>
                <c:pt idx="3996">
                  <c:v>-2.6098970315513892E-2</c:v>
                </c:pt>
                <c:pt idx="3997">
                  <c:v>-2.1737370566636272E-2</c:v>
                </c:pt>
                <c:pt idx="3998">
                  <c:v>-1.4681574306212308E-2</c:v>
                </c:pt>
                <c:pt idx="3999">
                  <c:v>-1.6468756324526157E-2</c:v>
                </c:pt>
                <c:pt idx="4000">
                  <c:v>-2.0669274264496384E-2</c:v>
                </c:pt>
                <c:pt idx="4001">
                  <c:v>-1.7266730824036736E-2</c:v>
                </c:pt>
                <c:pt idx="4002">
                  <c:v>-1.7296882034422034E-2</c:v>
                </c:pt>
                <c:pt idx="4003">
                  <c:v>-2.4830554327937793E-2</c:v>
                </c:pt>
                <c:pt idx="4004">
                  <c:v>-2.5507097925348887E-2</c:v>
                </c:pt>
                <c:pt idx="4005">
                  <c:v>-2.4420415260642758E-2</c:v>
                </c:pt>
                <c:pt idx="4006">
                  <c:v>-2.7109655408838029E-2</c:v>
                </c:pt>
                <c:pt idx="4007">
                  <c:v>-3.1409713646107451E-2</c:v>
                </c:pt>
                <c:pt idx="4008">
                  <c:v>-3.006530008714936E-2</c:v>
                </c:pt>
                <c:pt idx="4009">
                  <c:v>-3.7375109969311926E-2</c:v>
                </c:pt>
                <c:pt idx="4010">
                  <c:v>-4.1270811563195675E-2</c:v>
                </c:pt>
                <c:pt idx="4011">
                  <c:v>-3.2398095104352098E-2</c:v>
                </c:pt>
                <c:pt idx="4012">
                  <c:v>-2.8168665044834396E-2</c:v>
                </c:pt>
                <c:pt idx="4013">
                  <c:v>-2.6552477562130083E-2</c:v>
                </c:pt>
                <c:pt idx="4014">
                  <c:v>-2.2289592049993256E-2</c:v>
                </c:pt>
                <c:pt idx="4015">
                  <c:v>-1.8865571035012518E-2</c:v>
                </c:pt>
                <c:pt idx="4016">
                  <c:v>-1.6893351451594985E-2</c:v>
                </c:pt>
                <c:pt idx="4017">
                  <c:v>-1.9227385559635435E-2</c:v>
                </c:pt>
                <c:pt idx="4018">
                  <c:v>-1.5193318822202762E-2</c:v>
                </c:pt>
                <c:pt idx="4019">
                  <c:v>-1.3945141318310039E-2</c:v>
                </c:pt>
                <c:pt idx="4020">
                  <c:v>-1.43804752326393E-2</c:v>
                </c:pt>
                <c:pt idx="4021">
                  <c:v>-4.3219488420696006E-3</c:v>
                </c:pt>
                <c:pt idx="4022">
                  <c:v>-3.8614200807061128E-3</c:v>
                </c:pt>
                <c:pt idx="4023">
                  <c:v>-9.6731691400286923E-4</c:v>
                </c:pt>
                <c:pt idx="4024">
                  <c:v>-5.032360922379242E-3</c:v>
                </c:pt>
                <c:pt idx="4025">
                  <c:v>-8.6781791973169486E-3</c:v>
                </c:pt>
                <c:pt idx="4026">
                  <c:v>-1.2868371380305943E-2</c:v>
                </c:pt>
                <c:pt idx="4027">
                  <c:v>-1.4436234320338026E-2</c:v>
                </c:pt>
                <c:pt idx="4028">
                  <c:v>-1.1020060880663207E-2</c:v>
                </c:pt>
                <c:pt idx="4029">
                  <c:v>-8.3180167938111671E-3</c:v>
                </c:pt>
                <c:pt idx="4030">
                  <c:v>0</c:v>
                </c:pt>
                <c:pt idx="4031">
                  <c:v>0</c:v>
                </c:pt>
                <c:pt idx="4032">
                  <c:v>0</c:v>
                </c:pt>
                <c:pt idx="4033">
                  <c:v>0</c:v>
                </c:pt>
                <c:pt idx="4034">
                  <c:v>0</c:v>
                </c:pt>
                <c:pt idx="4035">
                  <c:v>-2.605676237164678E-3</c:v>
                </c:pt>
                <c:pt idx="4036">
                  <c:v>-2.3755231587957448E-3</c:v>
                </c:pt>
                <c:pt idx="4037">
                  <c:v>-2.8460492568467277E-3</c:v>
                </c:pt>
                <c:pt idx="4038">
                  <c:v>-1.6981454485696101E-3</c:v>
                </c:pt>
                <c:pt idx="4039">
                  <c:v>0</c:v>
                </c:pt>
                <c:pt idx="4040">
                  <c:v>0</c:v>
                </c:pt>
                <c:pt idx="4041">
                  <c:v>0</c:v>
                </c:pt>
                <c:pt idx="4042">
                  <c:v>-3.2400714138189901E-3</c:v>
                </c:pt>
                <c:pt idx="4043">
                  <c:v>-2.7290397421004808E-3</c:v>
                </c:pt>
                <c:pt idx="4044">
                  <c:v>-4.2429506609533707E-3</c:v>
                </c:pt>
                <c:pt idx="4045">
                  <c:v>-3.2817049845180746E-3</c:v>
                </c:pt>
                <c:pt idx="4046">
                  <c:v>0</c:v>
                </c:pt>
                <c:pt idx="4047">
                  <c:v>0</c:v>
                </c:pt>
                <c:pt idx="4048">
                  <c:v>-4.8252750188203519E-3</c:v>
                </c:pt>
                <c:pt idx="4049">
                  <c:v>0</c:v>
                </c:pt>
                <c:pt idx="4050">
                  <c:v>-1.2063863609137471E-3</c:v>
                </c:pt>
                <c:pt idx="4051">
                  <c:v>-4.6628593258805084E-3</c:v>
                </c:pt>
                <c:pt idx="4052">
                  <c:v>-8.9590678490143461E-3</c:v>
                </c:pt>
                <c:pt idx="4053">
                  <c:v>-8.969994528566394E-3</c:v>
                </c:pt>
                <c:pt idx="4054">
                  <c:v>-1.8907607235242541E-2</c:v>
                </c:pt>
                <c:pt idx="4055">
                  <c:v>-4.0792532302502238E-2</c:v>
                </c:pt>
                <c:pt idx="4056">
                  <c:v>-3.696576630827153E-2</c:v>
                </c:pt>
                <c:pt idx="4057">
                  <c:v>-3.6756945321276713E-2</c:v>
                </c:pt>
                <c:pt idx="4058">
                  <c:v>-2.6054465045956765E-2</c:v>
                </c:pt>
                <c:pt idx="4059">
                  <c:v>-2.9596327988163584E-2</c:v>
                </c:pt>
                <c:pt idx="4060">
                  <c:v>-3.564282869880242E-2</c:v>
                </c:pt>
                <c:pt idx="4061">
                  <c:v>-2.833247538664263E-2</c:v>
                </c:pt>
                <c:pt idx="4062">
                  <c:v>-4.1060438297445212E-2</c:v>
                </c:pt>
                <c:pt idx="4063">
                  <c:v>-3.9173764961457191E-2</c:v>
                </c:pt>
                <c:pt idx="4064">
                  <c:v>-3.1567177225885978E-2</c:v>
                </c:pt>
                <c:pt idx="4065">
                  <c:v>-2.3561563340747216E-2</c:v>
                </c:pt>
                <c:pt idx="4066">
                  <c:v>-2.6301731757301439E-2</c:v>
                </c:pt>
                <c:pt idx="4067">
                  <c:v>-2.1870356161190374E-2</c:v>
                </c:pt>
                <c:pt idx="4068">
                  <c:v>-2.2489534669140165E-2</c:v>
                </c:pt>
                <c:pt idx="4069">
                  <c:v>-3.5540846356316602E-2</c:v>
                </c:pt>
                <c:pt idx="4070">
                  <c:v>-3.2584167807897524E-2</c:v>
                </c:pt>
                <c:pt idx="4071">
                  <c:v>-3.1391945661217835E-2</c:v>
                </c:pt>
                <c:pt idx="4072">
                  <c:v>-2.7623859983100019E-2</c:v>
                </c:pt>
                <c:pt idx="4073">
                  <c:v>-2.0667207334958526E-2</c:v>
                </c:pt>
                <c:pt idx="4074">
                  <c:v>-1.5386383576634022E-2</c:v>
                </c:pt>
                <c:pt idx="4075">
                  <c:v>-1.3186883451988929E-2</c:v>
                </c:pt>
                <c:pt idx="4076">
                  <c:v>-1.5592371720781983E-2</c:v>
                </c:pt>
                <c:pt idx="4077">
                  <c:v>-1.2921405608057546E-2</c:v>
                </c:pt>
                <c:pt idx="4078">
                  <c:v>-6.24318094257581E-3</c:v>
                </c:pt>
                <c:pt idx="4079">
                  <c:v>-3.8020797922796445E-3</c:v>
                </c:pt>
                <c:pt idx="4080">
                  <c:v>-5.4936916636718625E-3</c:v>
                </c:pt>
                <c:pt idx="4081">
                  <c:v>-3.7709185209645613E-3</c:v>
                </c:pt>
                <c:pt idx="4082">
                  <c:v>0</c:v>
                </c:pt>
                <c:pt idx="4083">
                  <c:v>0</c:v>
                </c:pt>
                <c:pt idx="4084">
                  <c:v>-2.7613903322331046E-3</c:v>
                </c:pt>
                <c:pt idx="4085">
                  <c:v>0</c:v>
                </c:pt>
                <c:pt idx="4086">
                  <c:v>-1.87593464548097E-3</c:v>
                </c:pt>
                <c:pt idx="4087">
                  <c:v>-2.2250300173702886E-3</c:v>
                </c:pt>
                <c:pt idx="4088">
                  <c:v>-1.3001487379820098E-3</c:v>
                </c:pt>
                <c:pt idx="4089">
                  <c:v>-5.2706556147985584E-4</c:v>
                </c:pt>
                <c:pt idx="4090">
                  <c:v>-1.2965249105911791E-4</c:v>
                </c:pt>
                <c:pt idx="4091">
                  <c:v>-4.4271091279380892E-3</c:v>
                </c:pt>
                <c:pt idx="4092">
                  <c:v>-1.3685988109014557E-3</c:v>
                </c:pt>
                <c:pt idx="4093">
                  <c:v>-5.4156087103929273E-4</c:v>
                </c:pt>
                <c:pt idx="4094">
                  <c:v>-2.7774623705789647E-3</c:v>
                </c:pt>
                <c:pt idx="4095">
                  <c:v>0</c:v>
                </c:pt>
                <c:pt idx="4096">
                  <c:v>-7.9977167756691836E-3</c:v>
                </c:pt>
                <c:pt idx="4097">
                  <c:v>-2.1818057571019067E-2</c:v>
                </c:pt>
                <c:pt idx="4098">
                  <c:v>-2.034481511108599E-2</c:v>
                </c:pt>
                <c:pt idx="4099">
                  <c:v>-1.313979523336728E-2</c:v>
                </c:pt>
                <c:pt idx="4100">
                  <c:v>-1.4842566054725004E-2</c:v>
                </c:pt>
                <c:pt idx="4101">
                  <c:v>-2.1040233789308194E-2</c:v>
                </c:pt>
                <c:pt idx="4102">
                  <c:v>-1.8459949109823848E-2</c:v>
                </c:pt>
                <c:pt idx="4103">
                  <c:v>-1.6689244325102104E-2</c:v>
                </c:pt>
                <c:pt idx="4104">
                  <c:v>-8.3683387533112219E-3</c:v>
                </c:pt>
                <c:pt idx="4105">
                  <c:v>-8.7260974952867443E-3</c:v>
                </c:pt>
                <c:pt idx="4106">
                  <c:v>-3.0224584055213999E-3</c:v>
                </c:pt>
                <c:pt idx="4107">
                  <c:v>-4.0386540231779344E-3</c:v>
                </c:pt>
                <c:pt idx="4108">
                  <c:v>-5.9303536183878958E-3</c:v>
                </c:pt>
                <c:pt idx="4109">
                  <c:v>-9.6574761527669084E-3</c:v>
                </c:pt>
                <c:pt idx="4110">
                  <c:v>-5.7981034766914075E-3</c:v>
                </c:pt>
                <c:pt idx="4111">
                  <c:v>-5.8049370706392267E-3</c:v>
                </c:pt>
                <c:pt idx="4112">
                  <c:v>-3.7150632509416193E-3</c:v>
                </c:pt>
                <c:pt idx="4113">
                  <c:v>-7.18733292867757E-4</c:v>
                </c:pt>
                <c:pt idx="4114">
                  <c:v>0</c:v>
                </c:pt>
                <c:pt idx="4115">
                  <c:v>0</c:v>
                </c:pt>
                <c:pt idx="4116">
                  <c:v>-6.7140249499253457E-4</c:v>
                </c:pt>
                <c:pt idx="4117">
                  <c:v>0</c:v>
                </c:pt>
                <c:pt idx="4118">
                  <c:v>-2.7824278242782885E-3</c:v>
                </c:pt>
                <c:pt idx="4119">
                  <c:v>0</c:v>
                </c:pt>
                <c:pt idx="4120">
                  <c:v>0</c:v>
                </c:pt>
                <c:pt idx="4121">
                  <c:v>0</c:v>
                </c:pt>
                <c:pt idx="4122">
                  <c:v>0</c:v>
                </c:pt>
                <c:pt idx="4123">
                  <c:v>0</c:v>
                </c:pt>
                <c:pt idx="4124">
                  <c:v>0</c:v>
                </c:pt>
                <c:pt idx="4125">
                  <c:v>-1.7645453050744164E-3</c:v>
                </c:pt>
                <c:pt idx="4126">
                  <c:v>0</c:v>
                </c:pt>
                <c:pt idx="4127">
                  <c:v>-7.7802358433132213E-5</c:v>
                </c:pt>
                <c:pt idx="4128">
                  <c:v>-4.1730355886848702E-4</c:v>
                </c:pt>
                <c:pt idx="4129">
                  <c:v>0</c:v>
                </c:pt>
                <c:pt idx="4130">
                  <c:v>-8.3079772664251816E-4</c:v>
                </c:pt>
                <c:pt idx="4131">
                  <c:v>-1.0418313323712347E-3</c:v>
                </c:pt>
                <c:pt idx="4132">
                  <c:v>-3.0388054713403889E-3</c:v>
                </c:pt>
                <c:pt idx="4133">
                  <c:v>-5.2562273545839755E-3</c:v>
                </c:pt>
                <c:pt idx="4134">
                  <c:v>-1.1461713679175034E-3</c:v>
                </c:pt>
                <c:pt idx="4135">
                  <c:v>0</c:v>
                </c:pt>
                <c:pt idx="4136">
                  <c:v>0</c:v>
                </c:pt>
                <c:pt idx="4137">
                  <c:v>0</c:v>
                </c:pt>
                <c:pt idx="4138">
                  <c:v>-7.2561554961492192E-4</c:v>
                </c:pt>
                <c:pt idx="4139">
                  <c:v>-4.6889214664893597E-3</c:v>
                </c:pt>
                <c:pt idx="4140">
                  <c:v>-1.2940661895006422E-2</c:v>
                </c:pt>
                <c:pt idx="4141">
                  <c:v>-1.6521349334166158E-2</c:v>
                </c:pt>
                <c:pt idx="4142">
                  <c:v>-1.3615002684156052E-2</c:v>
                </c:pt>
                <c:pt idx="4143">
                  <c:v>-1.3021070042099736E-2</c:v>
                </c:pt>
                <c:pt idx="4144">
                  <c:v>-4.6120093257913108E-3</c:v>
                </c:pt>
                <c:pt idx="4145">
                  <c:v>-6.7616648137832636E-3</c:v>
                </c:pt>
                <c:pt idx="4146">
                  <c:v>-9.0468876608843507E-3</c:v>
                </c:pt>
                <c:pt idx="4147">
                  <c:v>-6.9962856874274948E-3</c:v>
                </c:pt>
                <c:pt idx="4148">
                  <c:v>-5.137964065715539E-3</c:v>
                </c:pt>
                <c:pt idx="4149">
                  <c:v>-2.4984792372179099E-3</c:v>
                </c:pt>
                <c:pt idx="4150">
                  <c:v>0</c:v>
                </c:pt>
                <c:pt idx="4151">
                  <c:v>-1.0381322764198009E-3</c:v>
                </c:pt>
                <c:pt idx="4152">
                  <c:v>-6.9325070642600739E-4</c:v>
                </c:pt>
                <c:pt idx="4153">
                  <c:v>0</c:v>
                </c:pt>
                <c:pt idx="4154">
                  <c:v>0</c:v>
                </c:pt>
                <c:pt idx="4155">
                  <c:v>-1.0387044354964736E-5</c:v>
                </c:pt>
                <c:pt idx="4156">
                  <c:v>0</c:v>
                </c:pt>
                <c:pt idx="4157">
                  <c:v>-1.9036843406783355E-4</c:v>
                </c:pt>
                <c:pt idx="4158">
                  <c:v>0</c:v>
                </c:pt>
                <c:pt idx="4159">
                  <c:v>-2.4664159054272883E-3</c:v>
                </c:pt>
                <c:pt idx="4160">
                  <c:v>-8.8420204191295149E-3</c:v>
                </c:pt>
                <c:pt idx="4161">
                  <c:v>-8.1760958010286267E-3</c:v>
                </c:pt>
                <c:pt idx="4162">
                  <c:v>-8.1795501650419045E-3</c:v>
                </c:pt>
                <c:pt idx="4163">
                  <c:v>-1.2074921317265508E-3</c:v>
                </c:pt>
                <c:pt idx="4164">
                  <c:v>-2.5566131879942722E-3</c:v>
                </c:pt>
                <c:pt idx="4165">
                  <c:v>-3.9928609810393478E-3</c:v>
                </c:pt>
                <c:pt idx="4166">
                  <c:v>-1.667690181929915E-3</c:v>
                </c:pt>
                <c:pt idx="4167">
                  <c:v>0</c:v>
                </c:pt>
                <c:pt idx="4168">
                  <c:v>0</c:v>
                </c:pt>
                <c:pt idx="4169">
                  <c:v>-1.0034556264671979E-3</c:v>
                </c:pt>
                <c:pt idx="4170">
                  <c:v>0</c:v>
                </c:pt>
                <c:pt idx="4171">
                  <c:v>0</c:v>
                </c:pt>
                <c:pt idx="4172">
                  <c:v>-7.4466204912704281E-4</c:v>
                </c:pt>
                <c:pt idx="4173">
                  <c:v>0</c:v>
                </c:pt>
                <c:pt idx="4174">
                  <c:v>0</c:v>
                </c:pt>
                <c:pt idx="4175">
                  <c:v>0</c:v>
                </c:pt>
                <c:pt idx="4176">
                  <c:v>-2.5232694605226147E-3</c:v>
                </c:pt>
                <c:pt idx="4177">
                  <c:v>-9.5230519307942796E-4</c:v>
                </c:pt>
                <c:pt idx="4178">
                  <c:v>0</c:v>
                </c:pt>
                <c:pt idx="4179">
                  <c:v>-2.1120999996230294E-3</c:v>
                </c:pt>
                <c:pt idx="4180">
                  <c:v>-1.2273400658169953E-2</c:v>
                </c:pt>
                <c:pt idx="4181">
                  <c:v>-7.4185486333360195E-3</c:v>
                </c:pt>
                <c:pt idx="4182">
                  <c:v>-6.6763168112302651E-3</c:v>
                </c:pt>
                <c:pt idx="4183">
                  <c:v>-9.2720549153538778E-3</c:v>
                </c:pt>
                <c:pt idx="4184">
                  <c:v>-2.080397766896247E-2</c:v>
                </c:pt>
                <c:pt idx="4185">
                  <c:v>-1.6960129070683672E-2</c:v>
                </c:pt>
                <c:pt idx="4186">
                  <c:v>-6.4033986602886062E-3</c:v>
                </c:pt>
                <c:pt idx="4187">
                  <c:v>0</c:v>
                </c:pt>
                <c:pt idx="4188">
                  <c:v>0</c:v>
                </c:pt>
                <c:pt idx="4189">
                  <c:v>-2.2312992575307389E-3</c:v>
                </c:pt>
                <c:pt idx="4190">
                  <c:v>0</c:v>
                </c:pt>
                <c:pt idx="4191">
                  <c:v>0</c:v>
                </c:pt>
                <c:pt idx="4192">
                  <c:v>0</c:v>
                </c:pt>
                <c:pt idx="4193">
                  <c:v>0</c:v>
                </c:pt>
                <c:pt idx="4194">
                  <c:v>0</c:v>
                </c:pt>
                <c:pt idx="4195">
                  <c:v>0</c:v>
                </c:pt>
                <c:pt idx="4196">
                  <c:v>-2.2128358498590961E-3</c:v>
                </c:pt>
                <c:pt idx="4197">
                  <c:v>0</c:v>
                </c:pt>
                <c:pt idx="4198">
                  <c:v>-3.6822730687472438E-3</c:v>
                </c:pt>
                <c:pt idx="4199">
                  <c:v>-1.1905488937729247E-2</c:v>
                </c:pt>
                <c:pt idx="4200">
                  <c:v>-3.2810454727061567E-2</c:v>
                </c:pt>
                <c:pt idx="4201">
                  <c:v>-5.1141250802933524E-2</c:v>
                </c:pt>
                <c:pt idx="4202">
                  <c:v>-5.4595060331298018E-2</c:v>
                </c:pt>
                <c:pt idx="4203">
                  <c:v>-8.5016029237446888E-2</c:v>
                </c:pt>
                <c:pt idx="4204">
                  <c:v>-9.5310868610286814E-2</c:v>
                </c:pt>
                <c:pt idx="4205">
                  <c:v>-8.2980827457417972E-2</c:v>
                </c:pt>
                <c:pt idx="4206">
                  <c:v>-9.4735478953026364E-2</c:v>
                </c:pt>
                <c:pt idx="4207">
                  <c:v>-7.4280818112854474E-2</c:v>
                </c:pt>
                <c:pt idx="4208">
                  <c:v>-9.156016684828483E-2</c:v>
                </c:pt>
                <c:pt idx="4209">
                  <c:v>-0.11054876133028335</c:v>
                </c:pt>
                <c:pt idx="4210">
                  <c:v>-0.16099395252225956</c:v>
                </c:pt>
                <c:pt idx="4211">
                  <c:v>-0.14030089494429687</c:v>
                </c:pt>
                <c:pt idx="4212">
                  <c:v>-0.1598358152837327</c:v>
                </c:pt>
                <c:pt idx="4213">
                  <c:v>-0.21022435046086363</c:v>
                </c:pt>
                <c:pt idx="4214">
                  <c:v>-0.17623110944985543</c:v>
                </c:pt>
                <c:pt idx="4215">
                  <c:v>-0.23480312770633649</c:v>
                </c:pt>
                <c:pt idx="4216">
                  <c:v>-0.20340539438840577</c:v>
                </c:pt>
                <c:pt idx="4217">
                  <c:v>-0.2258603068695787</c:v>
                </c:pt>
                <c:pt idx="4218">
                  <c:v>-0.21331578223193803</c:v>
                </c:pt>
                <c:pt idx="4219">
                  <c:v>-0.22614542642480684</c:v>
                </c:pt>
                <c:pt idx="4220">
                  <c:v>-0.24665196062922035</c:v>
                </c:pt>
                <c:pt idx="4221">
                  <c:v>-0.20282411839194048</c:v>
                </c:pt>
                <c:pt idx="4222">
                  <c:v>-0.19055404431971956</c:v>
                </c:pt>
                <c:pt idx="4223">
                  <c:v>-0.170950695287029</c:v>
                </c:pt>
                <c:pt idx="4224">
                  <c:v>-0.18822452557945502</c:v>
                </c:pt>
                <c:pt idx="4225">
                  <c:v>-0.1729627196064395</c:v>
                </c:pt>
                <c:pt idx="4226">
                  <c:v>-0.17604716134970821</c:v>
                </c:pt>
                <c:pt idx="4227">
                  <c:v>-0.19531351746292902</c:v>
                </c:pt>
                <c:pt idx="4228">
                  <c:v>-0.18528834600490485</c:v>
                </c:pt>
                <c:pt idx="4229">
                  <c:v>-0.19008571245674466</c:v>
                </c:pt>
                <c:pt idx="4230">
                  <c:v>-0.15583862306753327</c:v>
                </c:pt>
                <c:pt idx="4231">
                  <c:v>-0.15741763355919713</c:v>
                </c:pt>
                <c:pt idx="4232">
                  <c:v>-0.14171655952303008</c:v>
                </c:pt>
                <c:pt idx="4233">
                  <c:v>-0.13589901690777373</c:v>
                </c:pt>
                <c:pt idx="4234">
                  <c:v>-0.13599135885404756</c:v>
                </c:pt>
                <c:pt idx="4235">
                  <c:v>-0.13855044482329593</c:v>
                </c:pt>
                <c:pt idx="4236">
                  <c:v>-0.12677629482907182</c:v>
                </c:pt>
                <c:pt idx="4237">
                  <c:v>-0.13739157179236827</c:v>
                </c:pt>
                <c:pt idx="4238">
                  <c:v>-0.13318283926099961</c:v>
                </c:pt>
                <c:pt idx="4239">
                  <c:v>-0.11888970398335941</c:v>
                </c:pt>
                <c:pt idx="4240">
                  <c:v>-0.12622408263242979</c:v>
                </c:pt>
                <c:pt idx="4241">
                  <c:v>-0.14384888589993672</c:v>
                </c:pt>
                <c:pt idx="4242">
                  <c:v>-0.13075840330105915</c:v>
                </c:pt>
                <c:pt idx="4243">
                  <c:v>-0.12807680789711273</c:v>
                </c:pt>
                <c:pt idx="4244">
                  <c:v>-0.12305024211248949</c:v>
                </c:pt>
                <c:pt idx="4245">
                  <c:v>-0.11402905938506891</c:v>
                </c:pt>
                <c:pt idx="4246">
                  <c:v>-0.1132229988102238</c:v>
                </c:pt>
                <c:pt idx="4247">
                  <c:v>-9.990405267096325E-2</c:v>
                </c:pt>
                <c:pt idx="4248">
                  <c:v>-0.11058775832751444</c:v>
                </c:pt>
                <c:pt idx="4249">
                  <c:v>-0.12870480671101547</c:v>
                </c:pt>
                <c:pt idx="4250">
                  <c:v>-0.12596765898082463</c:v>
                </c:pt>
                <c:pt idx="4251">
                  <c:v>-0.11506027243449424</c:v>
                </c:pt>
                <c:pt idx="4252">
                  <c:v>-0.11632215640150434</c:v>
                </c:pt>
                <c:pt idx="4253">
                  <c:v>-0.10845763932780961</c:v>
                </c:pt>
                <c:pt idx="4254">
                  <c:v>-0.10306906368209656</c:v>
                </c:pt>
                <c:pt idx="4255">
                  <c:v>-0.10072262171661839</c:v>
                </c:pt>
                <c:pt idx="4256">
                  <c:v>-0.11145010702100477</c:v>
                </c:pt>
                <c:pt idx="4257">
                  <c:v>-0.1201342968289556</c:v>
                </c:pt>
                <c:pt idx="4258">
                  <c:v>-0.11845889753281458</c:v>
                </c:pt>
                <c:pt idx="4259">
                  <c:v>-0.11591232003437635</c:v>
                </c:pt>
                <c:pt idx="4260">
                  <c:v>-9.9455955099004623E-2</c:v>
                </c:pt>
                <c:pt idx="4261">
                  <c:v>-0.10661116829853168</c:v>
                </c:pt>
                <c:pt idx="4262">
                  <c:v>-9.9909571113967699E-2</c:v>
                </c:pt>
                <c:pt idx="4263">
                  <c:v>-0.10229280269947527</c:v>
                </c:pt>
                <c:pt idx="4264">
                  <c:v>-0.1000181004930546</c:v>
                </c:pt>
                <c:pt idx="4265">
                  <c:v>-9.7226136229019877E-2</c:v>
                </c:pt>
                <c:pt idx="4266">
                  <c:v>-9.2798137562275729E-2</c:v>
                </c:pt>
                <c:pt idx="4267">
                  <c:v>-8.492663046077531E-2</c:v>
                </c:pt>
                <c:pt idx="4268">
                  <c:v>-8.6338983973705763E-2</c:v>
                </c:pt>
                <c:pt idx="4269">
                  <c:v>-9.0343166217710769E-2</c:v>
                </c:pt>
                <c:pt idx="4270">
                  <c:v>-8.6777516244456843E-2</c:v>
                </c:pt>
                <c:pt idx="4271">
                  <c:v>-8.2181389014178041E-2</c:v>
                </c:pt>
                <c:pt idx="4272">
                  <c:v>-7.4173392422368423E-2</c:v>
                </c:pt>
                <c:pt idx="4273">
                  <c:v>-8.1850650330113406E-2</c:v>
                </c:pt>
                <c:pt idx="4274">
                  <c:v>-6.6376200353327586E-2</c:v>
                </c:pt>
                <c:pt idx="4275">
                  <c:v>-5.9091855587497188E-2</c:v>
                </c:pt>
                <c:pt idx="4276">
                  <c:v>-6.6308507452473409E-2</c:v>
                </c:pt>
                <c:pt idx="4277">
                  <c:v>-6.8359160872914715E-2</c:v>
                </c:pt>
                <c:pt idx="4278">
                  <c:v>-0.1017718616798583</c:v>
                </c:pt>
                <c:pt idx="4279">
                  <c:v>-9.1513811927047772E-2</c:v>
                </c:pt>
                <c:pt idx="4280">
                  <c:v>-9.1158056301362977E-2</c:v>
                </c:pt>
                <c:pt idx="4281">
                  <c:v>-7.4889318428141505E-2</c:v>
                </c:pt>
                <c:pt idx="4282">
                  <c:v>-7.452179012404736E-2</c:v>
                </c:pt>
                <c:pt idx="4283">
                  <c:v>-7.4813163914680514E-2</c:v>
                </c:pt>
                <c:pt idx="4284">
                  <c:v>-7.4657175925755714E-2</c:v>
                </c:pt>
                <c:pt idx="4285">
                  <c:v>-7.5608555499717234E-2</c:v>
                </c:pt>
                <c:pt idx="4286">
                  <c:v>-7.5585745935298987E-2</c:v>
                </c:pt>
                <c:pt idx="4287">
                  <c:v>-8.8151240656356378E-2</c:v>
                </c:pt>
                <c:pt idx="4288">
                  <c:v>-8.0746961729229905E-2</c:v>
                </c:pt>
                <c:pt idx="4289">
                  <c:v>-9.0748219934234986E-2</c:v>
                </c:pt>
                <c:pt idx="4290">
                  <c:v>-8.7432739377181323E-2</c:v>
                </c:pt>
                <c:pt idx="4291">
                  <c:v>-7.9090693035504311E-2</c:v>
                </c:pt>
                <c:pt idx="4292">
                  <c:v>-7.8404566621955052E-2</c:v>
                </c:pt>
                <c:pt idx="4293">
                  <c:v>-7.0811556944077703E-2</c:v>
                </c:pt>
                <c:pt idx="4294">
                  <c:v>-7.2367022078922649E-2</c:v>
                </c:pt>
                <c:pt idx="4295">
                  <c:v>-6.5565357127878587E-2</c:v>
                </c:pt>
                <c:pt idx="4296">
                  <c:v>-6.9823755646286956E-2</c:v>
                </c:pt>
                <c:pt idx="4297">
                  <c:v>-6.9436728843577211E-2</c:v>
                </c:pt>
                <c:pt idx="4298">
                  <c:v>-7.0719214997803759E-2</c:v>
                </c:pt>
                <c:pt idx="4299">
                  <c:v>-6.6797073606464474E-2</c:v>
                </c:pt>
                <c:pt idx="4300">
                  <c:v>-7.1736080095417654E-2</c:v>
                </c:pt>
                <c:pt idx="4301">
                  <c:v>-6.7824239797686592E-2</c:v>
                </c:pt>
                <c:pt idx="4302">
                  <c:v>-6.1175619665965075E-2</c:v>
                </c:pt>
                <c:pt idx="4303">
                  <c:v>-6.4613241761516504E-2</c:v>
                </c:pt>
                <c:pt idx="4304">
                  <c:v>-6.2867574291119332E-2</c:v>
                </c:pt>
                <c:pt idx="4305">
                  <c:v>-5.8065057292475353E-2</c:v>
                </c:pt>
                <c:pt idx="4306">
                  <c:v>-5.8576065114684384E-2</c:v>
                </c:pt>
                <c:pt idx="4307">
                  <c:v>-6.2589076867496374E-2</c:v>
                </c:pt>
                <c:pt idx="4308">
                  <c:v>-6.8426485877568721E-2</c:v>
                </c:pt>
                <c:pt idx="4309">
                  <c:v>-7.50346374272578E-2</c:v>
                </c:pt>
                <c:pt idx="4310">
                  <c:v>-7.7292784304665241E-2</c:v>
                </c:pt>
                <c:pt idx="4311">
                  <c:v>-7.8124597613531077E-2</c:v>
                </c:pt>
                <c:pt idx="4312">
                  <c:v>-7.522778293241239E-2</c:v>
                </c:pt>
                <c:pt idx="4313">
                  <c:v>-8.0298496261070995E-2</c:v>
                </c:pt>
                <c:pt idx="4314">
                  <c:v>-8.1990082990024971E-2</c:v>
                </c:pt>
                <c:pt idx="4315">
                  <c:v>-7.1766983376242321E-2</c:v>
                </c:pt>
                <c:pt idx="4316">
                  <c:v>-6.8836322244696713E-2</c:v>
                </c:pt>
                <c:pt idx="4317">
                  <c:v>-7.1056207917273517E-2</c:v>
                </c:pt>
                <c:pt idx="4318">
                  <c:v>-6.7224936887406939E-2</c:v>
                </c:pt>
                <c:pt idx="4319">
                  <c:v>-6.5478533624609092E-2</c:v>
                </c:pt>
                <c:pt idx="4320">
                  <c:v>-6.265051553294565E-2</c:v>
                </c:pt>
                <c:pt idx="4321">
                  <c:v>-6.3429351788968913E-2</c:v>
                </c:pt>
                <c:pt idx="4322">
                  <c:v>-5.6406213325347676E-2</c:v>
                </c:pt>
                <c:pt idx="4323">
                  <c:v>-5.8725063075803607E-2</c:v>
                </c:pt>
                <c:pt idx="4324">
                  <c:v>-5.9390219405936029E-2</c:v>
                </c:pt>
                <c:pt idx="4325">
                  <c:v>-5.8625363205523806E-2</c:v>
                </c:pt>
                <c:pt idx="4326">
                  <c:v>-6.0200694735184745E-2</c:v>
                </c:pt>
                <c:pt idx="4327">
                  <c:v>-6.0358890101311347E-2</c:v>
                </c:pt>
                <c:pt idx="4328">
                  <c:v>-5.8449140925582732E-2</c:v>
                </c:pt>
                <c:pt idx="4329">
                  <c:v>-5.4274254844641212E-2</c:v>
                </c:pt>
                <c:pt idx="4330">
                  <c:v>-4.9238491655010486E-2</c:v>
                </c:pt>
                <c:pt idx="4331">
                  <c:v>-4.8638085056130098E-2</c:v>
                </c:pt>
                <c:pt idx="4332">
                  <c:v>-4.1460798084585249E-2</c:v>
                </c:pt>
                <c:pt idx="4333">
                  <c:v>-4.0830223997280646E-2</c:v>
                </c:pt>
                <c:pt idx="4334">
                  <c:v>-4.2820174544673351E-2</c:v>
                </c:pt>
                <c:pt idx="4335">
                  <c:v>-4.6685659921167244E-2</c:v>
                </c:pt>
                <c:pt idx="4336">
                  <c:v>-4.3500782515218051E-2</c:v>
                </c:pt>
                <c:pt idx="4337">
                  <c:v>-2.8741154855604578E-2</c:v>
                </c:pt>
                <c:pt idx="4338">
                  <c:v>-4.7421820217956601E-2</c:v>
                </c:pt>
                <c:pt idx="4339">
                  <c:v>-5.2727619218603139E-2</c:v>
                </c:pt>
                <c:pt idx="4340">
                  <c:v>-5.1901324352741973E-2</c:v>
                </c:pt>
                <c:pt idx="4341">
                  <c:v>-6.4441802132179316E-2</c:v>
                </c:pt>
                <c:pt idx="4342">
                  <c:v>-5.4814694362873895E-2</c:v>
                </c:pt>
                <c:pt idx="4343">
                  <c:v>-6.5308933476273423E-2</c:v>
                </c:pt>
                <c:pt idx="4344">
                  <c:v>-6.2498942298424232E-2</c:v>
                </c:pt>
                <c:pt idx="4345">
                  <c:v>-5.7101905040104484E-2</c:v>
                </c:pt>
                <c:pt idx="4346">
                  <c:v>-5.2744174547616485E-2</c:v>
                </c:pt>
                <c:pt idx="4347">
                  <c:v>-5.2709960200989059E-2</c:v>
                </c:pt>
                <c:pt idx="4348">
                  <c:v>-5.6920532213359243E-2</c:v>
                </c:pt>
                <c:pt idx="4349">
                  <c:v>-6.4338055403696304E-2</c:v>
                </c:pt>
                <c:pt idx="4350">
                  <c:v>-6.8231868787612893E-2</c:v>
                </c:pt>
                <c:pt idx="4351">
                  <c:v>-6.2522855551443324E-2</c:v>
                </c:pt>
                <c:pt idx="4352">
                  <c:v>-7.1320357389084932E-2</c:v>
                </c:pt>
                <c:pt idx="4353">
                  <c:v>-7.0909785229556266E-2</c:v>
                </c:pt>
                <c:pt idx="4354">
                  <c:v>-6.2053419999867687E-2</c:v>
                </c:pt>
                <c:pt idx="4355">
                  <c:v>-5.2447282313978882E-2</c:v>
                </c:pt>
                <c:pt idx="4356">
                  <c:v>-5.8463856773594558E-2</c:v>
                </c:pt>
                <c:pt idx="4357">
                  <c:v>-5.6426815512564121E-2</c:v>
                </c:pt>
                <c:pt idx="4358">
                  <c:v>-5.2993240275215792E-2</c:v>
                </c:pt>
                <c:pt idx="4359">
                  <c:v>-5.677742059144486E-2</c:v>
                </c:pt>
                <c:pt idx="4360">
                  <c:v>-4.9786656993449308E-2</c:v>
                </c:pt>
                <c:pt idx="4361">
                  <c:v>-5.5436071045171009E-2</c:v>
                </c:pt>
                <c:pt idx="4362">
                  <c:v>-4.6353081756101089E-2</c:v>
                </c:pt>
                <c:pt idx="4363">
                  <c:v>-4.0231656879401445E-2</c:v>
                </c:pt>
                <c:pt idx="4364">
                  <c:v>-3.8372309483113209E-2</c:v>
                </c:pt>
                <c:pt idx="4365">
                  <c:v>-2.9973239230390525E-2</c:v>
                </c:pt>
                <c:pt idx="4366">
                  <c:v>-2.9837485532482111E-2</c:v>
                </c:pt>
                <c:pt idx="4367">
                  <c:v>-3.3612836339903751E-2</c:v>
                </c:pt>
                <c:pt idx="4368">
                  <c:v>-3.5010106108622097E-2</c:v>
                </c:pt>
                <c:pt idx="4369">
                  <c:v>-3.5024086164233359E-2</c:v>
                </c:pt>
                <c:pt idx="4370">
                  <c:v>-4.4953236713980771E-2</c:v>
                </c:pt>
                <c:pt idx="4371">
                  <c:v>-4.6365590226911113E-2</c:v>
                </c:pt>
                <c:pt idx="4372">
                  <c:v>-5.0103415621902792E-2</c:v>
                </c:pt>
                <c:pt idx="4373">
                  <c:v>-4.6711780551388138E-2</c:v>
                </c:pt>
                <c:pt idx="4374">
                  <c:v>-4.4175504146558131E-2</c:v>
                </c:pt>
                <c:pt idx="4375">
                  <c:v>-5.4300375474861995E-2</c:v>
                </c:pt>
                <c:pt idx="4376">
                  <c:v>-5.7312709562873154E-2</c:v>
                </c:pt>
                <c:pt idx="4377">
                  <c:v>-7.4011518094238893E-2</c:v>
                </c:pt>
                <c:pt idx="4378">
                  <c:v>-6.507642307768724E-2</c:v>
                </c:pt>
                <c:pt idx="4379">
                  <c:v>-7.1932904562575284E-2</c:v>
                </c:pt>
                <c:pt idx="4380">
                  <c:v>-6.2930116645169343E-2</c:v>
                </c:pt>
                <c:pt idx="4381">
                  <c:v>-5.4991652435215421E-2</c:v>
                </c:pt>
                <c:pt idx="4382">
                  <c:v>-4.0298246091654777E-2</c:v>
                </c:pt>
                <c:pt idx="4383">
                  <c:v>-3.3328452577076173E-2</c:v>
                </c:pt>
                <c:pt idx="4384">
                  <c:v>-3.519184683156773E-2</c:v>
                </c:pt>
                <c:pt idx="4385">
                  <c:v>-2.395077843157023E-2</c:v>
                </c:pt>
                <c:pt idx="4386">
                  <c:v>-2.176878606762378E-2</c:v>
                </c:pt>
                <c:pt idx="4387">
                  <c:v>-1.2004453015608485E-2</c:v>
                </c:pt>
                <c:pt idx="4388">
                  <c:v>-2.0092283082881912E-2</c:v>
                </c:pt>
                <c:pt idx="4389">
                  <c:v>-1.5201103099967028E-2</c:v>
                </c:pt>
                <c:pt idx="4390">
                  <c:v>-7.402807342325235E-3</c:v>
                </c:pt>
                <c:pt idx="4391">
                  <c:v>-1.0409622987331835E-2</c:v>
                </c:pt>
                <c:pt idx="4392">
                  <c:v>-1.4573472182264791E-2</c:v>
                </c:pt>
                <c:pt idx="4393">
                  <c:v>-1.1562241782854477E-2</c:v>
                </c:pt>
                <c:pt idx="4394">
                  <c:v>-1.4089320782677106E-2</c:v>
                </c:pt>
                <c:pt idx="4395">
                  <c:v>-1.0215005897376228E-2</c:v>
                </c:pt>
                <c:pt idx="4396">
                  <c:v>-2.3387161452720351E-3</c:v>
                </c:pt>
                <c:pt idx="4397">
                  <c:v>-3.2786909370243755E-3</c:v>
                </c:pt>
                <c:pt idx="4398">
                  <c:v>-3.155077813725482E-3</c:v>
                </c:pt>
                <c:pt idx="4399">
                  <c:v>-2.8677508812955388E-3</c:v>
                </c:pt>
                <c:pt idx="4400">
                  <c:v>-8.5822825604693342E-3</c:v>
                </c:pt>
                <c:pt idx="4401">
                  <c:v>-5.8999513641223578E-3</c:v>
                </c:pt>
                <c:pt idx="4402">
                  <c:v>-6.7726011512209139E-3</c:v>
                </c:pt>
                <c:pt idx="4403">
                  <c:v>-9.2581078804102601E-3</c:v>
                </c:pt>
                <c:pt idx="4404">
                  <c:v>-3.5689610390565729E-3</c:v>
                </c:pt>
                <c:pt idx="4405">
                  <c:v>-3.7959529946384185E-3</c:v>
                </c:pt>
                <c:pt idx="4406">
                  <c:v>-1.0282698798231849E-3</c:v>
                </c:pt>
                <c:pt idx="4407">
                  <c:v>-3.2106301399698056E-3</c:v>
                </c:pt>
                <c:pt idx="4408">
                  <c:v>-5.66045093773071E-3</c:v>
                </c:pt>
                <c:pt idx="4409">
                  <c:v>-5.8638975364935231E-3</c:v>
                </c:pt>
                <c:pt idx="4410">
                  <c:v>-7.8067573702486071E-3</c:v>
                </c:pt>
                <c:pt idx="4411">
                  <c:v>-2.8622324382909792E-3</c:v>
                </c:pt>
                <c:pt idx="4412">
                  <c:v>-2.1573433185267943E-3</c:v>
                </c:pt>
                <c:pt idx="4413">
                  <c:v>0</c:v>
                </c:pt>
                <c:pt idx="4414">
                  <c:v>-1.7449760212928656E-3</c:v>
                </c:pt>
                <c:pt idx="4415">
                  <c:v>-5.9808832433012604E-3</c:v>
                </c:pt>
                <c:pt idx="4416">
                  <c:v>-3.8960341520938302E-3</c:v>
                </c:pt>
                <c:pt idx="4417">
                  <c:v>-3.1121926889035034E-3</c:v>
                </c:pt>
                <c:pt idx="4418">
                  <c:v>-5.3298276872959516E-4</c:v>
                </c:pt>
                <c:pt idx="4419">
                  <c:v>-4.7707291307275135E-4</c:v>
                </c:pt>
                <c:pt idx="4420">
                  <c:v>0</c:v>
                </c:pt>
                <c:pt idx="4421">
                  <c:v>0</c:v>
                </c:pt>
                <c:pt idx="4422">
                  <c:v>-2.5926856694225009E-3</c:v>
                </c:pt>
                <c:pt idx="4423">
                  <c:v>0</c:v>
                </c:pt>
                <c:pt idx="4424">
                  <c:v>-4.7588228576644909E-6</c:v>
                </c:pt>
                <c:pt idx="4425">
                  <c:v>-7.0814944753727627E-3</c:v>
                </c:pt>
                <c:pt idx="4426">
                  <c:v>-3.8191383748545915E-3</c:v>
                </c:pt>
                <c:pt idx="4427">
                  <c:v>-1.6912124309242937E-4</c:v>
                </c:pt>
                <c:pt idx="4428">
                  <c:v>0</c:v>
                </c:pt>
                <c:pt idx="4429">
                  <c:v>0</c:v>
                </c:pt>
                <c:pt idx="4430">
                  <c:v>-1.9498277952456622E-4</c:v>
                </c:pt>
                <c:pt idx="4431">
                  <c:v>0</c:v>
                </c:pt>
                <c:pt idx="4432">
                  <c:v>0</c:v>
                </c:pt>
                <c:pt idx="4433">
                  <c:v>0</c:v>
                </c:pt>
                <c:pt idx="4434">
                  <c:v>-3.6264494749319587E-3</c:v>
                </c:pt>
                <c:pt idx="4435">
                  <c:v>-3.0034173348812976E-3</c:v>
                </c:pt>
                <c:pt idx="4436">
                  <c:v>-9.0364811547161139E-4</c:v>
                </c:pt>
                <c:pt idx="4437">
                  <c:v>0</c:v>
                </c:pt>
                <c:pt idx="4438">
                  <c:v>-1.8962212852442484E-3</c:v>
                </c:pt>
                <c:pt idx="4439">
                  <c:v>-5.188044321230767E-3</c:v>
                </c:pt>
                <c:pt idx="4440">
                  <c:v>-2.2010857453579336E-3</c:v>
                </c:pt>
                <c:pt idx="4441">
                  <c:v>-5.3645447981387484E-3</c:v>
                </c:pt>
                <c:pt idx="4442">
                  <c:v>-1.6115741524857174E-2</c:v>
                </c:pt>
                <c:pt idx="4443">
                  <c:v>-1.3760262433032411E-2</c:v>
                </c:pt>
                <c:pt idx="4444">
                  <c:v>-2.7784740731496504E-2</c:v>
                </c:pt>
                <c:pt idx="4445">
                  <c:v>-1.4521888733386223E-2</c:v>
                </c:pt>
                <c:pt idx="4446">
                  <c:v>-2.8874764888884297E-3</c:v>
                </c:pt>
                <c:pt idx="4447">
                  <c:v>-2.6136333247150922E-4</c:v>
                </c:pt>
                <c:pt idx="4448">
                  <c:v>0</c:v>
                </c:pt>
                <c:pt idx="4449">
                  <c:v>0</c:v>
                </c:pt>
                <c:pt idx="4450">
                  <c:v>0</c:v>
                </c:pt>
                <c:pt idx="4451">
                  <c:v>-2.0834917871620506E-3</c:v>
                </c:pt>
                <c:pt idx="4452">
                  <c:v>-3.5588729918617501E-3</c:v>
                </c:pt>
                <c:pt idx="4453">
                  <c:v>-1.7701053260205102E-3</c:v>
                </c:pt>
                <c:pt idx="4454">
                  <c:v>0</c:v>
                </c:pt>
                <c:pt idx="4455">
                  <c:v>0</c:v>
                </c:pt>
                <c:pt idx="4456">
                  <c:v>0</c:v>
                </c:pt>
                <c:pt idx="4457">
                  <c:v>0</c:v>
                </c:pt>
                <c:pt idx="4458">
                  <c:v>-5.7610043966850322E-3</c:v>
                </c:pt>
                <c:pt idx="4459">
                  <c:v>-7.8265540172892667E-3</c:v>
                </c:pt>
                <c:pt idx="4460">
                  <c:v>-1.2526265512179613E-2</c:v>
                </c:pt>
                <c:pt idx="4461">
                  <c:v>-1.3925226613852759E-2</c:v>
                </c:pt>
                <c:pt idx="4462">
                  <c:v>-8.5382816012822271E-3</c:v>
                </c:pt>
                <c:pt idx="4463">
                  <c:v>-2.4709964011218388E-2</c:v>
                </c:pt>
                <c:pt idx="4464">
                  <c:v>-2.7431954608996056E-2</c:v>
                </c:pt>
                <c:pt idx="4465">
                  <c:v>-7.951123840249763E-3</c:v>
                </c:pt>
                <c:pt idx="4466">
                  <c:v>-1.300424972050529E-2</c:v>
                </c:pt>
                <c:pt idx="4467">
                  <c:v>-2.0572916211047843E-2</c:v>
                </c:pt>
                <c:pt idx="4468">
                  <c:v>-2.6735273380023794E-2</c:v>
                </c:pt>
                <c:pt idx="4469">
                  <c:v>-1.3742220946975636E-2</c:v>
                </c:pt>
                <c:pt idx="4470">
                  <c:v>-1.222008968327426E-2</c:v>
                </c:pt>
                <c:pt idx="4471">
                  <c:v>-3.4414163168972056E-3</c:v>
                </c:pt>
                <c:pt idx="4472">
                  <c:v>-8.8108655678165171E-4</c:v>
                </c:pt>
                <c:pt idx="4473">
                  <c:v>0</c:v>
                </c:pt>
                <c:pt idx="4474">
                  <c:v>0</c:v>
                </c:pt>
                <c:pt idx="4475">
                  <c:v>0</c:v>
                </c:pt>
                <c:pt idx="4476">
                  <c:v>0</c:v>
                </c:pt>
                <c:pt idx="4477">
                  <c:v>-1.8264814909618732E-4</c:v>
                </c:pt>
                <c:pt idx="4478">
                  <c:v>-7.0087767970432591E-3</c:v>
                </c:pt>
                <c:pt idx="4479">
                  <c:v>-7.2830949452123983E-3</c:v>
                </c:pt>
                <c:pt idx="4480">
                  <c:v>-5.3604464363546933E-3</c:v>
                </c:pt>
                <c:pt idx="4481">
                  <c:v>-7.0876475886985091E-3</c:v>
                </c:pt>
                <c:pt idx="4482">
                  <c:v>-9.9096998620451515E-3</c:v>
                </c:pt>
                <c:pt idx="4483">
                  <c:v>-4.5371460673224728E-3</c:v>
                </c:pt>
                <c:pt idx="4484">
                  <c:v>0</c:v>
                </c:pt>
                <c:pt idx="4485">
                  <c:v>0</c:v>
                </c:pt>
                <c:pt idx="4486">
                  <c:v>0</c:v>
                </c:pt>
                <c:pt idx="4487">
                  <c:v>0</c:v>
                </c:pt>
                <c:pt idx="4488">
                  <c:v>0</c:v>
                </c:pt>
                <c:pt idx="4489">
                  <c:v>0</c:v>
                </c:pt>
                <c:pt idx="4490">
                  <c:v>0</c:v>
                </c:pt>
                <c:pt idx="4491">
                  <c:v>-1.6759293041566092E-3</c:v>
                </c:pt>
                <c:pt idx="4492">
                  <c:v>-3.9376532577614087E-3</c:v>
                </c:pt>
                <c:pt idx="4493">
                  <c:v>-6.9915236260875702E-5</c:v>
                </c:pt>
                <c:pt idx="4494">
                  <c:v>0</c:v>
                </c:pt>
                <c:pt idx="4495">
                  <c:v>-1.5467789022604039E-3</c:v>
                </c:pt>
                <c:pt idx="4496">
                  <c:v>0</c:v>
                </c:pt>
                <c:pt idx="4497">
                  <c:v>-3.6194517125782699E-3</c:v>
                </c:pt>
                <c:pt idx="4498">
                  <c:v>0</c:v>
                </c:pt>
                <c:pt idx="4499">
                  <c:v>0</c:v>
                </c:pt>
                <c:pt idx="4500">
                  <c:v>-4.3657928241422894E-3</c:v>
                </c:pt>
                <c:pt idx="4501">
                  <c:v>-1.2438086236097212E-2</c:v>
                </c:pt>
                <c:pt idx="4502">
                  <c:v>-7.1671120813620037E-3</c:v>
                </c:pt>
                <c:pt idx="4503">
                  <c:v>-8.9680562820290133E-3</c:v>
                </c:pt>
                <c:pt idx="4504">
                  <c:v>-5.3483400804268388E-3</c:v>
                </c:pt>
                <c:pt idx="4505">
                  <c:v>-4.7707866264588006E-3</c:v>
                </c:pt>
                <c:pt idx="4506">
                  <c:v>-5.727096742726423E-3</c:v>
                </c:pt>
                <c:pt idx="4507">
                  <c:v>-6.1835557043073974E-3</c:v>
                </c:pt>
                <c:pt idx="4508">
                  <c:v>-4.8999540850049872E-3</c:v>
                </c:pt>
                <c:pt idx="4509">
                  <c:v>-6.0002320977770029E-3</c:v>
                </c:pt>
                <c:pt idx="4510">
                  <c:v>-5.6625130134533297E-3</c:v>
                </c:pt>
                <c:pt idx="4511">
                  <c:v>-9.2529647127286285E-3</c:v>
                </c:pt>
                <c:pt idx="4512">
                  <c:v>-5.500717316680559E-3</c:v>
                </c:pt>
                <c:pt idx="4513">
                  <c:v>-3.809094532751911E-3</c:v>
                </c:pt>
                <c:pt idx="4514">
                  <c:v>-2.0892163672662223E-3</c:v>
                </c:pt>
                <c:pt idx="4515">
                  <c:v>-7.0584634118038281E-3</c:v>
                </c:pt>
                <c:pt idx="4516">
                  <c:v>-1.5279433950522781E-2</c:v>
                </c:pt>
                <c:pt idx="4517">
                  <c:v>-2.2392053510310705E-2</c:v>
                </c:pt>
                <c:pt idx="4518">
                  <c:v>-1.8233466817586197E-2</c:v>
                </c:pt>
                <c:pt idx="4519">
                  <c:v>-1.0559103362558497E-2</c:v>
                </c:pt>
                <c:pt idx="4520">
                  <c:v>-1.2307236909601227E-2</c:v>
                </c:pt>
                <c:pt idx="4521">
                  <c:v>-1.7577538317156471E-2</c:v>
                </c:pt>
                <c:pt idx="4522">
                  <c:v>-2.1496290640236726E-2</c:v>
                </c:pt>
                <c:pt idx="4523">
                  <c:v>-1.3893911133461168E-2</c:v>
                </c:pt>
                <c:pt idx="4524">
                  <c:v>-1.2040829026349731E-2</c:v>
                </c:pt>
                <c:pt idx="4525">
                  <c:v>-8.2559533920754102E-3</c:v>
                </c:pt>
                <c:pt idx="4526">
                  <c:v>-9.7148056517490922E-3</c:v>
                </c:pt>
                <c:pt idx="4527">
                  <c:v>-7.2071405385678577E-3</c:v>
                </c:pt>
                <c:pt idx="4528">
                  <c:v>-6.4361722703704105E-3</c:v>
                </c:pt>
                <c:pt idx="4529">
                  <c:v>-2.9160226513974541E-3</c:v>
                </c:pt>
                <c:pt idx="4530">
                  <c:v>-6.3503970049295644E-3</c:v>
                </c:pt>
                <c:pt idx="4531">
                  <c:v>-5.9635673764709685E-3</c:v>
                </c:pt>
                <c:pt idx="4532">
                  <c:v>-2.6220321337689922E-3</c:v>
                </c:pt>
                <c:pt idx="4533">
                  <c:v>-1.8187720009351649E-3</c:v>
                </c:pt>
                <c:pt idx="4534">
                  <c:v>0</c:v>
                </c:pt>
                <c:pt idx="4535">
                  <c:v>-7.1994554447318837E-4</c:v>
                </c:pt>
                <c:pt idx="4536">
                  <c:v>-2.42553881013019E-4</c:v>
                </c:pt>
                <c:pt idx="4537">
                  <c:v>-1.2996593845707727E-3</c:v>
                </c:pt>
                <c:pt idx="4538">
                  <c:v>0</c:v>
                </c:pt>
                <c:pt idx="4539">
                  <c:v>0</c:v>
                </c:pt>
                <c:pt idx="4540">
                  <c:v>0</c:v>
                </c:pt>
                <c:pt idx="4541">
                  <c:v>-6.6699211530751867E-4</c:v>
                </c:pt>
                <c:pt idx="4542">
                  <c:v>-2.1238520775989089E-3</c:v>
                </c:pt>
                <c:pt idx="4543">
                  <c:v>0</c:v>
                </c:pt>
                <c:pt idx="4544">
                  <c:v>-4.7477558050944557E-3</c:v>
                </c:pt>
                <c:pt idx="4545">
                  <c:v>-1.5349961906654386E-3</c:v>
                </c:pt>
                <c:pt idx="4546">
                  <c:v>0</c:v>
                </c:pt>
                <c:pt idx="4547">
                  <c:v>-3.4430593296578271E-3</c:v>
                </c:pt>
                <c:pt idx="4548">
                  <c:v>0</c:v>
                </c:pt>
                <c:pt idx="4549">
                  <c:v>0</c:v>
                </c:pt>
                <c:pt idx="4550">
                  <c:v>0</c:v>
                </c:pt>
                <c:pt idx="4551">
                  <c:v>0</c:v>
                </c:pt>
                <c:pt idx="4552">
                  <c:v>0</c:v>
                </c:pt>
                <c:pt idx="4553">
                  <c:v>0</c:v>
                </c:pt>
                <c:pt idx="4554">
                  <c:v>0</c:v>
                </c:pt>
                <c:pt idx="4555">
                  <c:v>-5.7835714692322515E-4</c:v>
                </c:pt>
                <c:pt idx="4556">
                  <c:v>0</c:v>
                </c:pt>
                <c:pt idx="4557">
                  <c:v>0</c:v>
                </c:pt>
                <c:pt idx="4558">
                  <c:v>-9.5031327530653575E-3</c:v>
                </c:pt>
                <c:pt idx="4559">
                  <c:v>-3.2055323962035809E-3</c:v>
                </c:pt>
                <c:pt idx="4560">
                  <c:v>0</c:v>
                </c:pt>
                <c:pt idx="4561">
                  <c:v>0</c:v>
                </c:pt>
                <c:pt idx="4562">
                  <c:v>0</c:v>
                </c:pt>
                <c:pt idx="4563">
                  <c:v>-3.3914201474709582E-3</c:v>
                </c:pt>
                <c:pt idx="4564">
                  <c:v>-7.0833786731749893E-3</c:v>
                </c:pt>
                <c:pt idx="4565">
                  <c:v>-1.805853503085697E-2</c:v>
                </c:pt>
                <c:pt idx="4566">
                  <c:v>-8.5786218760850463E-3</c:v>
                </c:pt>
                <c:pt idx="4567">
                  <c:v>-3.2783943996227416E-3</c:v>
                </c:pt>
                <c:pt idx="4568">
                  <c:v>-8.8380305409174742E-4</c:v>
                </c:pt>
                <c:pt idx="4569">
                  <c:v>0</c:v>
                </c:pt>
                <c:pt idx="4570">
                  <c:v>-9.6341964758472898E-4</c:v>
                </c:pt>
                <c:pt idx="4571">
                  <c:v>-4.518904577385352E-3</c:v>
                </c:pt>
                <c:pt idx="4572">
                  <c:v>-2.9295034158776101E-3</c:v>
                </c:pt>
                <c:pt idx="4573">
                  <c:v>-3.1910260113655609E-3</c:v>
                </c:pt>
                <c:pt idx="4574">
                  <c:v>-6.2511298869823984E-3</c:v>
                </c:pt>
                <c:pt idx="4575">
                  <c:v>-5.712322571555184E-3</c:v>
                </c:pt>
                <c:pt idx="4576">
                  <c:v>-1.0538106061727115E-3</c:v>
                </c:pt>
                <c:pt idx="4577">
                  <c:v>-1.8165044240101569E-3</c:v>
                </c:pt>
                <c:pt idx="4578">
                  <c:v>0</c:v>
                </c:pt>
                <c:pt idx="4579">
                  <c:v>0</c:v>
                </c:pt>
                <c:pt idx="4580">
                  <c:v>0</c:v>
                </c:pt>
                <c:pt idx="4581">
                  <c:v>0</c:v>
                </c:pt>
                <c:pt idx="4582">
                  <c:v>0</c:v>
                </c:pt>
                <c:pt idx="4583">
                  <c:v>0</c:v>
                </c:pt>
                <c:pt idx="4584">
                  <c:v>-1.6019240881154362E-3</c:v>
                </c:pt>
                <c:pt idx="4585">
                  <c:v>-2.013366312254572E-3</c:v>
                </c:pt>
                <c:pt idx="4586">
                  <c:v>-2.6418085665765867E-3</c:v>
                </c:pt>
                <c:pt idx="4587">
                  <c:v>-7.1292293957202491E-3</c:v>
                </c:pt>
                <c:pt idx="4588">
                  <c:v>-8.6495004710140933E-3</c:v>
                </c:pt>
                <c:pt idx="4589">
                  <c:v>-4.6427839547065197E-3</c:v>
                </c:pt>
                <c:pt idx="4590">
                  <c:v>-9.8269559788599636E-4</c:v>
                </c:pt>
                <c:pt idx="4591">
                  <c:v>-9.5314800959700463E-6</c:v>
                </c:pt>
                <c:pt idx="4592">
                  <c:v>0</c:v>
                </c:pt>
                <c:pt idx="4593">
                  <c:v>-3.2615750843086877E-3</c:v>
                </c:pt>
                <c:pt idx="4594">
                  <c:v>0</c:v>
                </c:pt>
                <c:pt idx="4595">
                  <c:v>0</c:v>
                </c:pt>
                <c:pt idx="4596">
                  <c:v>-1.6690742796635627E-3</c:v>
                </c:pt>
                <c:pt idx="4597">
                  <c:v>-2.1288534210165411E-3</c:v>
                </c:pt>
                <c:pt idx="4598">
                  <c:v>-3.2551856564111414E-4</c:v>
                </c:pt>
                <c:pt idx="4599">
                  <c:v>-7.8371444548797076E-4</c:v>
                </c:pt>
                <c:pt idx="4600">
                  <c:v>0</c:v>
                </c:pt>
                <c:pt idx="4601">
                  <c:v>-1.7654978855745629E-3</c:v>
                </c:pt>
                <c:pt idx="4602">
                  <c:v>-2.1017831971125167E-3</c:v>
                </c:pt>
                <c:pt idx="4603">
                  <c:v>-4.5521779530844908E-3</c:v>
                </c:pt>
                <c:pt idx="4604">
                  <c:v>-9.0819158148914836E-3</c:v>
                </c:pt>
                <c:pt idx="4605">
                  <c:v>-6.5904335678482751E-3</c:v>
                </c:pt>
                <c:pt idx="4606">
                  <c:v>-9.2494263554132594E-3</c:v>
                </c:pt>
                <c:pt idx="4607">
                  <c:v>-6.7626849727242533E-3</c:v>
                </c:pt>
                <c:pt idx="4608">
                  <c:v>-4.5120386348840302E-3</c:v>
                </c:pt>
                <c:pt idx="4609">
                  <c:v>-8.8404477904411305E-3</c:v>
                </c:pt>
                <c:pt idx="4610">
                  <c:v>-1.9079134507803519E-2</c:v>
                </c:pt>
                <c:pt idx="4611">
                  <c:v>-1.8258648916870679E-2</c:v>
                </c:pt>
                <c:pt idx="4612">
                  <c:v>-1.3296544225943396E-2</c:v>
                </c:pt>
                <c:pt idx="4613">
                  <c:v>-7.4516905922288323E-3</c:v>
                </c:pt>
                <c:pt idx="4614">
                  <c:v>-5.8094551798684169E-3</c:v>
                </c:pt>
                <c:pt idx="4615">
                  <c:v>-6.6289925979305941E-3</c:v>
                </c:pt>
                <c:pt idx="4616">
                  <c:v>-1.9185329869341738E-2</c:v>
                </c:pt>
                <c:pt idx="4617">
                  <c:v>-1.5995676331708952E-2</c:v>
                </c:pt>
                <c:pt idx="4618">
                  <c:v>-1.9702400141593857E-2</c:v>
                </c:pt>
                <c:pt idx="4619">
                  <c:v>-1.6089861503549296E-2</c:v>
                </c:pt>
                <c:pt idx="4620">
                  <c:v>-2.4630686666793244E-2</c:v>
                </c:pt>
                <c:pt idx="4621">
                  <c:v>-1.7516545616596879E-2</c:v>
                </c:pt>
                <c:pt idx="4622">
                  <c:v>-1.4469750124842862E-2</c:v>
                </c:pt>
                <c:pt idx="4623">
                  <c:v>-8.3236935758127517E-3</c:v>
                </c:pt>
                <c:pt idx="4624">
                  <c:v>-9.9804676388599578E-3</c:v>
                </c:pt>
                <c:pt idx="4625">
                  <c:v>-1.2649890328004676E-2</c:v>
                </c:pt>
                <c:pt idx="4626">
                  <c:v>-1.2756717804790152E-2</c:v>
                </c:pt>
                <c:pt idx="4627">
                  <c:v>-1.059203914057627E-2</c:v>
                </c:pt>
                <c:pt idx="4628">
                  <c:v>-1.0271872767844137E-3</c:v>
                </c:pt>
                <c:pt idx="4629">
                  <c:v>0</c:v>
                </c:pt>
                <c:pt idx="4630">
                  <c:v>0</c:v>
                </c:pt>
                <c:pt idx="4631">
                  <c:v>0</c:v>
                </c:pt>
                <c:pt idx="4632">
                  <c:v>0</c:v>
                </c:pt>
                <c:pt idx="4633">
                  <c:v>0</c:v>
                </c:pt>
                <c:pt idx="4634">
                  <c:v>-1.1698148971250877E-4</c:v>
                </c:pt>
                <c:pt idx="4635">
                  <c:v>0</c:v>
                </c:pt>
                <c:pt idx="4636">
                  <c:v>0</c:v>
                </c:pt>
                <c:pt idx="4637">
                  <c:v>-3.0953403351866582E-3</c:v>
                </c:pt>
                <c:pt idx="4638">
                  <c:v>-2.4689394000595444E-3</c:v>
                </c:pt>
                <c:pt idx="4639">
                  <c:v>0</c:v>
                </c:pt>
                <c:pt idx="4640">
                  <c:v>0</c:v>
                </c:pt>
                <c:pt idx="4641">
                  <c:v>0</c:v>
                </c:pt>
                <c:pt idx="4642">
                  <c:v>0</c:v>
                </c:pt>
                <c:pt idx="4643">
                  <c:v>0</c:v>
                </c:pt>
                <c:pt idx="4644">
                  <c:v>0</c:v>
                </c:pt>
                <c:pt idx="4645">
                  <c:v>-1.4203695220644796E-3</c:v>
                </c:pt>
                <c:pt idx="4646">
                  <c:v>-2.7527866849900162E-3</c:v>
                </c:pt>
                <c:pt idx="4647">
                  <c:v>-5.0004580852038849E-3</c:v>
                </c:pt>
                <c:pt idx="4648">
                  <c:v>-1.8469995419148066E-3</c:v>
                </c:pt>
                <c:pt idx="4649">
                  <c:v>0</c:v>
                </c:pt>
                <c:pt idx="4650">
                  <c:v>0</c:v>
                </c:pt>
                <c:pt idx="4651">
                  <c:v>0</c:v>
                </c:pt>
                <c:pt idx="4652">
                  <c:v>0</c:v>
                </c:pt>
                <c:pt idx="4653">
                  <c:v>-9.6311080568700635E-4</c:v>
                </c:pt>
                <c:pt idx="4654">
                  <c:v>-3.344050981548552E-4</c:v>
                </c:pt>
                <c:pt idx="4655">
                  <c:v>-4.4145091406566639E-4</c:v>
                </c:pt>
                <c:pt idx="4656">
                  <c:v>-2.6909207357392884E-3</c:v>
                </c:pt>
                <c:pt idx="4657">
                  <c:v>0</c:v>
                </c:pt>
                <c:pt idx="4658">
                  <c:v>0</c:v>
                </c:pt>
                <c:pt idx="4659">
                  <c:v>-2.1484211685115606E-2</c:v>
                </c:pt>
                <c:pt idx="4660">
                  <c:v>-1.392798211193047E-2</c:v>
                </c:pt>
                <c:pt idx="4661">
                  <c:v>-2.4551880876139909E-2</c:v>
                </c:pt>
                <c:pt idx="4662">
                  <c:v>-3.2546048123816007E-2</c:v>
                </c:pt>
                <c:pt idx="4663">
                  <c:v>-2.5967057221249368E-2</c:v>
                </c:pt>
                <c:pt idx="4664">
                  <c:v>-2.9373105453346704E-2</c:v>
                </c:pt>
                <c:pt idx="4665">
                  <c:v>-2.189868841275866E-2</c:v>
                </c:pt>
                <c:pt idx="4666">
                  <c:v>-5.8889984401477857E-3</c:v>
                </c:pt>
                <c:pt idx="4667">
                  <c:v>-8.8628238437813422E-3</c:v>
                </c:pt>
                <c:pt idx="4668">
                  <c:v>-1.0507195592710628E-2</c:v>
                </c:pt>
                <c:pt idx="4669">
                  <c:v>-8.3951088136761109E-3</c:v>
                </c:pt>
                <c:pt idx="4670">
                  <c:v>-1.2165403284652876E-2</c:v>
                </c:pt>
                <c:pt idx="4671">
                  <c:v>-1.7476299931963202E-2</c:v>
                </c:pt>
                <c:pt idx="4672">
                  <c:v>-7.9716086449378443E-3</c:v>
                </c:pt>
                <c:pt idx="4673">
                  <c:v>-1.3157681023763579E-2</c:v>
                </c:pt>
                <c:pt idx="4674">
                  <c:v>-1.6788112157763435E-2</c:v>
                </c:pt>
                <c:pt idx="4675">
                  <c:v>-2.654064729353911E-2</c:v>
                </c:pt>
                <c:pt idx="4676">
                  <c:v>-1.3903318039603207E-2</c:v>
                </c:pt>
                <c:pt idx="4677">
                  <c:v>-1.0370039288062571E-2</c:v>
                </c:pt>
                <c:pt idx="4678">
                  <c:v>-4.7102362517347229E-3</c:v>
                </c:pt>
                <c:pt idx="4679">
                  <c:v>-5.5115178209953486E-3</c:v>
                </c:pt>
                <c:pt idx="4680">
                  <c:v>0</c:v>
                </c:pt>
                <c:pt idx="4681">
                  <c:v>0</c:v>
                </c:pt>
                <c:pt idx="4682">
                  <c:v>-2.619983684292948E-3</c:v>
                </c:pt>
                <c:pt idx="4683">
                  <c:v>-2.54745611032825E-3</c:v>
                </c:pt>
                <c:pt idx="4684">
                  <c:v>-6.1144940662255509E-3</c:v>
                </c:pt>
                <c:pt idx="4685">
                  <c:v>0</c:v>
                </c:pt>
                <c:pt idx="4686">
                  <c:v>0</c:v>
                </c:pt>
                <c:pt idx="4687">
                  <c:v>-1.1417107674037141E-2</c:v>
                </c:pt>
                <c:pt idx="4688">
                  <c:v>-1.3020417129821604E-2</c:v>
                </c:pt>
                <c:pt idx="4689">
                  <c:v>-1.7554697184915535E-2</c:v>
                </c:pt>
                <c:pt idx="4690">
                  <c:v>-1.8135025173484864E-2</c:v>
                </c:pt>
                <c:pt idx="4691">
                  <c:v>-1.3659406431315024E-2</c:v>
                </c:pt>
                <c:pt idx="4692">
                  <c:v>-1.3681254777455076E-2</c:v>
                </c:pt>
                <c:pt idx="4693">
                  <c:v>-2.2897964632016876E-2</c:v>
                </c:pt>
                <c:pt idx="4694">
                  <c:v>-2.367073764206673E-2</c:v>
                </c:pt>
                <c:pt idx="4695">
                  <c:v>-2.1089041288585464E-2</c:v>
                </c:pt>
                <c:pt idx="4696">
                  <c:v>-2.8614150425563922E-2</c:v>
                </c:pt>
                <c:pt idx="4697">
                  <c:v>-3.4342906500451575E-2</c:v>
                </c:pt>
                <c:pt idx="4698">
                  <c:v>-3.7785068540955424E-2</c:v>
                </c:pt>
                <c:pt idx="4699">
                  <c:v>-5.0233238577355399E-2</c:v>
                </c:pt>
                <c:pt idx="4700">
                  <c:v>-5.2307634291009264E-2</c:v>
                </c:pt>
                <c:pt idx="4701">
                  <c:v>-5.7103495914957891E-2</c:v>
                </c:pt>
                <c:pt idx="4702">
                  <c:v>-5.6775471430444147E-2</c:v>
                </c:pt>
                <c:pt idx="4703">
                  <c:v>-5.4082139006959684E-2</c:v>
                </c:pt>
                <c:pt idx="4704">
                  <c:v>-4.3855616551349286E-2</c:v>
                </c:pt>
                <c:pt idx="4705">
                  <c:v>-3.4882231428456811E-2</c:v>
                </c:pt>
                <c:pt idx="4706">
                  <c:v>-3.1064457409791801E-2</c:v>
                </c:pt>
                <c:pt idx="4707">
                  <c:v>-2.7742910211677518E-2</c:v>
                </c:pt>
                <c:pt idx="4708">
                  <c:v>-4.8984590630830604E-2</c:v>
                </c:pt>
                <c:pt idx="4709">
                  <c:v>-4.8110357492815559E-2</c:v>
                </c:pt>
                <c:pt idx="4710">
                  <c:v>-4.8605387143714762E-2</c:v>
                </c:pt>
                <c:pt idx="4711">
                  <c:v>-4.3102596840549623E-2</c:v>
                </c:pt>
                <c:pt idx="4712">
                  <c:v>-3.2601623242330513E-2</c:v>
                </c:pt>
                <c:pt idx="4713">
                  <c:v>-4.3533577915093158E-2</c:v>
                </c:pt>
                <c:pt idx="4714">
                  <c:v>-5.0084789540568164E-2</c:v>
                </c:pt>
                <c:pt idx="4715">
                  <c:v>-5.0463993027684007E-2</c:v>
                </c:pt>
                <c:pt idx="4716">
                  <c:v>-4.4028008981166655E-2</c:v>
                </c:pt>
                <c:pt idx="4717">
                  <c:v>-4.2582426626968428E-2</c:v>
                </c:pt>
                <c:pt idx="4718">
                  <c:v>-5.393189421569522E-2</c:v>
                </c:pt>
                <c:pt idx="4719">
                  <c:v>-5.8064523852707439E-2</c:v>
                </c:pt>
                <c:pt idx="4720">
                  <c:v>-5.9674118449162483E-2</c:v>
                </c:pt>
                <c:pt idx="4721">
                  <c:v>-6.5473208241076386E-2</c:v>
                </c:pt>
                <c:pt idx="4722">
                  <c:v>-7.3540934522601686E-2</c:v>
                </c:pt>
                <c:pt idx="4723">
                  <c:v>-6.1630293659729607E-2</c:v>
                </c:pt>
                <c:pt idx="4724">
                  <c:v>-5.3144156585001712E-2</c:v>
                </c:pt>
                <c:pt idx="4725">
                  <c:v>-5.2230117556073874E-2</c:v>
                </c:pt>
                <c:pt idx="4726">
                  <c:v>-5.6339402384881665E-2</c:v>
                </c:pt>
                <c:pt idx="4727">
                  <c:v>-4.6159569545680013E-2</c:v>
                </c:pt>
                <c:pt idx="4728">
                  <c:v>-5.033529729014663E-2</c:v>
                </c:pt>
                <c:pt idx="4729">
                  <c:v>-5.1478295014925735E-2</c:v>
                </c:pt>
                <c:pt idx="4730">
                  <c:v>-6.7318944551291837E-2</c:v>
                </c:pt>
                <c:pt idx="4731">
                  <c:v>-7.2705908690673504E-2</c:v>
                </c:pt>
                <c:pt idx="4732">
                  <c:v>-6.3142618221999625E-2</c:v>
                </c:pt>
                <c:pt idx="4733">
                  <c:v>-6.3811237472367832E-2</c:v>
                </c:pt>
                <c:pt idx="4734">
                  <c:v>-6.7326127569200866E-2</c:v>
                </c:pt>
                <c:pt idx="4735">
                  <c:v>-7.1569495398977723E-2</c:v>
                </c:pt>
                <c:pt idx="4736">
                  <c:v>-6.1319628135162896E-2</c:v>
                </c:pt>
                <c:pt idx="4737">
                  <c:v>-4.6806939034734096E-2</c:v>
                </c:pt>
                <c:pt idx="4738">
                  <c:v>-4.3259426064897299E-2</c:v>
                </c:pt>
                <c:pt idx="4739">
                  <c:v>-3.282788830646588E-2</c:v>
                </c:pt>
                <c:pt idx="4740">
                  <c:v>-3.3553373115280838E-2</c:v>
                </c:pt>
                <c:pt idx="4741">
                  <c:v>-2.4922378512720167E-2</c:v>
                </c:pt>
                <c:pt idx="4742">
                  <c:v>-2.9334547263359823E-2</c:v>
                </c:pt>
                <c:pt idx="4743">
                  <c:v>-2.3521690020453678E-2</c:v>
                </c:pt>
                <c:pt idx="4744">
                  <c:v>-2.025102253252864E-2</c:v>
                </c:pt>
                <c:pt idx="4745">
                  <c:v>-1.6386259605041698E-2</c:v>
                </c:pt>
                <c:pt idx="4746">
                  <c:v>-1.3909914180893601E-2</c:v>
                </c:pt>
                <c:pt idx="4747">
                  <c:v>-2.0154051790756355E-2</c:v>
                </c:pt>
                <c:pt idx="4748">
                  <c:v>-2.6731301856151579E-2</c:v>
                </c:pt>
                <c:pt idx="4749">
                  <c:v>-2.1106100956119644E-2</c:v>
                </c:pt>
                <c:pt idx="4750">
                  <c:v>-1.2643907274421884E-2</c:v>
                </c:pt>
                <c:pt idx="4751">
                  <c:v>-1.7046199375436499E-2</c:v>
                </c:pt>
                <c:pt idx="4752">
                  <c:v>-2.3768007676251757E-2</c:v>
                </c:pt>
                <c:pt idx="4753">
                  <c:v>-2.2570838024741913E-2</c:v>
                </c:pt>
                <c:pt idx="4754">
                  <c:v>-2.0539241126129593E-2</c:v>
                </c:pt>
                <c:pt idx="4755">
                  <c:v>-3.1326338271059462E-2</c:v>
                </c:pt>
                <c:pt idx="4756">
                  <c:v>-3.2088935339071312E-2</c:v>
                </c:pt>
                <c:pt idx="4757">
                  <c:v>-2.4509354982949261E-2</c:v>
                </c:pt>
                <c:pt idx="4758">
                  <c:v>-2.6232082111472099E-2</c:v>
                </c:pt>
                <c:pt idx="4759">
                  <c:v>-2.5997736152188922E-2</c:v>
                </c:pt>
                <c:pt idx="4760">
                  <c:v>-2.8366336307701356E-2</c:v>
                </c:pt>
                <c:pt idx="4761">
                  <c:v>-2.1191399293789548E-2</c:v>
                </c:pt>
                <c:pt idx="4762">
                  <c:v>-2.3111659414811525E-2</c:v>
                </c:pt>
                <c:pt idx="4763">
                  <c:v>-3.0423971646234005E-2</c:v>
                </c:pt>
                <c:pt idx="4764">
                  <c:v>-4.3817905707326688E-2</c:v>
                </c:pt>
                <c:pt idx="4765">
                  <c:v>-3.9825644211954114E-2</c:v>
                </c:pt>
                <c:pt idx="4766">
                  <c:v>-5.207089399242304E-2</c:v>
                </c:pt>
                <c:pt idx="4767">
                  <c:v>-4.4826820431136727E-2</c:v>
                </c:pt>
                <c:pt idx="4768">
                  <c:v>-3.2278387436422751E-2</c:v>
                </c:pt>
                <c:pt idx="4769">
                  <c:v>-4.9500870043044154E-2</c:v>
                </c:pt>
                <c:pt idx="4770">
                  <c:v>-4.7404326690837495E-2</c:v>
                </c:pt>
                <c:pt idx="4771">
                  <c:v>-4.4884583866822036E-2</c:v>
                </c:pt>
                <c:pt idx="4772">
                  <c:v>-3.2885352449738336E-2</c:v>
                </c:pt>
                <c:pt idx="4773">
                  <c:v>-5.0579220606641884E-2</c:v>
                </c:pt>
                <c:pt idx="4774">
                  <c:v>-5.9402360938269783E-2</c:v>
                </c:pt>
                <c:pt idx="4775">
                  <c:v>-7.6751144943125515E-2</c:v>
                </c:pt>
                <c:pt idx="4776">
                  <c:v>-7.5812863228754468E-2</c:v>
                </c:pt>
                <c:pt idx="4777">
                  <c:v>-8.229583618409364E-2</c:v>
                </c:pt>
                <c:pt idx="4778">
                  <c:v>-7.6291731089358605E-2</c:v>
                </c:pt>
                <c:pt idx="4779">
                  <c:v>-6.1186742303845243E-2</c:v>
                </c:pt>
                <c:pt idx="4780">
                  <c:v>-6.298070102663289E-2</c:v>
                </c:pt>
                <c:pt idx="4781">
                  <c:v>-5.899951335053677E-2</c:v>
                </c:pt>
                <c:pt idx="4782">
                  <c:v>-7.6411747346922354E-2</c:v>
                </c:pt>
                <c:pt idx="4783">
                  <c:v>-8.412271707229757E-2</c:v>
                </c:pt>
                <c:pt idx="4784">
                  <c:v>-8.1539823549165003E-2</c:v>
                </c:pt>
                <c:pt idx="4785">
                  <c:v>-7.7066000561472503E-2</c:v>
                </c:pt>
                <c:pt idx="4786">
                  <c:v>-8.5166948300827161E-2</c:v>
                </c:pt>
                <c:pt idx="4787">
                  <c:v>-7.7807647160582971E-2</c:v>
                </c:pt>
                <c:pt idx="4788">
                  <c:v>-6.9834197989114166E-2</c:v>
                </c:pt>
                <c:pt idx="4789">
                  <c:v>-5.4922552102319666E-2</c:v>
                </c:pt>
                <c:pt idx="4790">
                  <c:v>-5.6891596886640583E-2</c:v>
                </c:pt>
                <c:pt idx="4791">
                  <c:v>-5.838865753585365E-2</c:v>
                </c:pt>
                <c:pt idx="4792">
                  <c:v>-6.0195485832394979E-2</c:v>
                </c:pt>
                <c:pt idx="4793">
                  <c:v>-5.2567420105386842E-2</c:v>
                </c:pt>
                <c:pt idx="4794">
                  <c:v>-6.1063433829739777E-2</c:v>
                </c:pt>
                <c:pt idx="4795">
                  <c:v>-5.9379914007303913E-2</c:v>
                </c:pt>
                <c:pt idx="4796">
                  <c:v>-5.3459910080587481E-2</c:v>
                </c:pt>
                <c:pt idx="4797">
                  <c:v>-6.0921868518448719E-2</c:v>
                </c:pt>
                <c:pt idx="4798">
                  <c:v>-7.0779064136568315E-2</c:v>
                </c:pt>
                <c:pt idx="4799">
                  <c:v>-8.2676835425686601E-2</c:v>
                </c:pt>
                <c:pt idx="4800">
                  <c:v>-0.10031952457998794</c:v>
                </c:pt>
                <c:pt idx="4801">
                  <c:v>-0.10370931044823828</c:v>
                </c:pt>
                <c:pt idx="4802">
                  <c:v>-9.4577599638933529E-2</c:v>
                </c:pt>
                <c:pt idx="4803">
                  <c:v>-0.1169966964103466</c:v>
                </c:pt>
                <c:pt idx="4804">
                  <c:v>-0.11526349404737324</c:v>
                </c:pt>
                <c:pt idx="4805">
                  <c:v>-0.11830789647116291</c:v>
                </c:pt>
                <c:pt idx="4806">
                  <c:v>-0.10780392994881494</c:v>
                </c:pt>
                <c:pt idx="4807">
                  <c:v>-0.11010728435832007</c:v>
                </c:pt>
                <c:pt idx="4808">
                  <c:v>-0.10286590442874943</c:v>
                </c:pt>
                <c:pt idx="4809">
                  <c:v>-8.7703451499963836E-2</c:v>
                </c:pt>
                <c:pt idx="4810">
                  <c:v>-9.0434195475057932E-2</c:v>
                </c:pt>
                <c:pt idx="4811">
                  <c:v>-9.4958598880526601E-2</c:v>
                </c:pt>
                <c:pt idx="4812">
                  <c:v>-9.3805724506122568E-2</c:v>
                </c:pt>
                <c:pt idx="4813">
                  <c:v>-9.9338144758162716E-2</c:v>
                </c:pt>
                <c:pt idx="4814">
                  <c:v>-9.1734621009010531E-2</c:v>
                </c:pt>
                <c:pt idx="4815">
                  <c:v>-9.3498351198097462E-2</c:v>
                </c:pt>
                <c:pt idx="4816">
                  <c:v>-8.4003897984385345E-2</c:v>
                </c:pt>
                <c:pt idx="4817">
                  <c:v>-7.969109431482102E-2</c:v>
                </c:pt>
                <c:pt idx="4818">
                  <c:v>-6.8580761363983167E-2</c:v>
                </c:pt>
                <c:pt idx="4819">
                  <c:v>-6.7923215932891412E-2</c:v>
                </c:pt>
                <c:pt idx="4820">
                  <c:v>-6.9463374689558988E-2</c:v>
                </c:pt>
                <c:pt idx="4821">
                  <c:v>-7.1550939269379388E-2</c:v>
                </c:pt>
                <c:pt idx="4822">
                  <c:v>-7.8768974390745372E-2</c:v>
                </c:pt>
                <c:pt idx="4823">
                  <c:v>-7.7643036333500337E-2</c:v>
                </c:pt>
                <c:pt idx="4824">
                  <c:v>-7.0159828134324753E-2</c:v>
                </c:pt>
                <c:pt idx="4825">
                  <c:v>-7.8476565703364143E-2</c:v>
                </c:pt>
                <c:pt idx="4826">
                  <c:v>-6.6490503152446867E-2</c:v>
                </c:pt>
                <c:pt idx="4827">
                  <c:v>-5.9960241995873353E-2</c:v>
                </c:pt>
                <c:pt idx="4828">
                  <c:v>-5.3576035536783917E-2</c:v>
                </c:pt>
                <c:pt idx="4829">
                  <c:v>-5.8453304697035358E-2</c:v>
                </c:pt>
                <c:pt idx="4830">
                  <c:v>-5.8297074057513165E-2</c:v>
                </c:pt>
                <c:pt idx="4831">
                  <c:v>-5.9290724868266365E-2</c:v>
                </c:pt>
                <c:pt idx="4832">
                  <c:v>-4.6179921429755688E-2</c:v>
                </c:pt>
                <c:pt idx="4833">
                  <c:v>-3.8951411073938957E-2</c:v>
                </c:pt>
                <c:pt idx="4834">
                  <c:v>-3.3158905715108267E-2</c:v>
                </c:pt>
                <c:pt idx="4835">
                  <c:v>-3.726759195909024E-2</c:v>
                </c:pt>
                <c:pt idx="4836">
                  <c:v>-3.817175433839326E-2</c:v>
                </c:pt>
                <c:pt idx="4837">
                  <c:v>-2.7003957244283061E-2</c:v>
                </c:pt>
                <c:pt idx="4838">
                  <c:v>-3.0029504246061434E-2</c:v>
                </c:pt>
                <c:pt idx="4839">
                  <c:v>-3.0309941236927651E-2</c:v>
                </c:pt>
                <c:pt idx="4840">
                  <c:v>-3.125301162990457E-2</c:v>
                </c:pt>
                <c:pt idx="4841">
                  <c:v>-3.5754369519581775E-2</c:v>
                </c:pt>
                <c:pt idx="4842">
                  <c:v>-2.9290551278667087E-2</c:v>
                </c:pt>
                <c:pt idx="4843">
                  <c:v>-2.9436905268564018E-2</c:v>
                </c:pt>
                <c:pt idx="4844">
                  <c:v>-1.4319346201709937E-2</c:v>
                </c:pt>
                <c:pt idx="4845">
                  <c:v>-8.3266142186643188E-3</c:v>
                </c:pt>
                <c:pt idx="4846">
                  <c:v>-7.8842600324313672E-3</c:v>
                </c:pt>
                <c:pt idx="4847">
                  <c:v>-1.1995939200542094E-2</c:v>
                </c:pt>
                <c:pt idx="4848">
                  <c:v>-8.0425857188435312E-3</c:v>
                </c:pt>
                <c:pt idx="4849">
                  <c:v>-1.2389508723475884E-2</c:v>
                </c:pt>
                <c:pt idx="4850">
                  <c:v>-1.9577913895967192E-2</c:v>
                </c:pt>
                <c:pt idx="4851">
                  <c:v>-2.2153624401190619E-2</c:v>
                </c:pt>
                <c:pt idx="4852">
                  <c:v>-2.1144111092554985E-2</c:v>
                </c:pt>
                <c:pt idx="4853">
                  <c:v>-1.1645168492649627E-2</c:v>
                </c:pt>
                <c:pt idx="4854">
                  <c:v>-3.3278024095433567E-2</c:v>
                </c:pt>
                <c:pt idx="4855">
                  <c:v>-3.6980271242727958E-2</c:v>
                </c:pt>
                <c:pt idx="4856">
                  <c:v>-4.3967252621352593E-2</c:v>
                </c:pt>
                <c:pt idx="4857">
                  <c:v>-5.2244483591892155E-2</c:v>
                </c:pt>
                <c:pt idx="4858">
                  <c:v>-4.852487748465073E-2</c:v>
                </c:pt>
                <c:pt idx="4859">
                  <c:v>-5.5087761514228117E-2</c:v>
                </c:pt>
                <c:pt idx="4860">
                  <c:v>-5.0868935662307102E-2</c:v>
                </c:pt>
                <c:pt idx="4861">
                  <c:v>-5.2462368468466858E-2</c:v>
                </c:pt>
                <c:pt idx="4862">
                  <c:v>-4.7641665574249314E-2</c:v>
                </c:pt>
                <c:pt idx="4863">
                  <c:v>-4.3302524172351697E-2</c:v>
                </c:pt>
                <c:pt idx="4864">
                  <c:v>-3.6795009239156684E-2</c:v>
                </c:pt>
                <c:pt idx="4865">
                  <c:v>-3.3103835911138857E-2</c:v>
                </c:pt>
                <c:pt idx="4866">
                  <c:v>-5.1231977359127545E-2</c:v>
                </c:pt>
                <c:pt idx="4867">
                  <c:v>-4.9776219062891536E-2</c:v>
                </c:pt>
                <c:pt idx="4868">
                  <c:v>-5.6363645070324653E-2</c:v>
                </c:pt>
                <c:pt idx="4869">
                  <c:v>-6.4531933602576697E-2</c:v>
                </c:pt>
                <c:pt idx="4870">
                  <c:v>-6.0211049037864672E-2</c:v>
                </c:pt>
                <c:pt idx="4871">
                  <c:v>-6.669013119183631E-2</c:v>
                </c:pt>
                <c:pt idx="4872">
                  <c:v>-6.7518572590681059E-2</c:v>
                </c:pt>
                <c:pt idx="4873">
                  <c:v>-7.1067881314995085E-2</c:v>
                </c:pt>
                <c:pt idx="4874">
                  <c:v>-7.7010032880264534E-2</c:v>
                </c:pt>
                <c:pt idx="4875">
                  <c:v>-8.1236041750094357E-2</c:v>
                </c:pt>
                <c:pt idx="4876">
                  <c:v>-8.1061853565799757E-2</c:v>
                </c:pt>
                <c:pt idx="4877">
                  <c:v>-7.1233390019316278E-2</c:v>
                </c:pt>
                <c:pt idx="4878">
                  <c:v>-9.0148969805585621E-2</c:v>
                </c:pt>
                <c:pt idx="4879">
                  <c:v>-9.7406810817864398E-2</c:v>
                </c:pt>
                <c:pt idx="4880">
                  <c:v>-8.4314264216539203E-2</c:v>
                </c:pt>
                <c:pt idx="4881">
                  <c:v>-7.2909726823843113E-2</c:v>
                </c:pt>
                <c:pt idx="4882">
                  <c:v>-7.0430987060391748E-2</c:v>
                </c:pt>
                <c:pt idx="4883">
                  <c:v>-7.4489092886597441E-2</c:v>
                </c:pt>
                <c:pt idx="4884">
                  <c:v>-8.7058476350212799E-2</c:v>
                </c:pt>
                <c:pt idx="4885">
                  <c:v>-8.7305093298423841E-2</c:v>
                </c:pt>
                <c:pt idx="4886">
                  <c:v>-9.2214985331678823E-2</c:v>
                </c:pt>
                <c:pt idx="4887">
                  <c:v>-9.4482125359225622E-2</c:v>
                </c:pt>
                <c:pt idx="4888">
                  <c:v>-8.316318559661251E-2</c:v>
                </c:pt>
                <c:pt idx="4889">
                  <c:v>-9.5127100508976659E-2</c:v>
                </c:pt>
                <c:pt idx="4890">
                  <c:v>-8.4108650328892476E-2</c:v>
                </c:pt>
                <c:pt idx="4891">
                  <c:v>-7.9634827341199976E-2</c:v>
                </c:pt>
                <c:pt idx="4892">
                  <c:v>-8.1223471468753639E-2</c:v>
                </c:pt>
                <c:pt idx="4893">
                  <c:v>-8.6923196179592099E-2</c:v>
                </c:pt>
                <c:pt idx="4894">
                  <c:v>-7.5134068036348478E-2</c:v>
                </c:pt>
                <c:pt idx="4895">
                  <c:v>-7.2159700037172092E-2</c:v>
                </c:pt>
                <c:pt idx="4896">
                  <c:v>-6.5091909707070572E-2</c:v>
                </c:pt>
                <c:pt idx="4897">
                  <c:v>-7.2135457351728993E-2</c:v>
                </c:pt>
                <c:pt idx="4898">
                  <c:v>-7.1307315245296987E-2</c:v>
                </c:pt>
                <c:pt idx="4899">
                  <c:v>-5.9661548167821543E-2</c:v>
                </c:pt>
                <c:pt idx="4900">
                  <c:v>-5.8717579897606176E-2</c:v>
                </c:pt>
                <c:pt idx="4901">
                  <c:v>-5.768921116695902E-2</c:v>
                </c:pt>
                <c:pt idx="4902">
                  <c:v>-6.9929971561234927E-2</c:v>
                </c:pt>
                <c:pt idx="4903">
                  <c:v>-7.1252245441327577E-2</c:v>
                </c:pt>
                <c:pt idx="4904">
                  <c:v>-6.9519342370766957E-2</c:v>
                </c:pt>
                <c:pt idx="4905">
                  <c:v>-6.9284397826658295E-2</c:v>
                </c:pt>
                <c:pt idx="4906">
                  <c:v>-6.7857371602058403E-2</c:v>
                </c:pt>
                <c:pt idx="4907">
                  <c:v>-7.6693381507439984E-2</c:v>
                </c:pt>
                <c:pt idx="4908">
                  <c:v>-5.3595788836033775E-2</c:v>
                </c:pt>
                <c:pt idx="4909">
                  <c:v>-5.5503777968127777E-2</c:v>
                </c:pt>
                <c:pt idx="4910">
                  <c:v>-5.9780666548146844E-2</c:v>
                </c:pt>
                <c:pt idx="4911">
                  <c:v>-5.5501084336411877E-2</c:v>
                </c:pt>
                <c:pt idx="4912">
                  <c:v>-6.2959451265318433E-2</c:v>
                </c:pt>
                <c:pt idx="4913">
                  <c:v>-6.2373436720904452E-2</c:v>
                </c:pt>
                <c:pt idx="4914">
                  <c:v>-5.9967425013782494E-2</c:v>
                </c:pt>
                <c:pt idx="4915">
                  <c:v>-5.6792231805565363E-2</c:v>
                </c:pt>
                <c:pt idx="4916">
                  <c:v>-5.0941065133810581E-2</c:v>
                </c:pt>
                <c:pt idx="4917">
                  <c:v>-5.0903952874613911E-2</c:v>
                </c:pt>
                <c:pt idx="4918">
                  <c:v>-5.0904551459439618E-2</c:v>
                </c:pt>
                <c:pt idx="4919">
                  <c:v>-5.2458477667099324E-2</c:v>
                </c:pt>
                <c:pt idx="4920">
                  <c:v>-5.9920735397373526E-2</c:v>
                </c:pt>
                <c:pt idx="4921">
                  <c:v>-5.804297479898024E-2</c:v>
                </c:pt>
                <c:pt idx="4922">
                  <c:v>-4.0360180461353368E-2</c:v>
                </c:pt>
                <c:pt idx="4923">
                  <c:v>-4.6572293783038066E-2</c:v>
                </c:pt>
                <c:pt idx="4924">
                  <c:v>-4.8626936197441961E-2</c:v>
                </c:pt>
                <c:pt idx="4925">
                  <c:v>-6.0721043309407974E-2</c:v>
                </c:pt>
                <c:pt idx="4926">
                  <c:v>-6.7119915096728322E-2</c:v>
                </c:pt>
                <c:pt idx="4927">
                  <c:v>-6.9279609148052201E-2</c:v>
                </c:pt>
                <c:pt idx="4928">
                  <c:v>-6.8223705515420452E-2</c:v>
                </c:pt>
                <c:pt idx="4929">
                  <c:v>-7.0140972712313565E-2</c:v>
                </c:pt>
                <c:pt idx="4930">
                  <c:v>-6.3283884240877719E-2</c:v>
                </c:pt>
                <c:pt idx="4931">
                  <c:v>-6.2601497539517048E-2</c:v>
                </c:pt>
                <c:pt idx="4932">
                  <c:v>-6.5889823279801862E-2</c:v>
                </c:pt>
                <c:pt idx="4933">
                  <c:v>-8.3291582041736922E-2</c:v>
                </c:pt>
                <c:pt idx="4934">
                  <c:v>-8.8390327587517525E-2</c:v>
                </c:pt>
                <c:pt idx="4935">
                  <c:v>-9.0595813378011703E-2</c:v>
                </c:pt>
                <c:pt idx="4936">
                  <c:v>-9.2926104104675833E-2</c:v>
                </c:pt>
                <c:pt idx="4937">
                  <c:v>-8.2456256917395776E-2</c:v>
                </c:pt>
                <c:pt idx="4938">
                  <c:v>-8.9554874366023829E-2</c:v>
                </c:pt>
                <c:pt idx="4939">
                  <c:v>-8.7831249360262431E-2</c:v>
                </c:pt>
                <c:pt idx="4940">
                  <c:v>-8.7551710246634995E-2</c:v>
                </c:pt>
                <c:pt idx="4941">
                  <c:v>-9.081669117871527E-2</c:v>
                </c:pt>
                <c:pt idx="4942">
                  <c:v>-9.5814575181356165E-2</c:v>
                </c:pt>
                <c:pt idx="4943">
                  <c:v>-8.8672261040448119E-2</c:v>
                </c:pt>
                <c:pt idx="4944">
                  <c:v>-9.2065638417653028E-2</c:v>
                </c:pt>
                <c:pt idx="4945">
                  <c:v>-9.0405762695834557E-2</c:v>
                </c:pt>
                <c:pt idx="4946">
                  <c:v>-8.3901539979181261E-2</c:v>
                </c:pt>
                <c:pt idx="4947">
                  <c:v>-8.1302185373340441E-2</c:v>
                </c:pt>
                <c:pt idx="4948">
                  <c:v>-8.4395073168016088E-2</c:v>
                </c:pt>
                <c:pt idx="4949">
                  <c:v>-7.4990108385754373E-2</c:v>
                </c:pt>
                <c:pt idx="4950">
                  <c:v>-8.0791592516971322E-2</c:v>
                </c:pt>
                <c:pt idx="4951">
                  <c:v>-7.8219174228289501E-2</c:v>
                </c:pt>
                <c:pt idx="4952">
                  <c:v>-7.1658385245602307E-2</c:v>
                </c:pt>
                <c:pt idx="4953">
                  <c:v>-7.0486356156774121E-2</c:v>
                </c:pt>
                <c:pt idx="4954">
                  <c:v>-6.841764699896502E-2</c:v>
                </c:pt>
                <c:pt idx="4955">
                  <c:v>-6.8149480997026779E-2</c:v>
                </c:pt>
                <c:pt idx="4956">
                  <c:v>-6.5997269256025004E-2</c:v>
                </c:pt>
                <c:pt idx="4957">
                  <c:v>-7.3241342817311317E-2</c:v>
                </c:pt>
                <c:pt idx="4958">
                  <c:v>-7.8366725387837954E-2</c:v>
                </c:pt>
                <c:pt idx="4959">
                  <c:v>-7.1571889738280769E-2</c:v>
                </c:pt>
                <c:pt idx="4960">
                  <c:v>-6.6050842597930037E-2</c:v>
                </c:pt>
                <c:pt idx="4961">
                  <c:v>-6.5944893083771272E-2</c:v>
                </c:pt>
                <c:pt idx="4962">
                  <c:v>-6.7663430118513834E-2</c:v>
                </c:pt>
                <c:pt idx="4963">
                  <c:v>-6.0003938688153569E-2</c:v>
                </c:pt>
                <c:pt idx="4964">
                  <c:v>-5.7074464550908699E-2</c:v>
                </c:pt>
                <c:pt idx="4965">
                  <c:v>-6.5336431608391532E-2</c:v>
                </c:pt>
                <c:pt idx="4966">
                  <c:v>-5.816748044273734E-2</c:v>
                </c:pt>
                <c:pt idx="4967">
                  <c:v>-5.6146658070988509E-2</c:v>
                </c:pt>
                <c:pt idx="4968">
                  <c:v>-4.6757555786609339E-2</c:v>
                </c:pt>
                <c:pt idx="4969">
                  <c:v>-5.0386177000335874E-2</c:v>
                </c:pt>
                <c:pt idx="4970">
                  <c:v>-4.870086142342267E-2</c:v>
                </c:pt>
                <c:pt idx="4971">
                  <c:v>-3.942728601041412E-2</c:v>
                </c:pt>
                <c:pt idx="4972">
                  <c:v>-4.60338667322715E-2</c:v>
                </c:pt>
                <c:pt idx="4973">
                  <c:v>-5.040383525269565E-2</c:v>
                </c:pt>
                <c:pt idx="4974">
                  <c:v>-4.7239117278929044E-2</c:v>
                </c:pt>
                <c:pt idx="4975">
                  <c:v>-4.3253739509052647E-2</c:v>
                </c:pt>
                <c:pt idx="4976">
                  <c:v>-4.2743745237509345E-2</c:v>
                </c:pt>
                <c:pt idx="4977">
                  <c:v>-3.9321935081081394E-2</c:v>
                </c:pt>
                <c:pt idx="4978">
                  <c:v>-4.4745113602421061E-2</c:v>
                </c:pt>
                <c:pt idx="4979">
                  <c:v>-4.6367877065042862E-2</c:v>
                </c:pt>
                <c:pt idx="4980">
                  <c:v>-4.7259768455417683E-2</c:v>
                </c:pt>
                <c:pt idx="4981">
                  <c:v>-5.7778699598409422E-2</c:v>
                </c:pt>
                <c:pt idx="4982">
                  <c:v>-5.6011078607955067E-2</c:v>
                </c:pt>
                <c:pt idx="4983">
                  <c:v>-5.2167864734195435E-2</c:v>
                </c:pt>
                <c:pt idx="4984">
                  <c:v>-5.6683289367277845E-2</c:v>
                </c:pt>
                <c:pt idx="4985">
                  <c:v>-5.6590508719285837E-2</c:v>
                </c:pt>
                <c:pt idx="4986">
                  <c:v>-5.8584394773875559E-2</c:v>
                </c:pt>
                <c:pt idx="4987">
                  <c:v>-6.4620524156788428E-2</c:v>
                </c:pt>
                <c:pt idx="4988">
                  <c:v>-5.7302525369521407E-2</c:v>
                </c:pt>
                <c:pt idx="4989">
                  <c:v>-4.6882660015192035E-2</c:v>
                </c:pt>
                <c:pt idx="4990">
                  <c:v>-5.0403535960282575E-2</c:v>
                </c:pt>
                <c:pt idx="4991">
                  <c:v>-5.415486706328887E-2</c:v>
                </c:pt>
                <c:pt idx="4992">
                  <c:v>-5.1637817870989311E-2</c:v>
                </c:pt>
                <c:pt idx="4993">
                  <c:v>-6.1059842320785096E-2</c:v>
                </c:pt>
                <c:pt idx="4994">
                  <c:v>-7.5573429298452566E-2</c:v>
                </c:pt>
                <c:pt idx="4995">
                  <c:v>-8.1496725441710716E-2</c:v>
                </c:pt>
                <c:pt idx="4996">
                  <c:v>-7.5290897260696266E-2</c:v>
                </c:pt>
                <c:pt idx="4997">
                  <c:v>-7.0021255747162559E-2</c:v>
                </c:pt>
                <c:pt idx="4998">
                  <c:v>-6.7322236767833554E-2</c:v>
                </c:pt>
                <c:pt idx="4999">
                  <c:v>-7.306565817095223E-2</c:v>
                </c:pt>
                <c:pt idx="5000">
                  <c:v>-7.2999813840119221E-2</c:v>
                </c:pt>
                <c:pt idx="5001">
                  <c:v>-6.8400587331431062E-2</c:v>
                </c:pt>
                <c:pt idx="5002">
                  <c:v>-7.5449522239521283E-2</c:v>
                </c:pt>
                <c:pt idx="5003">
                  <c:v>-7.7685236563716065E-2</c:v>
                </c:pt>
                <c:pt idx="5004">
                  <c:v>-7.1351011937577202E-2</c:v>
                </c:pt>
                <c:pt idx="5005">
                  <c:v>-7.0809891255094626E-2</c:v>
                </c:pt>
                <c:pt idx="5006">
                  <c:v>-7.341942180297345E-2</c:v>
                </c:pt>
                <c:pt idx="5007">
                  <c:v>-6.4513377472978362E-2</c:v>
                </c:pt>
                <c:pt idx="5008">
                  <c:v>-6.4256584582729426E-2</c:v>
                </c:pt>
                <c:pt idx="5009">
                  <c:v>-5.3130089841596395E-2</c:v>
                </c:pt>
                <c:pt idx="5010">
                  <c:v>-5.1584543821497242E-2</c:v>
                </c:pt>
                <c:pt idx="5011">
                  <c:v>-5.8550275438807642E-2</c:v>
                </c:pt>
                <c:pt idx="5012">
                  <c:v>-5.7341433383195417E-2</c:v>
                </c:pt>
                <c:pt idx="5013">
                  <c:v>-5.6985873996696967E-2</c:v>
                </c:pt>
                <c:pt idx="5014">
                  <c:v>-5.6893392641117813E-2</c:v>
                </c:pt>
                <c:pt idx="5015">
                  <c:v>-5.2733527394533852E-2</c:v>
                </c:pt>
                <c:pt idx="5016">
                  <c:v>-5.5305646390802821E-2</c:v>
                </c:pt>
                <c:pt idx="5017">
                  <c:v>-5.9167715686573863E-2</c:v>
                </c:pt>
                <c:pt idx="5018">
                  <c:v>-5.5031494540607073E-2</c:v>
                </c:pt>
                <c:pt idx="5019">
                  <c:v>-5.364038340555255E-2</c:v>
                </c:pt>
                <c:pt idx="5020">
                  <c:v>-4.7722773818139164E-2</c:v>
                </c:pt>
                <c:pt idx="5021">
                  <c:v>-4.8048104670937009E-2</c:v>
                </c:pt>
                <c:pt idx="5022">
                  <c:v>-4.8847514705732564E-2</c:v>
                </c:pt>
                <c:pt idx="5023">
                  <c:v>-5.2043957675264152E-2</c:v>
                </c:pt>
                <c:pt idx="5024">
                  <c:v>-5.2040665458722546E-2</c:v>
                </c:pt>
                <c:pt idx="5025">
                  <c:v>-5.4043230993285674E-2</c:v>
                </c:pt>
                <c:pt idx="5026">
                  <c:v>-5.9072839991691661E-2</c:v>
                </c:pt>
                <c:pt idx="5027">
                  <c:v>-6.582008814760143E-2</c:v>
                </c:pt>
                <c:pt idx="5028">
                  <c:v>-5.5637860969096731E-2</c:v>
                </c:pt>
                <c:pt idx="5029">
                  <c:v>-5.142292591854325E-2</c:v>
                </c:pt>
                <c:pt idx="5030">
                  <c:v>-4.9071385430565106E-2</c:v>
                </c:pt>
                <c:pt idx="5031">
                  <c:v>-5.5834496084357421E-2</c:v>
                </c:pt>
                <c:pt idx="5032">
                  <c:v>-6.204840516051946E-2</c:v>
                </c:pt>
                <c:pt idx="5033">
                  <c:v>-6.2500037411551523E-2</c:v>
                </c:pt>
                <c:pt idx="5034">
                  <c:v>-5.3376108204981731E-2</c:v>
                </c:pt>
                <c:pt idx="5035">
                  <c:v>-5.2202881946502022E-2</c:v>
                </c:pt>
                <c:pt idx="5036">
                  <c:v>-5.1312487018191466E-2</c:v>
                </c:pt>
                <c:pt idx="5037">
                  <c:v>-5.0158415474136131E-2</c:v>
                </c:pt>
                <c:pt idx="5038">
                  <c:v>-4.841294212223457E-2</c:v>
                </c:pt>
                <c:pt idx="5039">
                  <c:v>-4.6724334328779982E-2</c:v>
                </c:pt>
                <c:pt idx="5040">
                  <c:v>-4.4274027344551881E-2</c:v>
                </c:pt>
                <c:pt idx="5041">
                  <c:v>-4.8428804620117116E-2</c:v>
                </c:pt>
                <c:pt idx="5042">
                  <c:v>-4.0806425448953521E-2</c:v>
                </c:pt>
                <c:pt idx="5043">
                  <c:v>-3.3483937275493258E-2</c:v>
                </c:pt>
                <c:pt idx="5044">
                  <c:v>-3.311131822146085E-2</c:v>
                </c:pt>
                <c:pt idx="5045">
                  <c:v>-3.3310946260850183E-2</c:v>
                </c:pt>
                <c:pt idx="5046">
                  <c:v>-3.8761659684174665E-2</c:v>
                </c:pt>
                <c:pt idx="5047">
                  <c:v>-4.4335382289191871E-2</c:v>
                </c:pt>
                <c:pt idx="5048">
                  <c:v>-4.046972148446637E-2</c:v>
                </c:pt>
                <c:pt idx="5049">
                  <c:v>-3.1625032099111272E-2</c:v>
                </c:pt>
                <c:pt idx="5050">
                  <c:v>-3.0322810810681444E-2</c:v>
                </c:pt>
                <c:pt idx="5051">
                  <c:v>-3.2626763805012171E-2</c:v>
                </c:pt>
                <c:pt idx="5052">
                  <c:v>-3.4460827711125352E-2</c:v>
                </c:pt>
                <c:pt idx="5053">
                  <c:v>-3.1578941067528121E-2</c:v>
                </c:pt>
                <c:pt idx="5054">
                  <c:v>-2.1442206335780867E-2</c:v>
                </c:pt>
                <c:pt idx="5055">
                  <c:v>-2.145866741848923E-2</c:v>
                </c:pt>
                <c:pt idx="5056">
                  <c:v>-1.7882422377016205E-2</c:v>
                </c:pt>
                <c:pt idx="5057">
                  <c:v>-2.1916285517778911E-2</c:v>
                </c:pt>
                <c:pt idx="5058">
                  <c:v>-2.1792977043673334E-2</c:v>
                </c:pt>
                <c:pt idx="5059">
                  <c:v>-1.9874213384715844E-2</c:v>
                </c:pt>
                <c:pt idx="5060">
                  <c:v>-1.4670715494427999E-2</c:v>
                </c:pt>
                <c:pt idx="5061">
                  <c:v>-1.2808218809091554E-2</c:v>
                </c:pt>
                <c:pt idx="5062">
                  <c:v>-1.363276940656899E-2</c:v>
                </c:pt>
                <c:pt idx="5063">
                  <c:v>-1.0931056795523975E-2</c:v>
                </c:pt>
                <c:pt idx="5064">
                  <c:v>-1.2181500496525999E-2</c:v>
                </c:pt>
                <c:pt idx="5065">
                  <c:v>-1.4489344292224371E-2</c:v>
                </c:pt>
                <c:pt idx="5066">
                  <c:v>-1.5762534216605006E-2</c:v>
                </c:pt>
                <c:pt idx="5067">
                  <c:v>-2.2463990633344588E-2</c:v>
                </c:pt>
                <c:pt idx="5068">
                  <c:v>-2.2295788297307495E-2</c:v>
                </c:pt>
                <c:pt idx="5069">
                  <c:v>-2.3040427820546716E-2</c:v>
                </c:pt>
                <c:pt idx="5070">
                  <c:v>-2.6901599239078977E-2</c:v>
                </c:pt>
                <c:pt idx="5071">
                  <c:v>-2.3756933856975304E-2</c:v>
                </c:pt>
                <c:pt idx="5072">
                  <c:v>-1.9301666998881251E-2</c:v>
                </c:pt>
                <c:pt idx="5073">
                  <c:v>-1.6911517789641839E-2</c:v>
                </c:pt>
                <c:pt idx="5074">
                  <c:v>-1.00750804946943E-2</c:v>
                </c:pt>
                <c:pt idx="5075">
                  <c:v>-8.7794436393479058E-3</c:v>
                </c:pt>
                <c:pt idx="5076">
                  <c:v>-8.5465941421291047E-3</c:v>
                </c:pt>
                <c:pt idx="5077">
                  <c:v>-9.0922042108046996E-3</c:v>
                </c:pt>
                <c:pt idx="5078">
                  <c:v>-1.7883918839080581E-2</c:v>
                </c:pt>
                <c:pt idx="5079">
                  <c:v>-2.2246105756769885E-2</c:v>
                </c:pt>
                <c:pt idx="5080">
                  <c:v>-2.2402934981117673E-2</c:v>
                </c:pt>
                <c:pt idx="5081">
                  <c:v>-1.8123652061795448E-2</c:v>
                </c:pt>
                <c:pt idx="5082">
                  <c:v>-1.779083889867572E-2</c:v>
                </c:pt>
                <c:pt idx="5083">
                  <c:v>-1.479701689266244E-2</c:v>
                </c:pt>
                <c:pt idx="5084">
                  <c:v>-1.8646815199505284E-2</c:v>
                </c:pt>
                <c:pt idx="5085">
                  <c:v>-1.7005196314872406E-2</c:v>
                </c:pt>
                <c:pt idx="5086">
                  <c:v>-1.1976485193704978E-2</c:v>
                </c:pt>
                <c:pt idx="5087">
                  <c:v>-8.8192495302605867E-3</c:v>
                </c:pt>
                <c:pt idx="5088">
                  <c:v>-1.0367189889662787E-2</c:v>
                </c:pt>
                <c:pt idx="5089">
                  <c:v>-7.9740477562945111E-3</c:v>
                </c:pt>
                <c:pt idx="5090">
                  <c:v>-3.7618063374569299E-3</c:v>
                </c:pt>
                <c:pt idx="5091">
                  <c:v>0</c:v>
                </c:pt>
                <c:pt idx="5092">
                  <c:v>-1.504494328891437E-3</c:v>
                </c:pt>
                <c:pt idx="5093">
                  <c:v>0</c:v>
                </c:pt>
                <c:pt idx="5094">
                  <c:v>0</c:v>
                </c:pt>
                <c:pt idx="5095">
                  <c:v>0</c:v>
                </c:pt>
                <c:pt idx="5096">
                  <c:v>-1.0247261297426924E-3</c:v>
                </c:pt>
                <c:pt idx="5097">
                  <c:v>-8.3349747597220025E-3</c:v>
                </c:pt>
                <c:pt idx="5098">
                  <c:v>-1.1295195510247602E-2</c:v>
                </c:pt>
                <c:pt idx="5099">
                  <c:v>-1.753430184432847E-2</c:v>
                </c:pt>
                <c:pt idx="5100">
                  <c:v>-1.2464823389463198E-2</c:v>
                </c:pt>
                <c:pt idx="5101">
                  <c:v>-1.1781375096774793E-2</c:v>
                </c:pt>
                <c:pt idx="5102">
                  <c:v>-1.7494729087285776E-2</c:v>
                </c:pt>
                <c:pt idx="5103">
                  <c:v>-1.7572386903738302E-2</c:v>
                </c:pt>
                <c:pt idx="5104">
                  <c:v>-1.7644093929658156E-2</c:v>
                </c:pt>
                <c:pt idx="5105">
                  <c:v>-1.1976263486722871E-2</c:v>
                </c:pt>
                <c:pt idx="5106">
                  <c:v>-2.0911673011201226E-2</c:v>
                </c:pt>
                <c:pt idx="5107">
                  <c:v>-2.3634754758995902E-2</c:v>
                </c:pt>
                <c:pt idx="5108">
                  <c:v>-2.8403123212903392E-2</c:v>
                </c:pt>
                <c:pt idx="5109">
                  <c:v>-2.7771744337376614E-2</c:v>
                </c:pt>
                <c:pt idx="5110">
                  <c:v>-2.6309635103475282E-2</c:v>
                </c:pt>
                <c:pt idx="5111">
                  <c:v>-2.3567808365502319E-2</c:v>
                </c:pt>
                <c:pt idx="5112">
                  <c:v>-1.6200729685935222E-2</c:v>
                </c:pt>
                <c:pt idx="5113">
                  <c:v>-2.3813576014505733E-2</c:v>
                </c:pt>
                <c:pt idx="5114">
                  <c:v>-1.8226973862342732E-2</c:v>
                </c:pt>
                <c:pt idx="5115">
                  <c:v>-1.4726421331441863E-2</c:v>
                </c:pt>
                <c:pt idx="5116">
                  <c:v>-6.4292340916030088E-3</c:v>
                </c:pt>
                <c:pt idx="5117">
                  <c:v>-9.3239961462681098E-3</c:v>
                </c:pt>
                <c:pt idx="5118">
                  <c:v>-5.1248208068201961E-3</c:v>
                </c:pt>
                <c:pt idx="5119">
                  <c:v>-2.0943807280079385E-3</c:v>
                </c:pt>
                <c:pt idx="5120">
                  <c:v>-3.909669380030012E-4</c:v>
                </c:pt>
                <c:pt idx="5121">
                  <c:v>0</c:v>
                </c:pt>
                <c:pt idx="5122">
                  <c:v>-4.1495034242247097E-3</c:v>
                </c:pt>
                <c:pt idx="5123">
                  <c:v>-5.4855977416616852E-3</c:v>
                </c:pt>
                <c:pt idx="5124">
                  <c:v>-5.6966851838912147E-3</c:v>
                </c:pt>
                <c:pt idx="5125">
                  <c:v>-3.2388543600706532E-3</c:v>
                </c:pt>
                <c:pt idx="5126">
                  <c:v>-4.1025290356723199E-3</c:v>
                </c:pt>
                <c:pt idx="5127">
                  <c:v>-5.5920333815464573E-3</c:v>
                </c:pt>
                <c:pt idx="5128">
                  <c:v>0</c:v>
                </c:pt>
                <c:pt idx="5129">
                  <c:v>-5.9845467424691767E-3</c:v>
                </c:pt>
                <c:pt idx="5130">
                  <c:v>-7.555523508207318E-3</c:v>
                </c:pt>
                <c:pt idx="5131">
                  <c:v>-9.4155174441662437E-3</c:v>
                </c:pt>
                <c:pt idx="5132">
                  <c:v>-1.4502869780920302E-2</c:v>
                </c:pt>
                <c:pt idx="5133">
                  <c:v>-2.2848018932102199E-2</c:v>
                </c:pt>
                <c:pt idx="5134">
                  <c:v>-2.4108405671356081E-2</c:v>
                </c:pt>
                <c:pt idx="5135">
                  <c:v>-1.9072769085919705E-2</c:v>
                </c:pt>
                <c:pt idx="5136">
                  <c:v>-2.7656697248899298E-2</c:v>
                </c:pt>
                <c:pt idx="5137">
                  <c:v>-2.3971876087877653E-2</c:v>
                </c:pt>
                <c:pt idx="5138">
                  <c:v>-2.3728073260237736E-2</c:v>
                </c:pt>
                <c:pt idx="5139">
                  <c:v>-2.4429338848103943E-2</c:v>
                </c:pt>
                <c:pt idx="5140">
                  <c:v>-2.3172202813218523E-2</c:v>
                </c:pt>
                <c:pt idx="5141">
                  <c:v>-3.1131404700282084E-2</c:v>
                </c:pt>
                <c:pt idx="5142">
                  <c:v>-2.9170343410319877E-2</c:v>
                </c:pt>
                <c:pt idx="5143">
                  <c:v>-2.9920369563714022E-2</c:v>
                </c:pt>
                <c:pt idx="5144">
                  <c:v>-2.3820275056872564E-2</c:v>
                </c:pt>
                <c:pt idx="5145">
                  <c:v>-2.0401420616912747E-2</c:v>
                </c:pt>
                <c:pt idx="5146">
                  <c:v>-1.7224300374540147E-2</c:v>
                </c:pt>
                <c:pt idx="5147">
                  <c:v>-1.5892989176336525E-2</c:v>
                </c:pt>
                <c:pt idx="5148">
                  <c:v>-1.5728385327857142E-2</c:v>
                </c:pt>
                <c:pt idx="5149">
                  <c:v>-1.7159286287169451E-2</c:v>
                </c:pt>
                <c:pt idx="5150">
                  <c:v>-1.4876405264722559E-2</c:v>
                </c:pt>
                <c:pt idx="5151">
                  <c:v>-1.6100147700185752E-2</c:v>
                </c:pt>
                <c:pt idx="5152">
                  <c:v>-2.2228020953449334E-2</c:v>
                </c:pt>
                <c:pt idx="5153">
                  <c:v>-3.0420386999310267E-2</c:v>
                </c:pt>
                <c:pt idx="5154">
                  <c:v>-3.9411539764093284E-2</c:v>
                </c:pt>
                <c:pt idx="5155">
                  <c:v>-4.3239687435909446E-2</c:v>
                </c:pt>
                <c:pt idx="5156">
                  <c:v>-3.7529677453291721E-2</c:v>
                </c:pt>
                <c:pt idx="5157">
                  <c:v>-4.4301781208682778E-2</c:v>
                </c:pt>
                <c:pt idx="5158">
                  <c:v>-4.8641176022095278E-2</c:v>
                </c:pt>
                <c:pt idx="5159">
                  <c:v>-5.3158473020040287E-2</c:v>
                </c:pt>
                <c:pt idx="5160">
                  <c:v>-4.9378790395173344E-2</c:v>
                </c:pt>
                <c:pt idx="5161">
                  <c:v>-4.3601402176553394E-2</c:v>
                </c:pt>
                <c:pt idx="5162">
                  <c:v>-3.4395998442025899E-2</c:v>
                </c:pt>
                <c:pt idx="5163">
                  <c:v>-2.6270715113588472E-2</c:v>
                </c:pt>
                <c:pt idx="5164">
                  <c:v>-2.6081583223055649E-2</c:v>
                </c:pt>
                <c:pt idx="5165">
                  <c:v>-2.6193584764480415E-2</c:v>
                </c:pt>
                <c:pt idx="5166">
                  <c:v>-2.2117792523498103E-2</c:v>
                </c:pt>
                <c:pt idx="5167">
                  <c:v>-2.335483329501431E-2</c:v>
                </c:pt>
                <c:pt idx="5168">
                  <c:v>-2.6327750199327205E-2</c:v>
                </c:pt>
                <c:pt idx="5169">
                  <c:v>-1.8364411052158358E-2</c:v>
                </c:pt>
                <c:pt idx="5170">
                  <c:v>-1.8471979814899009E-2</c:v>
                </c:pt>
                <c:pt idx="5171">
                  <c:v>-1.3175695842821855E-2</c:v>
                </c:pt>
                <c:pt idx="5172">
                  <c:v>-1.2914457419023417E-2</c:v>
                </c:pt>
                <c:pt idx="5173">
                  <c:v>-1.3581442851730685E-2</c:v>
                </c:pt>
                <c:pt idx="5174">
                  <c:v>-1.1770504999878861E-2</c:v>
                </c:pt>
                <c:pt idx="5175">
                  <c:v>-1.040993746235841E-2</c:v>
                </c:pt>
                <c:pt idx="5176">
                  <c:v>-1.0876856817111147E-2</c:v>
                </c:pt>
                <c:pt idx="5177">
                  <c:v>-5.6668642700897776E-3</c:v>
                </c:pt>
                <c:pt idx="5178">
                  <c:v>-7.7558851047406785E-3</c:v>
                </c:pt>
                <c:pt idx="5179">
                  <c:v>-7.9651122586424927E-3</c:v>
                </c:pt>
                <c:pt idx="5180">
                  <c:v>-8.5738805312951527E-3</c:v>
                </c:pt>
                <c:pt idx="5181">
                  <c:v>-1.0794998170739922E-2</c:v>
                </c:pt>
                <c:pt idx="5182">
                  <c:v>-9.8357448634437405E-3</c:v>
                </c:pt>
                <c:pt idx="5183">
                  <c:v>-3.9366029902933031E-3</c:v>
                </c:pt>
                <c:pt idx="5184">
                  <c:v>0</c:v>
                </c:pt>
                <c:pt idx="5185">
                  <c:v>-2.2995159996355152E-3</c:v>
                </c:pt>
                <c:pt idx="5186">
                  <c:v>-1.9533396612878562E-3</c:v>
                </c:pt>
                <c:pt idx="5187">
                  <c:v>-1.9324750432720972E-3</c:v>
                </c:pt>
                <c:pt idx="5188">
                  <c:v>0</c:v>
                </c:pt>
                <c:pt idx="5189">
                  <c:v>0</c:v>
                </c:pt>
                <c:pt idx="5190">
                  <c:v>0</c:v>
                </c:pt>
                <c:pt idx="5191">
                  <c:v>0</c:v>
                </c:pt>
                <c:pt idx="5192">
                  <c:v>0</c:v>
                </c:pt>
                <c:pt idx="5193">
                  <c:v>-6.2997220005209797E-3</c:v>
                </c:pt>
                <c:pt idx="5194">
                  <c:v>-1.8055368060960753E-3</c:v>
                </c:pt>
                <c:pt idx="5195">
                  <c:v>-1.3436015169284721E-3</c:v>
                </c:pt>
                <c:pt idx="5196">
                  <c:v>-4.0094133046042479E-4</c:v>
                </c:pt>
                <c:pt idx="5197">
                  <c:v>-6.6466070737383198E-3</c:v>
                </c:pt>
                <c:pt idx="5198">
                  <c:v>-2.5999036237638329E-3</c:v>
                </c:pt>
                <c:pt idx="5199">
                  <c:v>-2.533995459852556E-3</c:v>
                </c:pt>
                <c:pt idx="5200">
                  <c:v>-2.5079790793611778E-3</c:v>
                </c:pt>
                <c:pt idx="5201">
                  <c:v>-1.1025163910423075E-3</c:v>
                </c:pt>
                <c:pt idx="5202">
                  <c:v>-2.7993625408638811E-3</c:v>
                </c:pt>
                <c:pt idx="5203">
                  <c:v>-2.6189823027907844E-3</c:v>
                </c:pt>
                <c:pt idx="5204">
                  <c:v>-1.1158136521824957E-3</c:v>
                </c:pt>
                <c:pt idx="5205">
                  <c:v>-6.5214393764856382E-4</c:v>
                </c:pt>
                <c:pt idx="5206">
                  <c:v>0</c:v>
                </c:pt>
                <c:pt idx="5207">
                  <c:v>-4.0043776573061018E-3</c:v>
                </c:pt>
                <c:pt idx="5208">
                  <c:v>-7.9590617390671303E-3</c:v>
                </c:pt>
                <c:pt idx="5209">
                  <c:v>-7.6542552146473541E-3</c:v>
                </c:pt>
                <c:pt idx="5210">
                  <c:v>0</c:v>
                </c:pt>
                <c:pt idx="5211">
                  <c:v>0</c:v>
                </c:pt>
                <c:pt idx="5212">
                  <c:v>0</c:v>
                </c:pt>
                <c:pt idx="5213">
                  <c:v>0</c:v>
                </c:pt>
                <c:pt idx="5214">
                  <c:v>0</c:v>
                </c:pt>
                <c:pt idx="5215">
                  <c:v>-1.9876346687208724E-4</c:v>
                </c:pt>
                <c:pt idx="5216">
                  <c:v>0</c:v>
                </c:pt>
                <c:pt idx="5217">
                  <c:v>-4.1875497816079577E-3</c:v>
                </c:pt>
                <c:pt idx="5218">
                  <c:v>0</c:v>
                </c:pt>
                <c:pt idx="5219">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5A-468C-9B16-82FA8720DDC8}"/>
            </c:ext>
          </c:extLst>
        </c:ser>
        <c:dLbls>
          <c:showLegendKey val="0"/>
          <c:showVal val="0"/>
          <c:showCatName val="0"/>
          <c:showSerName val="0"/>
          <c:showPercent val="0"/>
          <c:showBubbleSize val="0"/>
        </c:dLbls>
        <c:axId val="498632687"/>
        <c:axId val="742499583"/>
      </c:areaChart>
      <c:dateAx>
        <c:axId val="498632687"/>
        <c:scaling>
          <c:orientation val="minMax"/>
        </c:scaling>
        <c:delete val="0"/>
        <c:axPos val="b"/>
        <c:numFmt formatCode="m/d/yy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742499583"/>
        <c:crosses val="autoZero"/>
        <c:auto val="1"/>
        <c:lblOffset val="100"/>
        <c:baseTimeUnit val="days"/>
      </c:dateAx>
      <c:valAx>
        <c:axId val="742499583"/>
        <c:scaling>
          <c:orientation val="minMax"/>
          <c:max val="0"/>
          <c:min val="-0.55000000000000004"/>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498632687"/>
        <c:crosses val="autoZero"/>
        <c:crossBetween val="midCat"/>
      </c:valAx>
      <c:spPr>
        <a:noFill/>
        <a:ln>
          <a:noFill/>
        </a:ln>
        <a:effectLst/>
      </c:spPr>
    </c:plotArea>
    <c:plotVisOnly val="1"/>
    <c:dispBlanksAs val="zero"/>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ndard"/>
        <c:varyColors val="0"/>
        <c:ser>
          <c:idx val="0"/>
          <c:order val="0"/>
          <c:tx>
            <c:strRef>
              <c:f>'Portfolio 50-50'!$D$1</c:f>
              <c:strCache>
                <c:ptCount val="1"/>
                <c:pt idx="0">
                  <c:v>Wypłata</c:v>
                </c:pt>
              </c:strCache>
            </c:strRef>
          </c:tx>
          <c:spPr>
            <a:solidFill>
              <a:srgbClr val="FF0000">
                <a:alpha val="43137"/>
              </a:srgbClr>
            </a:solidFill>
            <a:ln w="12700">
              <a:solidFill>
                <a:srgbClr val="C00000"/>
              </a:solidFill>
            </a:ln>
            <a:effectLst/>
          </c:spPr>
          <c:cat>
            <c:numRef>
              <c:f>'Portfolio 70-30'!$A$2:$A$5221</c:f>
              <c:numCache>
                <c:formatCode>m/d/yyyy</c:formatCode>
                <c:ptCount val="5220"/>
                <c:pt idx="0">
                  <c:v>38005</c:v>
                </c:pt>
                <c:pt idx="1">
                  <c:v>38006</c:v>
                </c:pt>
                <c:pt idx="2">
                  <c:v>38007</c:v>
                </c:pt>
                <c:pt idx="3">
                  <c:v>38008</c:v>
                </c:pt>
                <c:pt idx="4">
                  <c:v>38009</c:v>
                </c:pt>
                <c:pt idx="5">
                  <c:v>38012</c:v>
                </c:pt>
                <c:pt idx="6">
                  <c:v>38013</c:v>
                </c:pt>
                <c:pt idx="7">
                  <c:v>38014</c:v>
                </c:pt>
                <c:pt idx="8">
                  <c:v>38015</c:v>
                </c:pt>
                <c:pt idx="9">
                  <c:v>38016</c:v>
                </c:pt>
                <c:pt idx="10">
                  <c:v>38019</c:v>
                </c:pt>
                <c:pt idx="11">
                  <c:v>38020</c:v>
                </c:pt>
                <c:pt idx="12">
                  <c:v>38021</c:v>
                </c:pt>
                <c:pt idx="13">
                  <c:v>38022</c:v>
                </c:pt>
                <c:pt idx="14">
                  <c:v>38023</c:v>
                </c:pt>
                <c:pt idx="15">
                  <c:v>38026</c:v>
                </c:pt>
                <c:pt idx="16">
                  <c:v>38027</c:v>
                </c:pt>
                <c:pt idx="17">
                  <c:v>38028</c:v>
                </c:pt>
                <c:pt idx="18">
                  <c:v>38029</c:v>
                </c:pt>
                <c:pt idx="19">
                  <c:v>38030</c:v>
                </c:pt>
                <c:pt idx="20">
                  <c:v>38033</c:v>
                </c:pt>
                <c:pt idx="21">
                  <c:v>38034</c:v>
                </c:pt>
                <c:pt idx="22">
                  <c:v>38035</c:v>
                </c:pt>
                <c:pt idx="23">
                  <c:v>38036</c:v>
                </c:pt>
                <c:pt idx="24">
                  <c:v>38037</c:v>
                </c:pt>
                <c:pt idx="25">
                  <c:v>38040</c:v>
                </c:pt>
                <c:pt idx="26">
                  <c:v>38041</c:v>
                </c:pt>
                <c:pt idx="27">
                  <c:v>38042</c:v>
                </c:pt>
                <c:pt idx="28">
                  <c:v>38043</c:v>
                </c:pt>
                <c:pt idx="29">
                  <c:v>38044</c:v>
                </c:pt>
                <c:pt idx="30">
                  <c:v>38047</c:v>
                </c:pt>
                <c:pt idx="31">
                  <c:v>38048</c:v>
                </c:pt>
                <c:pt idx="32">
                  <c:v>38049</c:v>
                </c:pt>
                <c:pt idx="33">
                  <c:v>38050</c:v>
                </c:pt>
                <c:pt idx="34">
                  <c:v>38051</c:v>
                </c:pt>
                <c:pt idx="35">
                  <c:v>38054</c:v>
                </c:pt>
                <c:pt idx="36">
                  <c:v>38055</c:v>
                </c:pt>
                <c:pt idx="37">
                  <c:v>38056</c:v>
                </c:pt>
                <c:pt idx="38">
                  <c:v>38057</c:v>
                </c:pt>
                <c:pt idx="39">
                  <c:v>38058</c:v>
                </c:pt>
                <c:pt idx="40">
                  <c:v>38061</c:v>
                </c:pt>
                <c:pt idx="41">
                  <c:v>38062</c:v>
                </c:pt>
                <c:pt idx="42">
                  <c:v>38063</c:v>
                </c:pt>
                <c:pt idx="43">
                  <c:v>38064</c:v>
                </c:pt>
                <c:pt idx="44">
                  <c:v>38065</c:v>
                </c:pt>
                <c:pt idx="45">
                  <c:v>38068</c:v>
                </c:pt>
                <c:pt idx="46">
                  <c:v>38069</c:v>
                </c:pt>
                <c:pt idx="47">
                  <c:v>38070</c:v>
                </c:pt>
                <c:pt idx="48">
                  <c:v>38071</c:v>
                </c:pt>
                <c:pt idx="49">
                  <c:v>38072</c:v>
                </c:pt>
                <c:pt idx="50">
                  <c:v>38075</c:v>
                </c:pt>
                <c:pt idx="51">
                  <c:v>38076</c:v>
                </c:pt>
                <c:pt idx="52">
                  <c:v>38077</c:v>
                </c:pt>
                <c:pt idx="53">
                  <c:v>38078</c:v>
                </c:pt>
                <c:pt idx="54">
                  <c:v>38079</c:v>
                </c:pt>
                <c:pt idx="55">
                  <c:v>38082</c:v>
                </c:pt>
                <c:pt idx="56">
                  <c:v>38083</c:v>
                </c:pt>
                <c:pt idx="57">
                  <c:v>38084</c:v>
                </c:pt>
                <c:pt idx="58">
                  <c:v>38085</c:v>
                </c:pt>
                <c:pt idx="59">
                  <c:v>38086</c:v>
                </c:pt>
                <c:pt idx="60">
                  <c:v>38089</c:v>
                </c:pt>
                <c:pt idx="61">
                  <c:v>38090</c:v>
                </c:pt>
                <c:pt idx="62">
                  <c:v>38091</c:v>
                </c:pt>
                <c:pt idx="63">
                  <c:v>38092</c:v>
                </c:pt>
                <c:pt idx="64">
                  <c:v>38093</c:v>
                </c:pt>
                <c:pt idx="65">
                  <c:v>38096</c:v>
                </c:pt>
                <c:pt idx="66">
                  <c:v>38097</c:v>
                </c:pt>
                <c:pt idx="67">
                  <c:v>38098</c:v>
                </c:pt>
                <c:pt idx="68">
                  <c:v>38099</c:v>
                </c:pt>
                <c:pt idx="69">
                  <c:v>38100</c:v>
                </c:pt>
                <c:pt idx="70">
                  <c:v>38103</c:v>
                </c:pt>
                <c:pt idx="71">
                  <c:v>38104</c:v>
                </c:pt>
                <c:pt idx="72">
                  <c:v>38105</c:v>
                </c:pt>
                <c:pt idx="73">
                  <c:v>38106</c:v>
                </c:pt>
                <c:pt idx="74">
                  <c:v>38107</c:v>
                </c:pt>
                <c:pt idx="75">
                  <c:v>38110</c:v>
                </c:pt>
                <c:pt idx="76">
                  <c:v>38111</c:v>
                </c:pt>
                <c:pt idx="77">
                  <c:v>38112</c:v>
                </c:pt>
                <c:pt idx="78">
                  <c:v>38113</c:v>
                </c:pt>
                <c:pt idx="79">
                  <c:v>38114</c:v>
                </c:pt>
                <c:pt idx="80">
                  <c:v>38117</c:v>
                </c:pt>
                <c:pt idx="81">
                  <c:v>38118</c:v>
                </c:pt>
                <c:pt idx="82">
                  <c:v>38119</c:v>
                </c:pt>
                <c:pt idx="83">
                  <c:v>38120</c:v>
                </c:pt>
                <c:pt idx="84">
                  <c:v>38121</c:v>
                </c:pt>
                <c:pt idx="85">
                  <c:v>38124</c:v>
                </c:pt>
                <c:pt idx="86">
                  <c:v>38125</c:v>
                </c:pt>
                <c:pt idx="87">
                  <c:v>38126</c:v>
                </c:pt>
                <c:pt idx="88">
                  <c:v>38127</c:v>
                </c:pt>
                <c:pt idx="89">
                  <c:v>38128</c:v>
                </c:pt>
                <c:pt idx="90">
                  <c:v>38131</c:v>
                </c:pt>
                <c:pt idx="91">
                  <c:v>38132</c:v>
                </c:pt>
                <c:pt idx="92">
                  <c:v>38133</c:v>
                </c:pt>
                <c:pt idx="93">
                  <c:v>38134</c:v>
                </c:pt>
                <c:pt idx="94">
                  <c:v>38135</c:v>
                </c:pt>
                <c:pt idx="95">
                  <c:v>38138</c:v>
                </c:pt>
                <c:pt idx="96">
                  <c:v>38139</c:v>
                </c:pt>
                <c:pt idx="97">
                  <c:v>38140</c:v>
                </c:pt>
                <c:pt idx="98">
                  <c:v>38141</c:v>
                </c:pt>
                <c:pt idx="99">
                  <c:v>38142</c:v>
                </c:pt>
                <c:pt idx="100">
                  <c:v>38145</c:v>
                </c:pt>
                <c:pt idx="101">
                  <c:v>38146</c:v>
                </c:pt>
                <c:pt idx="102">
                  <c:v>38147</c:v>
                </c:pt>
                <c:pt idx="103">
                  <c:v>38148</c:v>
                </c:pt>
                <c:pt idx="104">
                  <c:v>38149</c:v>
                </c:pt>
                <c:pt idx="105">
                  <c:v>38152</c:v>
                </c:pt>
                <c:pt idx="106">
                  <c:v>38153</c:v>
                </c:pt>
                <c:pt idx="107">
                  <c:v>38154</c:v>
                </c:pt>
                <c:pt idx="108">
                  <c:v>38155</c:v>
                </c:pt>
                <c:pt idx="109">
                  <c:v>38156</c:v>
                </c:pt>
                <c:pt idx="110">
                  <c:v>38159</c:v>
                </c:pt>
                <c:pt idx="111">
                  <c:v>38160</c:v>
                </c:pt>
                <c:pt idx="112">
                  <c:v>38161</c:v>
                </c:pt>
                <c:pt idx="113">
                  <c:v>38162</c:v>
                </c:pt>
                <c:pt idx="114">
                  <c:v>38163</c:v>
                </c:pt>
                <c:pt idx="115">
                  <c:v>38166</c:v>
                </c:pt>
                <c:pt idx="116">
                  <c:v>38167</c:v>
                </c:pt>
                <c:pt idx="117">
                  <c:v>38168</c:v>
                </c:pt>
                <c:pt idx="118">
                  <c:v>38169</c:v>
                </c:pt>
                <c:pt idx="119">
                  <c:v>38170</c:v>
                </c:pt>
                <c:pt idx="120">
                  <c:v>38173</c:v>
                </c:pt>
                <c:pt idx="121">
                  <c:v>38174</c:v>
                </c:pt>
                <c:pt idx="122">
                  <c:v>38175</c:v>
                </c:pt>
                <c:pt idx="123">
                  <c:v>38176</c:v>
                </c:pt>
                <c:pt idx="124">
                  <c:v>38177</c:v>
                </c:pt>
                <c:pt idx="125">
                  <c:v>38180</c:v>
                </c:pt>
                <c:pt idx="126">
                  <c:v>38181</c:v>
                </c:pt>
                <c:pt idx="127">
                  <c:v>38182</c:v>
                </c:pt>
                <c:pt idx="128">
                  <c:v>38183</c:v>
                </c:pt>
                <c:pt idx="129">
                  <c:v>38184</c:v>
                </c:pt>
                <c:pt idx="130">
                  <c:v>38187</c:v>
                </c:pt>
                <c:pt idx="131">
                  <c:v>38188</c:v>
                </c:pt>
                <c:pt idx="132">
                  <c:v>38189</c:v>
                </c:pt>
                <c:pt idx="133">
                  <c:v>38190</c:v>
                </c:pt>
                <c:pt idx="134">
                  <c:v>38191</c:v>
                </c:pt>
                <c:pt idx="135">
                  <c:v>38194</c:v>
                </c:pt>
                <c:pt idx="136">
                  <c:v>38195</c:v>
                </c:pt>
                <c:pt idx="137">
                  <c:v>38196</c:v>
                </c:pt>
                <c:pt idx="138">
                  <c:v>38197</c:v>
                </c:pt>
                <c:pt idx="139">
                  <c:v>38198</c:v>
                </c:pt>
                <c:pt idx="140">
                  <c:v>38201</c:v>
                </c:pt>
                <c:pt idx="141">
                  <c:v>38202</c:v>
                </c:pt>
                <c:pt idx="142">
                  <c:v>38203</c:v>
                </c:pt>
                <c:pt idx="143">
                  <c:v>38204</c:v>
                </c:pt>
                <c:pt idx="144">
                  <c:v>38205</c:v>
                </c:pt>
                <c:pt idx="145">
                  <c:v>38208</c:v>
                </c:pt>
                <c:pt idx="146">
                  <c:v>38209</c:v>
                </c:pt>
                <c:pt idx="147">
                  <c:v>38210</c:v>
                </c:pt>
                <c:pt idx="148">
                  <c:v>38211</c:v>
                </c:pt>
                <c:pt idx="149">
                  <c:v>38212</c:v>
                </c:pt>
                <c:pt idx="150">
                  <c:v>38215</c:v>
                </c:pt>
                <c:pt idx="151">
                  <c:v>38216</c:v>
                </c:pt>
                <c:pt idx="152">
                  <c:v>38217</c:v>
                </c:pt>
                <c:pt idx="153">
                  <c:v>38218</c:v>
                </c:pt>
                <c:pt idx="154">
                  <c:v>38219</c:v>
                </c:pt>
                <c:pt idx="155">
                  <c:v>38222</c:v>
                </c:pt>
                <c:pt idx="156">
                  <c:v>38223</c:v>
                </c:pt>
                <c:pt idx="157">
                  <c:v>38224</c:v>
                </c:pt>
                <c:pt idx="158">
                  <c:v>38225</c:v>
                </c:pt>
                <c:pt idx="159">
                  <c:v>38226</c:v>
                </c:pt>
                <c:pt idx="160">
                  <c:v>38229</c:v>
                </c:pt>
                <c:pt idx="161">
                  <c:v>38230</c:v>
                </c:pt>
                <c:pt idx="162">
                  <c:v>38231</c:v>
                </c:pt>
                <c:pt idx="163">
                  <c:v>38232</c:v>
                </c:pt>
                <c:pt idx="164">
                  <c:v>38233</c:v>
                </c:pt>
                <c:pt idx="165">
                  <c:v>38236</c:v>
                </c:pt>
                <c:pt idx="166">
                  <c:v>38237</c:v>
                </c:pt>
                <c:pt idx="167">
                  <c:v>38238</c:v>
                </c:pt>
                <c:pt idx="168">
                  <c:v>38239</c:v>
                </c:pt>
                <c:pt idx="169">
                  <c:v>38240</c:v>
                </c:pt>
                <c:pt idx="170">
                  <c:v>38243</c:v>
                </c:pt>
                <c:pt idx="171">
                  <c:v>38244</c:v>
                </c:pt>
                <c:pt idx="172">
                  <c:v>38245</c:v>
                </c:pt>
                <c:pt idx="173">
                  <c:v>38246</c:v>
                </c:pt>
                <c:pt idx="174">
                  <c:v>38247</c:v>
                </c:pt>
                <c:pt idx="175">
                  <c:v>38250</c:v>
                </c:pt>
                <c:pt idx="176">
                  <c:v>38251</c:v>
                </c:pt>
                <c:pt idx="177">
                  <c:v>38252</c:v>
                </c:pt>
                <c:pt idx="178">
                  <c:v>38253</c:v>
                </c:pt>
                <c:pt idx="179">
                  <c:v>38254</c:v>
                </c:pt>
                <c:pt idx="180">
                  <c:v>38257</c:v>
                </c:pt>
                <c:pt idx="181">
                  <c:v>38258</c:v>
                </c:pt>
                <c:pt idx="182">
                  <c:v>38259</c:v>
                </c:pt>
                <c:pt idx="183">
                  <c:v>38260</c:v>
                </c:pt>
                <c:pt idx="184">
                  <c:v>38261</c:v>
                </c:pt>
                <c:pt idx="185">
                  <c:v>38264</c:v>
                </c:pt>
                <c:pt idx="186">
                  <c:v>38265</c:v>
                </c:pt>
                <c:pt idx="187">
                  <c:v>38266</c:v>
                </c:pt>
                <c:pt idx="188">
                  <c:v>38267</c:v>
                </c:pt>
                <c:pt idx="189">
                  <c:v>38268</c:v>
                </c:pt>
                <c:pt idx="190">
                  <c:v>38271</c:v>
                </c:pt>
                <c:pt idx="191">
                  <c:v>38272</c:v>
                </c:pt>
                <c:pt idx="192">
                  <c:v>38273</c:v>
                </c:pt>
                <c:pt idx="193">
                  <c:v>38274</c:v>
                </c:pt>
                <c:pt idx="194">
                  <c:v>38275</c:v>
                </c:pt>
                <c:pt idx="195">
                  <c:v>38278</c:v>
                </c:pt>
                <c:pt idx="196">
                  <c:v>38279</c:v>
                </c:pt>
                <c:pt idx="197">
                  <c:v>38280</c:v>
                </c:pt>
                <c:pt idx="198">
                  <c:v>38281</c:v>
                </c:pt>
                <c:pt idx="199">
                  <c:v>38282</c:v>
                </c:pt>
                <c:pt idx="200">
                  <c:v>38285</c:v>
                </c:pt>
                <c:pt idx="201">
                  <c:v>38286</c:v>
                </c:pt>
                <c:pt idx="202">
                  <c:v>38287</c:v>
                </c:pt>
                <c:pt idx="203">
                  <c:v>38288</c:v>
                </c:pt>
                <c:pt idx="204">
                  <c:v>38289</c:v>
                </c:pt>
                <c:pt idx="205">
                  <c:v>38292</c:v>
                </c:pt>
                <c:pt idx="206">
                  <c:v>38293</c:v>
                </c:pt>
                <c:pt idx="207">
                  <c:v>38294</c:v>
                </c:pt>
                <c:pt idx="208">
                  <c:v>38295</c:v>
                </c:pt>
                <c:pt idx="209">
                  <c:v>38296</c:v>
                </c:pt>
                <c:pt idx="210">
                  <c:v>38299</c:v>
                </c:pt>
                <c:pt idx="211">
                  <c:v>38300</c:v>
                </c:pt>
                <c:pt idx="212">
                  <c:v>38301</c:v>
                </c:pt>
                <c:pt idx="213">
                  <c:v>38302</c:v>
                </c:pt>
                <c:pt idx="214">
                  <c:v>38303</c:v>
                </c:pt>
                <c:pt idx="215">
                  <c:v>38306</c:v>
                </c:pt>
                <c:pt idx="216">
                  <c:v>38307</c:v>
                </c:pt>
                <c:pt idx="217">
                  <c:v>38308</c:v>
                </c:pt>
                <c:pt idx="218">
                  <c:v>38309</c:v>
                </c:pt>
                <c:pt idx="219">
                  <c:v>38310</c:v>
                </c:pt>
                <c:pt idx="220">
                  <c:v>38313</c:v>
                </c:pt>
                <c:pt idx="221">
                  <c:v>38314</c:v>
                </c:pt>
                <c:pt idx="222">
                  <c:v>38315</c:v>
                </c:pt>
                <c:pt idx="223">
                  <c:v>38316</c:v>
                </c:pt>
                <c:pt idx="224">
                  <c:v>38317</c:v>
                </c:pt>
                <c:pt idx="225">
                  <c:v>38320</c:v>
                </c:pt>
                <c:pt idx="226">
                  <c:v>38321</c:v>
                </c:pt>
                <c:pt idx="227">
                  <c:v>38322</c:v>
                </c:pt>
                <c:pt idx="228">
                  <c:v>38323</c:v>
                </c:pt>
                <c:pt idx="229">
                  <c:v>38324</c:v>
                </c:pt>
                <c:pt idx="230">
                  <c:v>38327</c:v>
                </c:pt>
                <c:pt idx="231">
                  <c:v>38328</c:v>
                </c:pt>
                <c:pt idx="232">
                  <c:v>38329</c:v>
                </c:pt>
                <c:pt idx="233">
                  <c:v>38330</c:v>
                </c:pt>
                <c:pt idx="234">
                  <c:v>38331</c:v>
                </c:pt>
                <c:pt idx="235">
                  <c:v>38334</c:v>
                </c:pt>
                <c:pt idx="236">
                  <c:v>38335</c:v>
                </c:pt>
                <c:pt idx="237">
                  <c:v>38336</c:v>
                </c:pt>
                <c:pt idx="238">
                  <c:v>38337</c:v>
                </c:pt>
                <c:pt idx="239">
                  <c:v>38338</c:v>
                </c:pt>
                <c:pt idx="240">
                  <c:v>38341</c:v>
                </c:pt>
                <c:pt idx="241">
                  <c:v>38342</c:v>
                </c:pt>
                <c:pt idx="242">
                  <c:v>38343</c:v>
                </c:pt>
                <c:pt idx="243">
                  <c:v>38344</c:v>
                </c:pt>
                <c:pt idx="244">
                  <c:v>38345</c:v>
                </c:pt>
                <c:pt idx="245">
                  <c:v>38348</c:v>
                </c:pt>
                <c:pt idx="246">
                  <c:v>38349</c:v>
                </c:pt>
                <c:pt idx="247">
                  <c:v>38350</c:v>
                </c:pt>
                <c:pt idx="248">
                  <c:v>38351</c:v>
                </c:pt>
                <c:pt idx="249">
                  <c:v>38352</c:v>
                </c:pt>
                <c:pt idx="250">
                  <c:v>38355</c:v>
                </c:pt>
                <c:pt idx="251">
                  <c:v>38356</c:v>
                </c:pt>
                <c:pt idx="252">
                  <c:v>38357</c:v>
                </c:pt>
                <c:pt idx="253">
                  <c:v>38358</c:v>
                </c:pt>
                <c:pt idx="254">
                  <c:v>38359</c:v>
                </c:pt>
                <c:pt idx="255">
                  <c:v>38362</c:v>
                </c:pt>
                <c:pt idx="256">
                  <c:v>38363</c:v>
                </c:pt>
                <c:pt idx="257">
                  <c:v>38364</c:v>
                </c:pt>
                <c:pt idx="258">
                  <c:v>38365</c:v>
                </c:pt>
                <c:pt idx="259">
                  <c:v>38366</c:v>
                </c:pt>
                <c:pt idx="260">
                  <c:v>38369</c:v>
                </c:pt>
                <c:pt idx="261">
                  <c:v>38370</c:v>
                </c:pt>
                <c:pt idx="262">
                  <c:v>38371</c:v>
                </c:pt>
                <c:pt idx="263">
                  <c:v>38372</c:v>
                </c:pt>
                <c:pt idx="264">
                  <c:v>38373</c:v>
                </c:pt>
                <c:pt idx="265">
                  <c:v>38376</c:v>
                </c:pt>
                <c:pt idx="266">
                  <c:v>38377</c:v>
                </c:pt>
                <c:pt idx="267">
                  <c:v>38378</c:v>
                </c:pt>
                <c:pt idx="268">
                  <c:v>38379</c:v>
                </c:pt>
                <c:pt idx="269">
                  <c:v>38380</c:v>
                </c:pt>
                <c:pt idx="270">
                  <c:v>38383</c:v>
                </c:pt>
                <c:pt idx="271">
                  <c:v>38384</c:v>
                </c:pt>
                <c:pt idx="272">
                  <c:v>38385</c:v>
                </c:pt>
                <c:pt idx="273">
                  <c:v>38386</c:v>
                </c:pt>
                <c:pt idx="274">
                  <c:v>38387</c:v>
                </c:pt>
                <c:pt idx="275">
                  <c:v>38390</c:v>
                </c:pt>
                <c:pt idx="276">
                  <c:v>38391</c:v>
                </c:pt>
                <c:pt idx="277">
                  <c:v>38392</c:v>
                </c:pt>
                <c:pt idx="278">
                  <c:v>38393</c:v>
                </c:pt>
                <c:pt idx="279">
                  <c:v>38394</c:v>
                </c:pt>
                <c:pt idx="280">
                  <c:v>38397</c:v>
                </c:pt>
                <c:pt idx="281">
                  <c:v>38398</c:v>
                </c:pt>
                <c:pt idx="282">
                  <c:v>38399</c:v>
                </c:pt>
                <c:pt idx="283">
                  <c:v>38400</c:v>
                </c:pt>
                <c:pt idx="284">
                  <c:v>38401</c:v>
                </c:pt>
                <c:pt idx="285">
                  <c:v>38404</c:v>
                </c:pt>
                <c:pt idx="286">
                  <c:v>38405</c:v>
                </c:pt>
                <c:pt idx="287">
                  <c:v>38406</c:v>
                </c:pt>
                <c:pt idx="288">
                  <c:v>38407</c:v>
                </c:pt>
                <c:pt idx="289">
                  <c:v>38408</c:v>
                </c:pt>
                <c:pt idx="290">
                  <c:v>38411</c:v>
                </c:pt>
                <c:pt idx="291">
                  <c:v>38412</c:v>
                </c:pt>
                <c:pt idx="292">
                  <c:v>38413</c:v>
                </c:pt>
                <c:pt idx="293">
                  <c:v>38414</c:v>
                </c:pt>
                <c:pt idx="294">
                  <c:v>38415</c:v>
                </c:pt>
                <c:pt idx="295">
                  <c:v>38418</c:v>
                </c:pt>
                <c:pt idx="296">
                  <c:v>38419</c:v>
                </c:pt>
                <c:pt idx="297">
                  <c:v>38420</c:v>
                </c:pt>
                <c:pt idx="298">
                  <c:v>38421</c:v>
                </c:pt>
                <c:pt idx="299">
                  <c:v>38422</c:v>
                </c:pt>
                <c:pt idx="300">
                  <c:v>38425</c:v>
                </c:pt>
                <c:pt idx="301">
                  <c:v>38426</c:v>
                </c:pt>
                <c:pt idx="302">
                  <c:v>38427</c:v>
                </c:pt>
                <c:pt idx="303">
                  <c:v>38428</c:v>
                </c:pt>
                <c:pt idx="304">
                  <c:v>38429</c:v>
                </c:pt>
                <c:pt idx="305">
                  <c:v>38432</c:v>
                </c:pt>
                <c:pt idx="306">
                  <c:v>38433</c:v>
                </c:pt>
                <c:pt idx="307">
                  <c:v>38434</c:v>
                </c:pt>
                <c:pt idx="308">
                  <c:v>38435</c:v>
                </c:pt>
                <c:pt idx="309">
                  <c:v>38436</c:v>
                </c:pt>
                <c:pt idx="310">
                  <c:v>38439</c:v>
                </c:pt>
                <c:pt idx="311">
                  <c:v>38440</c:v>
                </c:pt>
                <c:pt idx="312">
                  <c:v>38441</c:v>
                </c:pt>
                <c:pt idx="313">
                  <c:v>38442</c:v>
                </c:pt>
                <c:pt idx="314">
                  <c:v>38443</c:v>
                </c:pt>
                <c:pt idx="315">
                  <c:v>38446</c:v>
                </c:pt>
                <c:pt idx="316">
                  <c:v>38447</c:v>
                </c:pt>
                <c:pt idx="317">
                  <c:v>38448</c:v>
                </c:pt>
                <c:pt idx="318">
                  <c:v>38449</c:v>
                </c:pt>
                <c:pt idx="319">
                  <c:v>38450</c:v>
                </c:pt>
                <c:pt idx="320">
                  <c:v>38453</c:v>
                </c:pt>
                <c:pt idx="321">
                  <c:v>38454</c:v>
                </c:pt>
                <c:pt idx="322">
                  <c:v>38455</c:v>
                </c:pt>
                <c:pt idx="323">
                  <c:v>38456</c:v>
                </c:pt>
                <c:pt idx="324">
                  <c:v>38457</c:v>
                </c:pt>
                <c:pt idx="325">
                  <c:v>38460</c:v>
                </c:pt>
                <c:pt idx="326">
                  <c:v>38461</c:v>
                </c:pt>
                <c:pt idx="327">
                  <c:v>38462</c:v>
                </c:pt>
                <c:pt idx="328">
                  <c:v>38463</c:v>
                </c:pt>
                <c:pt idx="329">
                  <c:v>38464</c:v>
                </c:pt>
                <c:pt idx="330">
                  <c:v>38467</c:v>
                </c:pt>
                <c:pt idx="331">
                  <c:v>38468</c:v>
                </c:pt>
                <c:pt idx="332">
                  <c:v>38469</c:v>
                </c:pt>
                <c:pt idx="333">
                  <c:v>38470</c:v>
                </c:pt>
                <c:pt idx="334">
                  <c:v>38471</c:v>
                </c:pt>
                <c:pt idx="335">
                  <c:v>38474</c:v>
                </c:pt>
                <c:pt idx="336">
                  <c:v>38475</c:v>
                </c:pt>
                <c:pt idx="337">
                  <c:v>38476</c:v>
                </c:pt>
                <c:pt idx="338">
                  <c:v>38477</c:v>
                </c:pt>
                <c:pt idx="339">
                  <c:v>38478</c:v>
                </c:pt>
                <c:pt idx="340">
                  <c:v>38481</c:v>
                </c:pt>
                <c:pt idx="341">
                  <c:v>38482</c:v>
                </c:pt>
                <c:pt idx="342">
                  <c:v>38483</c:v>
                </c:pt>
                <c:pt idx="343">
                  <c:v>38484</c:v>
                </c:pt>
                <c:pt idx="344">
                  <c:v>38485</c:v>
                </c:pt>
                <c:pt idx="345">
                  <c:v>38488</c:v>
                </c:pt>
                <c:pt idx="346">
                  <c:v>38489</c:v>
                </c:pt>
                <c:pt idx="347">
                  <c:v>38490</c:v>
                </c:pt>
                <c:pt idx="348">
                  <c:v>38491</c:v>
                </c:pt>
                <c:pt idx="349">
                  <c:v>38492</c:v>
                </c:pt>
                <c:pt idx="350">
                  <c:v>38495</c:v>
                </c:pt>
                <c:pt idx="351">
                  <c:v>38496</c:v>
                </c:pt>
                <c:pt idx="352">
                  <c:v>38497</c:v>
                </c:pt>
                <c:pt idx="353">
                  <c:v>38498</c:v>
                </c:pt>
                <c:pt idx="354">
                  <c:v>38499</c:v>
                </c:pt>
                <c:pt idx="355">
                  <c:v>38502</c:v>
                </c:pt>
                <c:pt idx="356">
                  <c:v>38503</c:v>
                </c:pt>
                <c:pt idx="357">
                  <c:v>38504</c:v>
                </c:pt>
                <c:pt idx="358">
                  <c:v>38505</c:v>
                </c:pt>
                <c:pt idx="359">
                  <c:v>38506</c:v>
                </c:pt>
                <c:pt idx="360">
                  <c:v>38509</c:v>
                </c:pt>
                <c:pt idx="361">
                  <c:v>38510</c:v>
                </c:pt>
                <c:pt idx="362">
                  <c:v>38511</c:v>
                </c:pt>
                <c:pt idx="363">
                  <c:v>38512</c:v>
                </c:pt>
                <c:pt idx="364">
                  <c:v>38513</c:v>
                </c:pt>
                <c:pt idx="365">
                  <c:v>38516</c:v>
                </c:pt>
                <c:pt idx="366">
                  <c:v>38517</c:v>
                </c:pt>
                <c:pt idx="367">
                  <c:v>38518</c:v>
                </c:pt>
                <c:pt idx="368">
                  <c:v>38519</c:v>
                </c:pt>
                <c:pt idx="369">
                  <c:v>38520</c:v>
                </c:pt>
                <c:pt idx="370">
                  <c:v>38523</c:v>
                </c:pt>
                <c:pt idx="371">
                  <c:v>38524</c:v>
                </c:pt>
                <c:pt idx="372">
                  <c:v>38525</c:v>
                </c:pt>
                <c:pt idx="373">
                  <c:v>38526</c:v>
                </c:pt>
                <c:pt idx="374">
                  <c:v>38527</c:v>
                </c:pt>
                <c:pt idx="375">
                  <c:v>38530</c:v>
                </c:pt>
                <c:pt idx="376">
                  <c:v>38531</c:v>
                </c:pt>
                <c:pt idx="377">
                  <c:v>38532</c:v>
                </c:pt>
                <c:pt idx="378">
                  <c:v>38533</c:v>
                </c:pt>
                <c:pt idx="379">
                  <c:v>38534</c:v>
                </c:pt>
                <c:pt idx="380">
                  <c:v>38537</c:v>
                </c:pt>
                <c:pt idx="381">
                  <c:v>38538</c:v>
                </c:pt>
                <c:pt idx="382">
                  <c:v>38539</c:v>
                </c:pt>
                <c:pt idx="383">
                  <c:v>38540</c:v>
                </c:pt>
                <c:pt idx="384">
                  <c:v>38541</c:v>
                </c:pt>
                <c:pt idx="385">
                  <c:v>38544</c:v>
                </c:pt>
                <c:pt idx="386">
                  <c:v>38545</c:v>
                </c:pt>
                <c:pt idx="387">
                  <c:v>38546</c:v>
                </c:pt>
                <c:pt idx="388">
                  <c:v>38547</c:v>
                </c:pt>
                <c:pt idx="389">
                  <c:v>38548</c:v>
                </c:pt>
                <c:pt idx="390">
                  <c:v>38551</c:v>
                </c:pt>
                <c:pt idx="391">
                  <c:v>38552</c:v>
                </c:pt>
                <c:pt idx="392">
                  <c:v>38553</c:v>
                </c:pt>
                <c:pt idx="393">
                  <c:v>38554</c:v>
                </c:pt>
                <c:pt idx="394">
                  <c:v>38555</c:v>
                </c:pt>
                <c:pt idx="395">
                  <c:v>38558</c:v>
                </c:pt>
                <c:pt idx="396">
                  <c:v>38559</c:v>
                </c:pt>
                <c:pt idx="397">
                  <c:v>38560</c:v>
                </c:pt>
                <c:pt idx="398">
                  <c:v>38561</c:v>
                </c:pt>
                <c:pt idx="399">
                  <c:v>38562</c:v>
                </c:pt>
                <c:pt idx="400">
                  <c:v>38565</c:v>
                </c:pt>
                <c:pt idx="401">
                  <c:v>38566</c:v>
                </c:pt>
                <c:pt idx="402">
                  <c:v>38567</c:v>
                </c:pt>
                <c:pt idx="403">
                  <c:v>38568</c:v>
                </c:pt>
                <c:pt idx="404">
                  <c:v>38569</c:v>
                </c:pt>
                <c:pt idx="405">
                  <c:v>38572</c:v>
                </c:pt>
                <c:pt idx="406">
                  <c:v>38573</c:v>
                </c:pt>
                <c:pt idx="407">
                  <c:v>38574</c:v>
                </c:pt>
                <c:pt idx="408">
                  <c:v>38575</c:v>
                </c:pt>
                <c:pt idx="409">
                  <c:v>38576</c:v>
                </c:pt>
                <c:pt idx="410">
                  <c:v>38579</c:v>
                </c:pt>
                <c:pt idx="411">
                  <c:v>38580</c:v>
                </c:pt>
                <c:pt idx="412">
                  <c:v>38581</c:v>
                </c:pt>
                <c:pt idx="413">
                  <c:v>38582</c:v>
                </c:pt>
                <c:pt idx="414">
                  <c:v>38583</c:v>
                </c:pt>
                <c:pt idx="415">
                  <c:v>38586</c:v>
                </c:pt>
                <c:pt idx="416">
                  <c:v>38587</c:v>
                </c:pt>
                <c:pt idx="417">
                  <c:v>38588</c:v>
                </c:pt>
                <c:pt idx="418">
                  <c:v>38589</c:v>
                </c:pt>
                <c:pt idx="419">
                  <c:v>38590</c:v>
                </c:pt>
                <c:pt idx="420">
                  <c:v>38593</c:v>
                </c:pt>
                <c:pt idx="421">
                  <c:v>38594</c:v>
                </c:pt>
                <c:pt idx="422">
                  <c:v>38595</c:v>
                </c:pt>
                <c:pt idx="423">
                  <c:v>38596</c:v>
                </c:pt>
                <c:pt idx="424">
                  <c:v>38597</c:v>
                </c:pt>
                <c:pt idx="425">
                  <c:v>38600</c:v>
                </c:pt>
                <c:pt idx="426">
                  <c:v>38601</c:v>
                </c:pt>
                <c:pt idx="427">
                  <c:v>38602</c:v>
                </c:pt>
                <c:pt idx="428">
                  <c:v>38603</c:v>
                </c:pt>
                <c:pt idx="429">
                  <c:v>38604</c:v>
                </c:pt>
                <c:pt idx="430">
                  <c:v>38607</c:v>
                </c:pt>
                <c:pt idx="431">
                  <c:v>38608</c:v>
                </c:pt>
                <c:pt idx="432">
                  <c:v>38609</c:v>
                </c:pt>
                <c:pt idx="433">
                  <c:v>38610</c:v>
                </c:pt>
                <c:pt idx="434">
                  <c:v>38611</c:v>
                </c:pt>
                <c:pt idx="435">
                  <c:v>38614</c:v>
                </c:pt>
                <c:pt idx="436">
                  <c:v>38615</c:v>
                </c:pt>
                <c:pt idx="437">
                  <c:v>38616</c:v>
                </c:pt>
                <c:pt idx="438">
                  <c:v>38617</c:v>
                </c:pt>
                <c:pt idx="439">
                  <c:v>38618</c:v>
                </c:pt>
                <c:pt idx="440">
                  <c:v>38621</c:v>
                </c:pt>
                <c:pt idx="441">
                  <c:v>38622</c:v>
                </c:pt>
                <c:pt idx="442">
                  <c:v>38623</c:v>
                </c:pt>
                <c:pt idx="443">
                  <c:v>38624</c:v>
                </c:pt>
                <c:pt idx="444">
                  <c:v>38625</c:v>
                </c:pt>
                <c:pt idx="445">
                  <c:v>38628</c:v>
                </c:pt>
                <c:pt idx="446">
                  <c:v>38629</c:v>
                </c:pt>
                <c:pt idx="447">
                  <c:v>38630</c:v>
                </c:pt>
                <c:pt idx="448">
                  <c:v>38631</c:v>
                </c:pt>
                <c:pt idx="449">
                  <c:v>38632</c:v>
                </c:pt>
                <c:pt idx="450">
                  <c:v>38635</c:v>
                </c:pt>
                <c:pt idx="451">
                  <c:v>38636</c:v>
                </c:pt>
                <c:pt idx="452">
                  <c:v>38637</c:v>
                </c:pt>
                <c:pt idx="453">
                  <c:v>38638</c:v>
                </c:pt>
                <c:pt idx="454">
                  <c:v>38639</c:v>
                </c:pt>
                <c:pt idx="455">
                  <c:v>38642</c:v>
                </c:pt>
                <c:pt idx="456">
                  <c:v>38643</c:v>
                </c:pt>
                <c:pt idx="457">
                  <c:v>38644</c:v>
                </c:pt>
                <c:pt idx="458">
                  <c:v>38645</c:v>
                </c:pt>
                <c:pt idx="459">
                  <c:v>38646</c:v>
                </c:pt>
                <c:pt idx="460">
                  <c:v>38649</c:v>
                </c:pt>
                <c:pt idx="461">
                  <c:v>38650</c:v>
                </c:pt>
                <c:pt idx="462">
                  <c:v>38651</c:v>
                </c:pt>
                <c:pt idx="463">
                  <c:v>38652</c:v>
                </c:pt>
                <c:pt idx="464">
                  <c:v>38653</c:v>
                </c:pt>
                <c:pt idx="465">
                  <c:v>38656</c:v>
                </c:pt>
                <c:pt idx="466">
                  <c:v>38657</c:v>
                </c:pt>
                <c:pt idx="467">
                  <c:v>38658</c:v>
                </c:pt>
                <c:pt idx="468">
                  <c:v>38659</c:v>
                </c:pt>
                <c:pt idx="469">
                  <c:v>38660</c:v>
                </c:pt>
                <c:pt idx="470">
                  <c:v>38663</c:v>
                </c:pt>
                <c:pt idx="471">
                  <c:v>38664</c:v>
                </c:pt>
                <c:pt idx="472">
                  <c:v>38665</c:v>
                </c:pt>
                <c:pt idx="473">
                  <c:v>38666</c:v>
                </c:pt>
                <c:pt idx="474">
                  <c:v>38667</c:v>
                </c:pt>
                <c:pt idx="475">
                  <c:v>38670</c:v>
                </c:pt>
                <c:pt idx="476">
                  <c:v>38671</c:v>
                </c:pt>
                <c:pt idx="477">
                  <c:v>38672</c:v>
                </c:pt>
                <c:pt idx="478">
                  <c:v>38673</c:v>
                </c:pt>
                <c:pt idx="479">
                  <c:v>38674</c:v>
                </c:pt>
                <c:pt idx="480">
                  <c:v>38677</c:v>
                </c:pt>
                <c:pt idx="481">
                  <c:v>38678</c:v>
                </c:pt>
                <c:pt idx="482">
                  <c:v>38679</c:v>
                </c:pt>
                <c:pt idx="483">
                  <c:v>38680</c:v>
                </c:pt>
                <c:pt idx="484">
                  <c:v>38681</c:v>
                </c:pt>
                <c:pt idx="485">
                  <c:v>38684</c:v>
                </c:pt>
                <c:pt idx="486">
                  <c:v>38685</c:v>
                </c:pt>
                <c:pt idx="487">
                  <c:v>38686</c:v>
                </c:pt>
                <c:pt idx="488">
                  <c:v>38687</c:v>
                </c:pt>
                <c:pt idx="489">
                  <c:v>38688</c:v>
                </c:pt>
                <c:pt idx="490">
                  <c:v>38691</c:v>
                </c:pt>
                <c:pt idx="491">
                  <c:v>38692</c:v>
                </c:pt>
                <c:pt idx="492">
                  <c:v>38693</c:v>
                </c:pt>
                <c:pt idx="493">
                  <c:v>38694</c:v>
                </c:pt>
                <c:pt idx="494">
                  <c:v>38695</c:v>
                </c:pt>
                <c:pt idx="495">
                  <c:v>38698</c:v>
                </c:pt>
                <c:pt idx="496">
                  <c:v>38699</c:v>
                </c:pt>
                <c:pt idx="497">
                  <c:v>38700</c:v>
                </c:pt>
                <c:pt idx="498">
                  <c:v>38701</c:v>
                </c:pt>
                <c:pt idx="499">
                  <c:v>38702</c:v>
                </c:pt>
                <c:pt idx="500">
                  <c:v>38705</c:v>
                </c:pt>
                <c:pt idx="501">
                  <c:v>38706</c:v>
                </c:pt>
                <c:pt idx="502">
                  <c:v>38707</c:v>
                </c:pt>
                <c:pt idx="503">
                  <c:v>38708</c:v>
                </c:pt>
                <c:pt idx="504">
                  <c:v>38709</c:v>
                </c:pt>
                <c:pt idx="505">
                  <c:v>38712</c:v>
                </c:pt>
                <c:pt idx="506">
                  <c:v>38713</c:v>
                </c:pt>
                <c:pt idx="507">
                  <c:v>38714</c:v>
                </c:pt>
                <c:pt idx="508">
                  <c:v>38715</c:v>
                </c:pt>
                <c:pt idx="509">
                  <c:v>38716</c:v>
                </c:pt>
                <c:pt idx="510">
                  <c:v>38719</c:v>
                </c:pt>
                <c:pt idx="511">
                  <c:v>38720</c:v>
                </c:pt>
                <c:pt idx="512">
                  <c:v>38721</c:v>
                </c:pt>
                <c:pt idx="513">
                  <c:v>38722</c:v>
                </c:pt>
                <c:pt idx="514">
                  <c:v>38723</c:v>
                </c:pt>
                <c:pt idx="515">
                  <c:v>38726</c:v>
                </c:pt>
                <c:pt idx="516">
                  <c:v>38727</c:v>
                </c:pt>
                <c:pt idx="517">
                  <c:v>38728</c:v>
                </c:pt>
                <c:pt idx="518">
                  <c:v>38729</c:v>
                </c:pt>
                <c:pt idx="519">
                  <c:v>38730</c:v>
                </c:pt>
                <c:pt idx="520">
                  <c:v>38733</c:v>
                </c:pt>
                <c:pt idx="521">
                  <c:v>38734</c:v>
                </c:pt>
                <c:pt idx="522">
                  <c:v>38735</c:v>
                </c:pt>
                <c:pt idx="523">
                  <c:v>38736</c:v>
                </c:pt>
                <c:pt idx="524">
                  <c:v>38737</c:v>
                </c:pt>
                <c:pt idx="525">
                  <c:v>38740</c:v>
                </c:pt>
                <c:pt idx="526">
                  <c:v>38741</c:v>
                </c:pt>
                <c:pt idx="527">
                  <c:v>38742</c:v>
                </c:pt>
                <c:pt idx="528">
                  <c:v>38743</c:v>
                </c:pt>
                <c:pt idx="529">
                  <c:v>38744</c:v>
                </c:pt>
                <c:pt idx="530">
                  <c:v>38747</c:v>
                </c:pt>
                <c:pt idx="531">
                  <c:v>38748</c:v>
                </c:pt>
                <c:pt idx="532">
                  <c:v>38749</c:v>
                </c:pt>
                <c:pt idx="533">
                  <c:v>38750</c:v>
                </c:pt>
                <c:pt idx="534">
                  <c:v>38751</c:v>
                </c:pt>
                <c:pt idx="535">
                  <c:v>38754</c:v>
                </c:pt>
                <c:pt idx="536">
                  <c:v>38755</c:v>
                </c:pt>
                <c:pt idx="537">
                  <c:v>38756</c:v>
                </c:pt>
                <c:pt idx="538">
                  <c:v>38757</c:v>
                </c:pt>
                <c:pt idx="539">
                  <c:v>38758</c:v>
                </c:pt>
                <c:pt idx="540">
                  <c:v>38761</c:v>
                </c:pt>
                <c:pt idx="541">
                  <c:v>38762</c:v>
                </c:pt>
                <c:pt idx="542">
                  <c:v>38763</c:v>
                </c:pt>
                <c:pt idx="543">
                  <c:v>38764</c:v>
                </c:pt>
                <c:pt idx="544">
                  <c:v>38765</c:v>
                </c:pt>
                <c:pt idx="545">
                  <c:v>38768</c:v>
                </c:pt>
                <c:pt idx="546">
                  <c:v>38769</c:v>
                </c:pt>
                <c:pt idx="547">
                  <c:v>38770</c:v>
                </c:pt>
                <c:pt idx="548">
                  <c:v>38771</c:v>
                </c:pt>
                <c:pt idx="549">
                  <c:v>38772</c:v>
                </c:pt>
                <c:pt idx="550">
                  <c:v>38775</c:v>
                </c:pt>
                <c:pt idx="551">
                  <c:v>38776</c:v>
                </c:pt>
                <c:pt idx="552">
                  <c:v>38777</c:v>
                </c:pt>
                <c:pt idx="553">
                  <c:v>38778</c:v>
                </c:pt>
                <c:pt idx="554">
                  <c:v>38779</c:v>
                </c:pt>
                <c:pt idx="555">
                  <c:v>38782</c:v>
                </c:pt>
                <c:pt idx="556">
                  <c:v>38783</c:v>
                </c:pt>
                <c:pt idx="557">
                  <c:v>38784</c:v>
                </c:pt>
                <c:pt idx="558">
                  <c:v>38785</c:v>
                </c:pt>
                <c:pt idx="559">
                  <c:v>38786</c:v>
                </c:pt>
                <c:pt idx="560">
                  <c:v>38789</c:v>
                </c:pt>
                <c:pt idx="561">
                  <c:v>38790</c:v>
                </c:pt>
                <c:pt idx="562">
                  <c:v>38791</c:v>
                </c:pt>
                <c:pt idx="563">
                  <c:v>38792</c:v>
                </c:pt>
                <c:pt idx="564">
                  <c:v>38793</c:v>
                </c:pt>
                <c:pt idx="565">
                  <c:v>38796</c:v>
                </c:pt>
                <c:pt idx="566">
                  <c:v>38797</c:v>
                </c:pt>
                <c:pt idx="567">
                  <c:v>38798</c:v>
                </c:pt>
                <c:pt idx="568">
                  <c:v>38799</c:v>
                </c:pt>
                <c:pt idx="569">
                  <c:v>38800</c:v>
                </c:pt>
                <c:pt idx="570">
                  <c:v>38803</c:v>
                </c:pt>
                <c:pt idx="571">
                  <c:v>38804</c:v>
                </c:pt>
                <c:pt idx="572">
                  <c:v>38805</c:v>
                </c:pt>
                <c:pt idx="573">
                  <c:v>38806</c:v>
                </c:pt>
                <c:pt idx="574">
                  <c:v>38807</c:v>
                </c:pt>
                <c:pt idx="575">
                  <c:v>38810</c:v>
                </c:pt>
                <c:pt idx="576">
                  <c:v>38811</c:v>
                </c:pt>
                <c:pt idx="577">
                  <c:v>38812</c:v>
                </c:pt>
                <c:pt idx="578">
                  <c:v>38813</c:v>
                </c:pt>
                <c:pt idx="579">
                  <c:v>38814</c:v>
                </c:pt>
                <c:pt idx="580">
                  <c:v>38817</c:v>
                </c:pt>
                <c:pt idx="581">
                  <c:v>38818</c:v>
                </c:pt>
                <c:pt idx="582">
                  <c:v>38819</c:v>
                </c:pt>
                <c:pt idx="583">
                  <c:v>38820</c:v>
                </c:pt>
                <c:pt idx="584">
                  <c:v>38821</c:v>
                </c:pt>
                <c:pt idx="585">
                  <c:v>38824</c:v>
                </c:pt>
                <c:pt idx="586">
                  <c:v>38825</c:v>
                </c:pt>
                <c:pt idx="587">
                  <c:v>38826</c:v>
                </c:pt>
                <c:pt idx="588">
                  <c:v>38827</c:v>
                </c:pt>
                <c:pt idx="589">
                  <c:v>38828</c:v>
                </c:pt>
                <c:pt idx="590">
                  <c:v>38831</c:v>
                </c:pt>
                <c:pt idx="591">
                  <c:v>38832</c:v>
                </c:pt>
                <c:pt idx="592">
                  <c:v>38833</c:v>
                </c:pt>
                <c:pt idx="593">
                  <c:v>38834</c:v>
                </c:pt>
                <c:pt idx="594">
                  <c:v>38835</c:v>
                </c:pt>
                <c:pt idx="595">
                  <c:v>38838</c:v>
                </c:pt>
                <c:pt idx="596">
                  <c:v>38839</c:v>
                </c:pt>
                <c:pt idx="597">
                  <c:v>38840</c:v>
                </c:pt>
                <c:pt idx="598">
                  <c:v>38841</c:v>
                </c:pt>
                <c:pt idx="599">
                  <c:v>38842</c:v>
                </c:pt>
                <c:pt idx="600">
                  <c:v>38845</c:v>
                </c:pt>
                <c:pt idx="601">
                  <c:v>38846</c:v>
                </c:pt>
                <c:pt idx="602">
                  <c:v>38847</c:v>
                </c:pt>
                <c:pt idx="603">
                  <c:v>38848</c:v>
                </c:pt>
                <c:pt idx="604">
                  <c:v>38849</c:v>
                </c:pt>
                <c:pt idx="605">
                  <c:v>38852</c:v>
                </c:pt>
                <c:pt idx="606">
                  <c:v>38853</c:v>
                </c:pt>
                <c:pt idx="607">
                  <c:v>38854</c:v>
                </c:pt>
                <c:pt idx="608">
                  <c:v>38855</c:v>
                </c:pt>
                <c:pt idx="609">
                  <c:v>38856</c:v>
                </c:pt>
                <c:pt idx="610">
                  <c:v>38859</c:v>
                </c:pt>
                <c:pt idx="611">
                  <c:v>38860</c:v>
                </c:pt>
                <c:pt idx="612">
                  <c:v>38861</c:v>
                </c:pt>
                <c:pt idx="613">
                  <c:v>38862</c:v>
                </c:pt>
                <c:pt idx="614">
                  <c:v>38863</c:v>
                </c:pt>
                <c:pt idx="615">
                  <c:v>38866</c:v>
                </c:pt>
                <c:pt idx="616">
                  <c:v>38867</c:v>
                </c:pt>
                <c:pt idx="617">
                  <c:v>38868</c:v>
                </c:pt>
                <c:pt idx="618">
                  <c:v>38869</c:v>
                </c:pt>
                <c:pt idx="619">
                  <c:v>38870</c:v>
                </c:pt>
                <c:pt idx="620">
                  <c:v>38873</c:v>
                </c:pt>
                <c:pt idx="621">
                  <c:v>38874</c:v>
                </c:pt>
                <c:pt idx="622">
                  <c:v>38875</c:v>
                </c:pt>
                <c:pt idx="623">
                  <c:v>38876</c:v>
                </c:pt>
                <c:pt idx="624">
                  <c:v>38877</c:v>
                </c:pt>
                <c:pt idx="625">
                  <c:v>38880</c:v>
                </c:pt>
                <c:pt idx="626">
                  <c:v>38881</c:v>
                </c:pt>
                <c:pt idx="627">
                  <c:v>38882</c:v>
                </c:pt>
                <c:pt idx="628">
                  <c:v>38883</c:v>
                </c:pt>
                <c:pt idx="629">
                  <c:v>38884</c:v>
                </c:pt>
                <c:pt idx="630">
                  <c:v>38887</c:v>
                </c:pt>
                <c:pt idx="631">
                  <c:v>38888</c:v>
                </c:pt>
                <c:pt idx="632">
                  <c:v>38889</c:v>
                </c:pt>
                <c:pt idx="633">
                  <c:v>38890</c:v>
                </c:pt>
                <c:pt idx="634">
                  <c:v>38891</c:v>
                </c:pt>
                <c:pt idx="635">
                  <c:v>38894</c:v>
                </c:pt>
                <c:pt idx="636">
                  <c:v>38895</c:v>
                </c:pt>
                <c:pt idx="637">
                  <c:v>38896</c:v>
                </c:pt>
                <c:pt idx="638">
                  <c:v>38897</c:v>
                </c:pt>
                <c:pt idx="639">
                  <c:v>38898</c:v>
                </c:pt>
                <c:pt idx="640">
                  <c:v>38901</c:v>
                </c:pt>
                <c:pt idx="641">
                  <c:v>38902</c:v>
                </c:pt>
                <c:pt idx="642">
                  <c:v>38903</c:v>
                </c:pt>
                <c:pt idx="643">
                  <c:v>38904</c:v>
                </c:pt>
                <c:pt idx="644">
                  <c:v>38905</c:v>
                </c:pt>
                <c:pt idx="645">
                  <c:v>38908</c:v>
                </c:pt>
                <c:pt idx="646">
                  <c:v>38909</c:v>
                </c:pt>
                <c:pt idx="647">
                  <c:v>38910</c:v>
                </c:pt>
                <c:pt idx="648">
                  <c:v>38911</c:v>
                </c:pt>
                <c:pt idx="649">
                  <c:v>38912</c:v>
                </c:pt>
                <c:pt idx="650">
                  <c:v>38915</c:v>
                </c:pt>
                <c:pt idx="651">
                  <c:v>38916</c:v>
                </c:pt>
                <c:pt idx="652">
                  <c:v>38917</c:v>
                </c:pt>
                <c:pt idx="653">
                  <c:v>38918</c:v>
                </c:pt>
                <c:pt idx="654">
                  <c:v>38919</c:v>
                </c:pt>
                <c:pt idx="655">
                  <c:v>38922</c:v>
                </c:pt>
                <c:pt idx="656">
                  <c:v>38923</c:v>
                </c:pt>
                <c:pt idx="657">
                  <c:v>38924</c:v>
                </c:pt>
                <c:pt idx="658">
                  <c:v>38925</c:v>
                </c:pt>
                <c:pt idx="659">
                  <c:v>38926</c:v>
                </c:pt>
                <c:pt idx="660">
                  <c:v>38929</c:v>
                </c:pt>
                <c:pt idx="661">
                  <c:v>38930</c:v>
                </c:pt>
                <c:pt idx="662">
                  <c:v>38931</c:v>
                </c:pt>
                <c:pt idx="663">
                  <c:v>38932</c:v>
                </c:pt>
                <c:pt idx="664">
                  <c:v>38933</c:v>
                </c:pt>
                <c:pt idx="665">
                  <c:v>38936</c:v>
                </c:pt>
                <c:pt idx="666">
                  <c:v>38937</c:v>
                </c:pt>
                <c:pt idx="667">
                  <c:v>38938</c:v>
                </c:pt>
                <c:pt idx="668">
                  <c:v>38939</c:v>
                </c:pt>
                <c:pt idx="669">
                  <c:v>38940</c:v>
                </c:pt>
                <c:pt idx="670">
                  <c:v>38943</c:v>
                </c:pt>
                <c:pt idx="671">
                  <c:v>38944</c:v>
                </c:pt>
                <c:pt idx="672">
                  <c:v>38945</c:v>
                </c:pt>
                <c:pt idx="673">
                  <c:v>38946</c:v>
                </c:pt>
                <c:pt idx="674">
                  <c:v>38947</c:v>
                </c:pt>
                <c:pt idx="675">
                  <c:v>38950</c:v>
                </c:pt>
                <c:pt idx="676">
                  <c:v>38951</c:v>
                </c:pt>
                <c:pt idx="677">
                  <c:v>38952</c:v>
                </c:pt>
                <c:pt idx="678">
                  <c:v>38953</c:v>
                </c:pt>
                <c:pt idx="679">
                  <c:v>38954</c:v>
                </c:pt>
                <c:pt idx="680">
                  <c:v>38957</c:v>
                </c:pt>
                <c:pt idx="681">
                  <c:v>38958</c:v>
                </c:pt>
                <c:pt idx="682">
                  <c:v>38959</c:v>
                </c:pt>
                <c:pt idx="683">
                  <c:v>38960</c:v>
                </c:pt>
                <c:pt idx="684">
                  <c:v>38961</c:v>
                </c:pt>
                <c:pt idx="685">
                  <c:v>38964</c:v>
                </c:pt>
                <c:pt idx="686">
                  <c:v>38965</c:v>
                </c:pt>
                <c:pt idx="687">
                  <c:v>38966</c:v>
                </c:pt>
                <c:pt idx="688">
                  <c:v>38967</c:v>
                </c:pt>
                <c:pt idx="689">
                  <c:v>38968</c:v>
                </c:pt>
                <c:pt idx="690">
                  <c:v>38971</c:v>
                </c:pt>
                <c:pt idx="691">
                  <c:v>38972</c:v>
                </c:pt>
                <c:pt idx="692">
                  <c:v>38973</c:v>
                </c:pt>
                <c:pt idx="693">
                  <c:v>38974</c:v>
                </c:pt>
                <c:pt idx="694">
                  <c:v>38975</c:v>
                </c:pt>
                <c:pt idx="695">
                  <c:v>38978</c:v>
                </c:pt>
                <c:pt idx="696">
                  <c:v>38979</c:v>
                </c:pt>
                <c:pt idx="697">
                  <c:v>38980</c:v>
                </c:pt>
                <c:pt idx="698">
                  <c:v>38981</c:v>
                </c:pt>
                <c:pt idx="699">
                  <c:v>38982</c:v>
                </c:pt>
                <c:pt idx="700">
                  <c:v>38985</c:v>
                </c:pt>
                <c:pt idx="701">
                  <c:v>38986</c:v>
                </c:pt>
                <c:pt idx="702">
                  <c:v>38987</c:v>
                </c:pt>
                <c:pt idx="703">
                  <c:v>38988</c:v>
                </c:pt>
                <c:pt idx="704">
                  <c:v>38989</c:v>
                </c:pt>
                <c:pt idx="705">
                  <c:v>38992</c:v>
                </c:pt>
                <c:pt idx="706">
                  <c:v>38993</c:v>
                </c:pt>
                <c:pt idx="707">
                  <c:v>38994</c:v>
                </c:pt>
                <c:pt idx="708">
                  <c:v>38995</c:v>
                </c:pt>
                <c:pt idx="709">
                  <c:v>38996</c:v>
                </c:pt>
                <c:pt idx="710">
                  <c:v>38999</c:v>
                </c:pt>
                <c:pt idx="711">
                  <c:v>39000</c:v>
                </c:pt>
                <c:pt idx="712">
                  <c:v>39001</c:v>
                </c:pt>
                <c:pt idx="713">
                  <c:v>39002</c:v>
                </c:pt>
                <c:pt idx="714">
                  <c:v>39003</c:v>
                </c:pt>
                <c:pt idx="715">
                  <c:v>39006</c:v>
                </c:pt>
                <c:pt idx="716">
                  <c:v>39007</c:v>
                </c:pt>
                <c:pt idx="717">
                  <c:v>39008</c:v>
                </c:pt>
                <c:pt idx="718">
                  <c:v>39009</c:v>
                </c:pt>
                <c:pt idx="719">
                  <c:v>39010</c:v>
                </c:pt>
                <c:pt idx="720">
                  <c:v>39013</c:v>
                </c:pt>
                <c:pt idx="721">
                  <c:v>39014</c:v>
                </c:pt>
                <c:pt idx="722">
                  <c:v>39015</c:v>
                </c:pt>
                <c:pt idx="723">
                  <c:v>39016</c:v>
                </c:pt>
                <c:pt idx="724">
                  <c:v>39017</c:v>
                </c:pt>
                <c:pt idx="725">
                  <c:v>39020</c:v>
                </c:pt>
                <c:pt idx="726">
                  <c:v>39021</c:v>
                </c:pt>
                <c:pt idx="727">
                  <c:v>39022</c:v>
                </c:pt>
                <c:pt idx="728">
                  <c:v>39023</c:v>
                </c:pt>
                <c:pt idx="729">
                  <c:v>39024</c:v>
                </c:pt>
                <c:pt idx="730">
                  <c:v>39027</c:v>
                </c:pt>
                <c:pt idx="731">
                  <c:v>39028</c:v>
                </c:pt>
                <c:pt idx="732">
                  <c:v>39029</c:v>
                </c:pt>
                <c:pt idx="733">
                  <c:v>39030</c:v>
                </c:pt>
                <c:pt idx="734">
                  <c:v>39031</c:v>
                </c:pt>
                <c:pt idx="735">
                  <c:v>39034</c:v>
                </c:pt>
                <c:pt idx="736">
                  <c:v>39035</c:v>
                </c:pt>
                <c:pt idx="737">
                  <c:v>39036</c:v>
                </c:pt>
                <c:pt idx="738">
                  <c:v>39037</c:v>
                </c:pt>
                <c:pt idx="739">
                  <c:v>39038</c:v>
                </c:pt>
                <c:pt idx="740">
                  <c:v>39041</c:v>
                </c:pt>
                <c:pt idx="741">
                  <c:v>39042</c:v>
                </c:pt>
                <c:pt idx="742">
                  <c:v>39043</c:v>
                </c:pt>
                <c:pt idx="743">
                  <c:v>39044</c:v>
                </c:pt>
                <c:pt idx="744">
                  <c:v>39045</c:v>
                </c:pt>
                <c:pt idx="745">
                  <c:v>39048</c:v>
                </c:pt>
                <c:pt idx="746">
                  <c:v>39049</c:v>
                </c:pt>
                <c:pt idx="747">
                  <c:v>39050</c:v>
                </c:pt>
                <c:pt idx="748">
                  <c:v>39051</c:v>
                </c:pt>
                <c:pt idx="749">
                  <c:v>39052</c:v>
                </c:pt>
                <c:pt idx="750">
                  <c:v>39055</c:v>
                </c:pt>
                <c:pt idx="751">
                  <c:v>39056</c:v>
                </c:pt>
                <c:pt idx="752">
                  <c:v>39057</c:v>
                </c:pt>
                <c:pt idx="753">
                  <c:v>39058</c:v>
                </c:pt>
                <c:pt idx="754">
                  <c:v>39059</c:v>
                </c:pt>
                <c:pt idx="755">
                  <c:v>39062</c:v>
                </c:pt>
                <c:pt idx="756">
                  <c:v>39063</c:v>
                </c:pt>
                <c:pt idx="757">
                  <c:v>39064</c:v>
                </c:pt>
                <c:pt idx="758">
                  <c:v>39065</c:v>
                </c:pt>
                <c:pt idx="759">
                  <c:v>39066</c:v>
                </c:pt>
                <c:pt idx="760">
                  <c:v>39069</c:v>
                </c:pt>
                <c:pt idx="761">
                  <c:v>39070</c:v>
                </c:pt>
                <c:pt idx="762">
                  <c:v>39071</c:v>
                </c:pt>
                <c:pt idx="763">
                  <c:v>39072</c:v>
                </c:pt>
                <c:pt idx="764">
                  <c:v>39073</c:v>
                </c:pt>
                <c:pt idx="765">
                  <c:v>39076</c:v>
                </c:pt>
                <c:pt idx="766">
                  <c:v>39077</c:v>
                </c:pt>
                <c:pt idx="767">
                  <c:v>39078</c:v>
                </c:pt>
                <c:pt idx="768">
                  <c:v>39079</c:v>
                </c:pt>
                <c:pt idx="769">
                  <c:v>39080</c:v>
                </c:pt>
                <c:pt idx="770">
                  <c:v>39083</c:v>
                </c:pt>
                <c:pt idx="771">
                  <c:v>39084</c:v>
                </c:pt>
                <c:pt idx="772">
                  <c:v>39085</c:v>
                </c:pt>
                <c:pt idx="773">
                  <c:v>39086</c:v>
                </c:pt>
                <c:pt idx="774">
                  <c:v>39087</c:v>
                </c:pt>
                <c:pt idx="775">
                  <c:v>39090</c:v>
                </c:pt>
                <c:pt idx="776">
                  <c:v>39091</c:v>
                </c:pt>
                <c:pt idx="777">
                  <c:v>39092</c:v>
                </c:pt>
                <c:pt idx="778">
                  <c:v>39093</c:v>
                </c:pt>
                <c:pt idx="779">
                  <c:v>39094</c:v>
                </c:pt>
                <c:pt idx="780">
                  <c:v>39097</c:v>
                </c:pt>
                <c:pt idx="781">
                  <c:v>39098</c:v>
                </c:pt>
                <c:pt idx="782">
                  <c:v>39099</c:v>
                </c:pt>
                <c:pt idx="783">
                  <c:v>39100</c:v>
                </c:pt>
                <c:pt idx="784">
                  <c:v>39101</c:v>
                </c:pt>
                <c:pt idx="785">
                  <c:v>39104</c:v>
                </c:pt>
                <c:pt idx="786">
                  <c:v>39105</c:v>
                </c:pt>
                <c:pt idx="787">
                  <c:v>39106</c:v>
                </c:pt>
                <c:pt idx="788">
                  <c:v>39107</c:v>
                </c:pt>
                <c:pt idx="789">
                  <c:v>39108</c:v>
                </c:pt>
                <c:pt idx="790">
                  <c:v>39111</c:v>
                </c:pt>
                <c:pt idx="791">
                  <c:v>39112</c:v>
                </c:pt>
                <c:pt idx="792">
                  <c:v>39113</c:v>
                </c:pt>
                <c:pt idx="793">
                  <c:v>39114</c:v>
                </c:pt>
                <c:pt idx="794">
                  <c:v>39115</c:v>
                </c:pt>
                <c:pt idx="795">
                  <c:v>39118</c:v>
                </c:pt>
                <c:pt idx="796">
                  <c:v>39119</c:v>
                </c:pt>
                <c:pt idx="797">
                  <c:v>39120</c:v>
                </c:pt>
                <c:pt idx="798">
                  <c:v>39121</c:v>
                </c:pt>
                <c:pt idx="799">
                  <c:v>39122</c:v>
                </c:pt>
                <c:pt idx="800">
                  <c:v>39125</c:v>
                </c:pt>
                <c:pt idx="801">
                  <c:v>39126</c:v>
                </c:pt>
                <c:pt idx="802">
                  <c:v>39127</c:v>
                </c:pt>
                <c:pt idx="803">
                  <c:v>39128</c:v>
                </c:pt>
                <c:pt idx="804">
                  <c:v>39129</c:v>
                </c:pt>
                <c:pt idx="805">
                  <c:v>39132</c:v>
                </c:pt>
                <c:pt idx="806">
                  <c:v>39133</c:v>
                </c:pt>
                <c:pt idx="807">
                  <c:v>39134</c:v>
                </c:pt>
                <c:pt idx="808">
                  <c:v>39135</c:v>
                </c:pt>
                <c:pt idx="809">
                  <c:v>39136</c:v>
                </c:pt>
                <c:pt idx="810">
                  <c:v>39139</c:v>
                </c:pt>
                <c:pt idx="811">
                  <c:v>39140</c:v>
                </c:pt>
                <c:pt idx="812">
                  <c:v>39141</c:v>
                </c:pt>
                <c:pt idx="813">
                  <c:v>39142</c:v>
                </c:pt>
                <c:pt idx="814">
                  <c:v>39143</c:v>
                </c:pt>
                <c:pt idx="815">
                  <c:v>39146</c:v>
                </c:pt>
                <c:pt idx="816">
                  <c:v>39147</c:v>
                </c:pt>
                <c:pt idx="817">
                  <c:v>39148</c:v>
                </c:pt>
                <c:pt idx="818">
                  <c:v>39149</c:v>
                </c:pt>
                <c:pt idx="819">
                  <c:v>39150</c:v>
                </c:pt>
                <c:pt idx="820">
                  <c:v>39153</c:v>
                </c:pt>
                <c:pt idx="821">
                  <c:v>39154</c:v>
                </c:pt>
                <c:pt idx="822">
                  <c:v>39155</c:v>
                </c:pt>
                <c:pt idx="823">
                  <c:v>39156</c:v>
                </c:pt>
                <c:pt idx="824">
                  <c:v>39157</c:v>
                </c:pt>
                <c:pt idx="825">
                  <c:v>39160</c:v>
                </c:pt>
                <c:pt idx="826">
                  <c:v>39161</c:v>
                </c:pt>
                <c:pt idx="827">
                  <c:v>39162</c:v>
                </c:pt>
                <c:pt idx="828">
                  <c:v>39163</c:v>
                </c:pt>
                <c:pt idx="829">
                  <c:v>39164</c:v>
                </c:pt>
                <c:pt idx="830">
                  <c:v>39167</c:v>
                </c:pt>
                <c:pt idx="831">
                  <c:v>39168</c:v>
                </c:pt>
                <c:pt idx="832">
                  <c:v>39169</c:v>
                </c:pt>
                <c:pt idx="833">
                  <c:v>39170</c:v>
                </c:pt>
                <c:pt idx="834">
                  <c:v>39171</c:v>
                </c:pt>
                <c:pt idx="835">
                  <c:v>39174</c:v>
                </c:pt>
                <c:pt idx="836">
                  <c:v>39175</c:v>
                </c:pt>
                <c:pt idx="837">
                  <c:v>39176</c:v>
                </c:pt>
                <c:pt idx="838">
                  <c:v>39177</c:v>
                </c:pt>
                <c:pt idx="839">
                  <c:v>39178</c:v>
                </c:pt>
                <c:pt idx="840">
                  <c:v>39181</c:v>
                </c:pt>
                <c:pt idx="841">
                  <c:v>39182</c:v>
                </c:pt>
                <c:pt idx="842">
                  <c:v>39183</c:v>
                </c:pt>
                <c:pt idx="843">
                  <c:v>39184</c:v>
                </c:pt>
                <c:pt idx="844">
                  <c:v>39185</c:v>
                </c:pt>
                <c:pt idx="845">
                  <c:v>39188</c:v>
                </c:pt>
                <c:pt idx="846">
                  <c:v>39189</c:v>
                </c:pt>
                <c:pt idx="847">
                  <c:v>39190</c:v>
                </c:pt>
                <c:pt idx="848">
                  <c:v>39191</c:v>
                </c:pt>
                <c:pt idx="849">
                  <c:v>39192</c:v>
                </c:pt>
                <c:pt idx="850">
                  <c:v>39195</c:v>
                </c:pt>
                <c:pt idx="851">
                  <c:v>39196</c:v>
                </c:pt>
                <c:pt idx="852">
                  <c:v>39197</c:v>
                </c:pt>
                <c:pt idx="853">
                  <c:v>39198</c:v>
                </c:pt>
                <c:pt idx="854">
                  <c:v>39199</c:v>
                </c:pt>
                <c:pt idx="855">
                  <c:v>39202</c:v>
                </c:pt>
                <c:pt idx="856">
                  <c:v>39203</c:v>
                </c:pt>
                <c:pt idx="857">
                  <c:v>39204</c:v>
                </c:pt>
                <c:pt idx="858">
                  <c:v>39205</c:v>
                </c:pt>
                <c:pt idx="859">
                  <c:v>39206</c:v>
                </c:pt>
                <c:pt idx="860">
                  <c:v>39209</c:v>
                </c:pt>
                <c:pt idx="861">
                  <c:v>39210</c:v>
                </c:pt>
                <c:pt idx="862">
                  <c:v>39211</c:v>
                </c:pt>
                <c:pt idx="863">
                  <c:v>39212</c:v>
                </c:pt>
                <c:pt idx="864">
                  <c:v>39213</c:v>
                </c:pt>
                <c:pt idx="865">
                  <c:v>39216</c:v>
                </c:pt>
                <c:pt idx="866">
                  <c:v>39217</c:v>
                </c:pt>
                <c:pt idx="867">
                  <c:v>39218</c:v>
                </c:pt>
                <c:pt idx="868">
                  <c:v>39219</c:v>
                </c:pt>
                <c:pt idx="869">
                  <c:v>39220</c:v>
                </c:pt>
                <c:pt idx="870">
                  <c:v>39223</c:v>
                </c:pt>
                <c:pt idx="871">
                  <c:v>39224</c:v>
                </c:pt>
                <c:pt idx="872">
                  <c:v>39225</c:v>
                </c:pt>
                <c:pt idx="873">
                  <c:v>39226</c:v>
                </c:pt>
                <c:pt idx="874">
                  <c:v>39227</c:v>
                </c:pt>
                <c:pt idx="875">
                  <c:v>39230</c:v>
                </c:pt>
                <c:pt idx="876">
                  <c:v>39231</c:v>
                </c:pt>
                <c:pt idx="877">
                  <c:v>39232</c:v>
                </c:pt>
                <c:pt idx="878">
                  <c:v>39233</c:v>
                </c:pt>
                <c:pt idx="879">
                  <c:v>39234</c:v>
                </c:pt>
                <c:pt idx="880">
                  <c:v>39237</c:v>
                </c:pt>
                <c:pt idx="881">
                  <c:v>39238</c:v>
                </c:pt>
                <c:pt idx="882">
                  <c:v>39239</c:v>
                </c:pt>
                <c:pt idx="883">
                  <c:v>39240</c:v>
                </c:pt>
                <c:pt idx="884">
                  <c:v>39241</c:v>
                </c:pt>
                <c:pt idx="885">
                  <c:v>39244</c:v>
                </c:pt>
                <c:pt idx="886">
                  <c:v>39245</c:v>
                </c:pt>
                <c:pt idx="887">
                  <c:v>39246</c:v>
                </c:pt>
                <c:pt idx="888">
                  <c:v>39247</c:v>
                </c:pt>
                <c:pt idx="889">
                  <c:v>39248</c:v>
                </c:pt>
                <c:pt idx="890">
                  <c:v>39251</c:v>
                </c:pt>
                <c:pt idx="891">
                  <c:v>39252</c:v>
                </c:pt>
                <c:pt idx="892">
                  <c:v>39253</c:v>
                </c:pt>
                <c:pt idx="893">
                  <c:v>39254</c:v>
                </c:pt>
                <c:pt idx="894">
                  <c:v>39255</c:v>
                </c:pt>
                <c:pt idx="895">
                  <c:v>39258</c:v>
                </c:pt>
                <c:pt idx="896">
                  <c:v>39259</c:v>
                </c:pt>
                <c:pt idx="897">
                  <c:v>39260</c:v>
                </c:pt>
                <c:pt idx="898">
                  <c:v>39261</c:v>
                </c:pt>
                <c:pt idx="899">
                  <c:v>39262</c:v>
                </c:pt>
                <c:pt idx="900">
                  <c:v>39265</c:v>
                </c:pt>
                <c:pt idx="901">
                  <c:v>39266</c:v>
                </c:pt>
                <c:pt idx="902">
                  <c:v>39267</c:v>
                </c:pt>
                <c:pt idx="903">
                  <c:v>39268</c:v>
                </c:pt>
                <c:pt idx="904">
                  <c:v>39269</c:v>
                </c:pt>
                <c:pt idx="905">
                  <c:v>39272</c:v>
                </c:pt>
                <c:pt idx="906">
                  <c:v>39273</c:v>
                </c:pt>
                <c:pt idx="907">
                  <c:v>39274</c:v>
                </c:pt>
                <c:pt idx="908">
                  <c:v>39275</c:v>
                </c:pt>
                <c:pt idx="909">
                  <c:v>39276</c:v>
                </c:pt>
                <c:pt idx="910">
                  <c:v>39279</c:v>
                </c:pt>
                <c:pt idx="911">
                  <c:v>39280</c:v>
                </c:pt>
                <c:pt idx="912">
                  <c:v>39281</c:v>
                </c:pt>
                <c:pt idx="913">
                  <c:v>39282</c:v>
                </c:pt>
                <c:pt idx="914">
                  <c:v>39283</c:v>
                </c:pt>
                <c:pt idx="915">
                  <c:v>39286</c:v>
                </c:pt>
                <c:pt idx="916">
                  <c:v>39287</c:v>
                </c:pt>
                <c:pt idx="917">
                  <c:v>39288</c:v>
                </c:pt>
                <c:pt idx="918">
                  <c:v>39289</c:v>
                </c:pt>
                <c:pt idx="919">
                  <c:v>39290</c:v>
                </c:pt>
                <c:pt idx="920">
                  <c:v>39293</c:v>
                </c:pt>
                <c:pt idx="921">
                  <c:v>39294</c:v>
                </c:pt>
                <c:pt idx="922">
                  <c:v>39295</c:v>
                </c:pt>
                <c:pt idx="923">
                  <c:v>39296</c:v>
                </c:pt>
                <c:pt idx="924">
                  <c:v>39297</c:v>
                </c:pt>
                <c:pt idx="925">
                  <c:v>39300</c:v>
                </c:pt>
                <c:pt idx="926">
                  <c:v>39301</c:v>
                </c:pt>
                <c:pt idx="927">
                  <c:v>39302</c:v>
                </c:pt>
                <c:pt idx="928">
                  <c:v>39303</c:v>
                </c:pt>
                <c:pt idx="929">
                  <c:v>39304</c:v>
                </c:pt>
                <c:pt idx="930">
                  <c:v>39307</c:v>
                </c:pt>
                <c:pt idx="931">
                  <c:v>39308</c:v>
                </c:pt>
                <c:pt idx="932">
                  <c:v>39309</c:v>
                </c:pt>
                <c:pt idx="933">
                  <c:v>39310</c:v>
                </c:pt>
                <c:pt idx="934">
                  <c:v>39311</c:v>
                </c:pt>
                <c:pt idx="935">
                  <c:v>39314</c:v>
                </c:pt>
                <c:pt idx="936">
                  <c:v>39315</c:v>
                </c:pt>
                <c:pt idx="937">
                  <c:v>39316</c:v>
                </c:pt>
                <c:pt idx="938">
                  <c:v>39317</c:v>
                </c:pt>
                <c:pt idx="939">
                  <c:v>39318</c:v>
                </c:pt>
                <c:pt idx="940">
                  <c:v>39321</c:v>
                </c:pt>
                <c:pt idx="941">
                  <c:v>39322</c:v>
                </c:pt>
                <c:pt idx="942">
                  <c:v>39323</c:v>
                </c:pt>
                <c:pt idx="943">
                  <c:v>39324</c:v>
                </c:pt>
                <c:pt idx="944">
                  <c:v>39325</c:v>
                </c:pt>
                <c:pt idx="945">
                  <c:v>39328</c:v>
                </c:pt>
                <c:pt idx="946">
                  <c:v>39329</c:v>
                </c:pt>
                <c:pt idx="947">
                  <c:v>39330</c:v>
                </c:pt>
                <c:pt idx="948">
                  <c:v>39331</c:v>
                </c:pt>
                <c:pt idx="949">
                  <c:v>39332</c:v>
                </c:pt>
                <c:pt idx="950">
                  <c:v>39335</c:v>
                </c:pt>
                <c:pt idx="951">
                  <c:v>39336</c:v>
                </c:pt>
                <c:pt idx="952">
                  <c:v>39337</c:v>
                </c:pt>
                <c:pt idx="953">
                  <c:v>39338</c:v>
                </c:pt>
                <c:pt idx="954">
                  <c:v>39339</c:v>
                </c:pt>
                <c:pt idx="955">
                  <c:v>39342</c:v>
                </c:pt>
                <c:pt idx="956">
                  <c:v>39343</c:v>
                </c:pt>
                <c:pt idx="957">
                  <c:v>39344</c:v>
                </c:pt>
                <c:pt idx="958">
                  <c:v>39345</c:v>
                </c:pt>
                <c:pt idx="959">
                  <c:v>39346</c:v>
                </c:pt>
                <c:pt idx="960">
                  <c:v>39349</c:v>
                </c:pt>
                <c:pt idx="961">
                  <c:v>39350</c:v>
                </c:pt>
                <c:pt idx="962">
                  <c:v>39351</c:v>
                </c:pt>
                <c:pt idx="963">
                  <c:v>39352</c:v>
                </c:pt>
                <c:pt idx="964">
                  <c:v>39353</c:v>
                </c:pt>
                <c:pt idx="965">
                  <c:v>39356</c:v>
                </c:pt>
                <c:pt idx="966">
                  <c:v>39357</c:v>
                </c:pt>
                <c:pt idx="967">
                  <c:v>39358</c:v>
                </c:pt>
                <c:pt idx="968">
                  <c:v>39359</c:v>
                </c:pt>
                <c:pt idx="969">
                  <c:v>39360</c:v>
                </c:pt>
                <c:pt idx="970">
                  <c:v>39363</c:v>
                </c:pt>
                <c:pt idx="971">
                  <c:v>39364</c:v>
                </c:pt>
                <c:pt idx="972">
                  <c:v>39365</c:v>
                </c:pt>
                <c:pt idx="973">
                  <c:v>39366</c:v>
                </c:pt>
                <c:pt idx="974">
                  <c:v>39367</c:v>
                </c:pt>
                <c:pt idx="975">
                  <c:v>39370</c:v>
                </c:pt>
                <c:pt idx="976">
                  <c:v>39371</c:v>
                </c:pt>
                <c:pt idx="977">
                  <c:v>39372</c:v>
                </c:pt>
                <c:pt idx="978">
                  <c:v>39373</c:v>
                </c:pt>
                <c:pt idx="979">
                  <c:v>39374</c:v>
                </c:pt>
                <c:pt idx="980">
                  <c:v>39377</c:v>
                </c:pt>
                <c:pt idx="981">
                  <c:v>39378</c:v>
                </c:pt>
                <c:pt idx="982">
                  <c:v>39379</c:v>
                </c:pt>
                <c:pt idx="983">
                  <c:v>39380</c:v>
                </c:pt>
                <c:pt idx="984">
                  <c:v>39381</c:v>
                </c:pt>
                <c:pt idx="985">
                  <c:v>39384</c:v>
                </c:pt>
                <c:pt idx="986">
                  <c:v>39385</c:v>
                </c:pt>
                <c:pt idx="987">
                  <c:v>39386</c:v>
                </c:pt>
                <c:pt idx="988">
                  <c:v>39387</c:v>
                </c:pt>
                <c:pt idx="989">
                  <c:v>39388</c:v>
                </c:pt>
                <c:pt idx="990">
                  <c:v>39391</c:v>
                </c:pt>
                <c:pt idx="991">
                  <c:v>39392</c:v>
                </c:pt>
                <c:pt idx="992">
                  <c:v>39393</c:v>
                </c:pt>
                <c:pt idx="993">
                  <c:v>39394</c:v>
                </c:pt>
                <c:pt idx="994">
                  <c:v>39395</c:v>
                </c:pt>
                <c:pt idx="995">
                  <c:v>39398</c:v>
                </c:pt>
                <c:pt idx="996">
                  <c:v>39399</c:v>
                </c:pt>
                <c:pt idx="997">
                  <c:v>39400</c:v>
                </c:pt>
                <c:pt idx="998">
                  <c:v>39401</c:v>
                </c:pt>
                <c:pt idx="999">
                  <c:v>39402</c:v>
                </c:pt>
                <c:pt idx="1000">
                  <c:v>39405</c:v>
                </c:pt>
                <c:pt idx="1001">
                  <c:v>39406</c:v>
                </c:pt>
                <c:pt idx="1002">
                  <c:v>39407</c:v>
                </c:pt>
                <c:pt idx="1003">
                  <c:v>39408</c:v>
                </c:pt>
                <c:pt idx="1004">
                  <c:v>39409</c:v>
                </c:pt>
                <c:pt idx="1005">
                  <c:v>39412</c:v>
                </c:pt>
                <c:pt idx="1006">
                  <c:v>39413</c:v>
                </c:pt>
                <c:pt idx="1007">
                  <c:v>39414</c:v>
                </c:pt>
                <c:pt idx="1008">
                  <c:v>39415</c:v>
                </c:pt>
                <c:pt idx="1009">
                  <c:v>39416</c:v>
                </c:pt>
                <c:pt idx="1010">
                  <c:v>39419</c:v>
                </c:pt>
                <c:pt idx="1011">
                  <c:v>39420</c:v>
                </c:pt>
                <c:pt idx="1012">
                  <c:v>39421</c:v>
                </c:pt>
                <c:pt idx="1013">
                  <c:v>39422</c:v>
                </c:pt>
                <c:pt idx="1014">
                  <c:v>39423</c:v>
                </c:pt>
                <c:pt idx="1015">
                  <c:v>39426</c:v>
                </c:pt>
                <c:pt idx="1016">
                  <c:v>39427</c:v>
                </c:pt>
                <c:pt idx="1017">
                  <c:v>39428</c:v>
                </c:pt>
                <c:pt idx="1018">
                  <c:v>39429</c:v>
                </c:pt>
                <c:pt idx="1019">
                  <c:v>39430</c:v>
                </c:pt>
                <c:pt idx="1020">
                  <c:v>39433</c:v>
                </c:pt>
                <c:pt idx="1021">
                  <c:v>39434</c:v>
                </c:pt>
                <c:pt idx="1022">
                  <c:v>39435</c:v>
                </c:pt>
                <c:pt idx="1023">
                  <c:v>39436</c:v>
                </c:pt>
                <c:pt idx="1024">
                  <c:v>39437</c:v>
                </c:pt>
                <c:pt idx="1025">
                  <c:v>39440</c:v>
                </c:pt>
                <c:pt idx="1026">
                  <c:v>39441</c:v>
                </c:pt>
                <c:pt idx="1027">
                  <c:v>39442</c:v>
                </c:pt>
                <c:pt idx="1028">
                  <c:v>39443</c:v>
                </c:pt>
                <c:pt idx="1029">
                  <c:v>39444</c:v>
                </c:pt>
                <c:pt idx="1030">
                  <c:v>39447</c:v>
                </c:pt>
                <c:pt idx="1031">
                  <c:v>39448</c:v>
                </c:pt>
                <c:pt idx="1032">
                  <c:v>39449</c:v>
                </c:pt>
                <c:pt idx="1033">
                  <c:v>39450</c:v>
                </c:pt>
                <c:pt idx="1034">
                  <c:v>39451</c:v>
                </c:pt>
                <c:pt idx="1035">
                  <c:v>39454</c:v>
                </c:pt>
                <c:pt idx="1036">
                  <c:v>39455</c:v>
                </c:pt>
                <c:pt idx="1037">
                  <c:v>39456</c:v>
                </c:pt>
                <c:pt idx="1038">
                  <c:v>39457</c:v>
                </c:pt>
                <c:pt idx="1039">
                  <c:v>39458</c:v>
                </c:pt>
                <c:pt idx="1040">
                  <c:v>39461</c:v>
                </c:pt>
                <c:pt idx="1041">
                  <c:v>39462</c:v>
                </c:pt>
                <c:pt idx="1042">
                  <c:v>39463</c:v>
                </c:pt>
                <c:pt idx="1043">
                  <c:v>39464</c:v>
                </c:pt>
                <c:pt idx="1044">
                  <c:v>39465</c:v>
                </c:pt>
                <c:pt idx="1045">
                  <c:v>39468</c:v>
                </c:pt>
                <c:pt idx="1046">
                  <c:v>39469</c:v>
                </c:pt>
                <c:pt idx="1047">
                  <c:v>39470</c:v>
                </c:pt>
                <c:pt idx="1048">
                  <c:v>39471</c:v>
                </c:pt>
                <c:pt idx="1049">
                  <c:v>39472</c:v>
                </c:pt>
                <c:pt idx="1050">
                  <c:v>39475</c:v>
                </c:pt>
                <c:pt idx="1051">
                  <c:v>39476</c:v>
                </c:pt>
                <c:pt idx="1052">
                  <c:v>39477</c:v>
                </c:pt>
                <c:pt idx="1053">
                  <c:v>39478</c:v>
                </c:pt>
                <c:pt idx="1054">
                  <c:v>39479</c:v>
                </c:pt>
                <c:pt idx="1055">
                  <c:v>39482</c:v>
                </c:pt>
                <c:pt idx="1056">
                  <c:v>39483</c:v>
                </c:pt>
                <c:pt idx="1057">
                  <c:v>39484</c:v>
                </c:pt>
                <c:pt idx="1058">
                  <c:v>39485</c:v>
                </c:pt>
                <c:pt idx="1059">
                  <c:v>39486</c:v>
                </c:pt>
                <c:pt idx="1060">
                  <c:v>39489</c:v>
                </c:pt>
                <c:pt idx="1061">
                  <c:v>39490</c:v>
                </c:pt>
                <c:pt idx="1062">
                  <c:v>39491</c:v>
                </c:pt>
                <c:pt idx="1063">
                  <c:v>39492</c:v>
                </c:pt>
                <c:pt idx="1064">
                  <c:v>39493</c:v>
                </c:pt>
                <c:pt idx="1065">
                  <c:v>39496</c:v>
                </c:pt>
                <c:pt idx="1066">
                  <c:v>39497</c:v>
                </c:pt>
                <c:pt idx="1067">
                  <c:v>39498</c:v>
                </c:pt>
                <c:pt idx="1068">
                  <c:v>39499</c:v>
                </c:pt>
                <c:pt idx="1069">
                  <c:v>39500</c:v>
                </c:pt>
                <c:pt idx="1070">
                  <c:v>39503</c:v>
                </c:pt>
                <c:pt idx="1071">
                  <c:v>39504</c:v>
                </c:pt>
                <c:pt idx="1072">
                  <c:v>39505</c:v>
                </c:pt>
                <c:pt idx="1073">
                  <c:v>39506</c:v>
                </c:pt>
                <c:pt idx="1074">
                  <c:v>39507</c:v>
                </c:pt>
                <c:pt idx="1075">
                  <c:v>39510</c:v>
                </c:pt>
                <c:pt idx="1076">
                  <c:v>39511</c:v>
                </c:pt>
                <c:pt idx="1077">
                  <c:v>39512</c:v>
                </c:pt>
                <c:pt idx="1078">
                  <c:v>39513</c:v>
                </c:pt>
                <c:pt idx="1079">
                  <c:v>39514</c:v>
                </c:pt>
                <c:pt idx="1080">
                  <c:v>39517</c:v>
                </c:pt>
                <c:pt idx="1081">
                  <c:v>39518</c:v>
                </c:pt>
                <c:pt idx="1082">
                  <c:v>39519</c:v>
                </c:pt>
                <c:pt idx="1083">
                  <c:v>39520</c:v>
                </c:pt>
                <c:pt idx="1084">
                  <c:v>39521</c:v>
                </c:pt>
                <c:pt idx="1085">
                  <c:v>39524</c:v>
                </c:pt>
                <c:pt idx="1086">
                  <c:v>39525</c:v>
                </c:pt>
                <c:pt idx="1087">
                  <c:v>39526</c:v>
                </c:pt>
                <c:pt idx="1088">
                  <c:v>39527</c:v>
                </c:pt>
                <c:pt idx="1089">
                  <c:v>39528</c:v>
                </c:pt>
                <c:pt idx="1090">
                  <c:v>39531</c:v>
                </c:pt>
                <c:pt idx="1091">
                  <c:v>39532</c:v>
                </c:pt>
                <c:pt idx="1092">
                  <c:v>39533</c:v>
                </c:pt>
                <c:pt idx="1093">
                  <c:v>39534</c:v>
                </c:pt>
                <c:pt idx="1094">
                  <c:v>39535</c:v>
                </c:pt>
                <c:pt idx="1095">
                  <c:v>39538</c:v>
                </c:pt>
                <c:pt idx="1096">
                  <c:v>39539</c:v>
                </c:pt>
                <c:pt idx="1097">
                  <c:v>39540</c:v>
                </c:pt>
                <c:pt idx="1098">
                  <c:v>39541</c:v>
                </c:pt>
                <c:pt idx="1099">
                  <c:v>39542</c:v>
                </c:pt>
                <c:pt idx="1100">
                  <c:v>39545</c:v>
                </c:pt>
                <c:pt idx="1101">
                  <c:v>39546</c:v>
                </c:pt>
                <c:pt idx="1102">
                  <c:v>39547</c:v>
                </c:pt>
                <c:pt idx="1103">
                  <c:v>39548</c:v>
                </c:pt>
                <c:pt idx="1104">
                  <c:v>39549</c:v>
                </c:pt>
                <c:pt idx="1105">
                  <c:v>39552</c:v>
                </c:pt>
                <c:pt idx="1106">
                  <c:v>39553</c:v>
                </c:pt>
                <c:pt idx="1107">
                  <c:v>39554</c:v>
                </c:pt>
                <c:pt idx="1108">
                  <c:v>39555</c:v>
                </c:pt>
                <c:pt idx="1109">
                  <c:v>39556</c:v>
                </c:pt>
                <c:pt idx="1110">
                  <c:v>39559</c:v>
                </c:pt>
                <c:pt idx="1111">
                  <c:v>39560</c:v>
                </c:pt>
                <c:pt idx="1112">
                  <c:v>39561</c:v>
                </c:pt>
                <c:pt idx="1113">
                  <c:v>39562</c:v>
                </c:pt>
                <c:pt idx="1114">
                  <c:v>39563</c:v>
                </c:pt>
                <c:pt idx="1115">
                  <c:v>39566</c:v>
                </c:pt>
                <c:pt idx="1116">
                  <c:v>39567</c:v>
                </c:pt>
                <c:pt idx="1117">
                  <c:v>39568</c:v>
                </c:pt>
                <c:pt idx="1118">
                  <c:v>39569</c:v>
                </c:pt>
                <c:pt idx="1119">
                  <c:v>39570</c:v>
                </c:pt>
                <c:pt idx="1120">
                  <c:v>39573</c:v>
                </c:pt>
                <c:pt idx="1121">
                  <c:v>39574</c:v>
                </c:pt>
                <c:pt idx="1122">
                  <c:v>39575</c:v>
                </c:pt>
                <c:pt idx="1123">
                  <c:v>39576</c:v>
                </c:pt>
                <c:pt idx="1124">
                  <c:v>39577</c:v>
                </c:pt>
                <c:pt idx="1125">
                  <c:v>39580</c:v>
                </c:pt>
                <c:pt idx="1126">
                  <c:v>39581</c:v>
                </c:pt>
                <c:pt idx="1127">
                  <c:v>39582</c:v>
                </c:pt>
                <c:pt idx="1128">
                  <c:v>39583</c:v>
                </c:pt>
                <c:pt idx="1129">
                  <c:v>39584</c:v>
                </c:pt>
                <c:pt idx="1130">
                  <c:v>39587</c:v>
                </c:pt>
                <c:pt idx="1131">
                  <c:v>39588</c:v>
                </c:pt>
                <c:pt idx="1132">
                  <c:v>39589</c:v>
                </c:pt>
                <c:pt idx="1133">
                  <c:v>39590</c:v>
                </c:pt>
                <c:pt idx="1134">
                  <c:v>39591</c:v>
                </c:pt>
                <c:pt idx="1135">
                  <c:v>39594</c:v>
                </c:pt>
                <c:pt idx="1136">
                  <c:v>39595</c:v>
                </c:pt>
                <c:pt idx="1137">
                  <c:v>39596</c:v>
                </c:pt>
                <c:pt idx="1138">
                  <c:v>39597</c:v>
                </c:pt>
                <c:pt idx="1139">
                  <c:v>39598</c:v>
                </c:pt>
                <c:pt idx="1140">
                  <c:v>39601</c:v>
                </c:pt>
                <c:pt idx="1141">
                  <c:v>39602</c:v>
                </c:pt>
                <c:pt idx="1142">
                  <c:v>39603</c:v>
                </c:pt>
                <c:pt idx="1143">
                  <c:v>39604</c:v>
                </c:pt>
                <c:pt idx="1144">
                  <c:v>39605</c:v>
                </c:pt>
                <c:pt idx="1145">
                  <c:v>39608</c:v>
                </c:pt>
                <c:pt idx="1146">
                  <c:v>39609</c:v>
                </c:pt>
                <c:pt idx="1147">
                  <c:v>39610</c:v>
                </c:pt>
                <c:pt idx="1148">
                  <c:v>39611</c:v>
                </c:pt>
                <c:pt idx="1149">
                  <c:v>39612</c:v>
                </c:pt>
                <c:pt idx="1150">
                  <c:v>39615</c:v>
                </c:pt>
                <c:pt idx="1151">
                  <c:v>39616</c:v>
                </c:pt>
                <c:pt idx="1152">
                  <c:v>39617</c:v>
                </c:pt>
                <c:pt idx="1153">
                  <c:v>39618</c:v>
                </c:pt>
                <c:pt idx="1154">
                  <c:v>39619</c:v>
                </c:pt>
                <c:pt idx="1155">
                  <c:v>39622</c:v>
                </c:pt>
                <c:pt idx="1156">
                  <c:v>39623</c:v>
                </c:pt>
                <c:pt idx="1157">
                  <c:v>39624</c:v>
                </c:pt>
                <c:pt idx="1158">
                  <c:v>39625</c:v>
                </c:pt>
                <c:pt idx="1159">
                  <c:v>39626</c:v>
                </c:pt>
                <c:pt idx="1160">
                  <c:v>39629</c:v>
                </c:pt>
                <c:pt idx="1161">
                  <c:v>39630</c:v>
                </c:pt>
                <c:pt idx="1162">
                  <c:v>39631</c:v>
                </c:pt>
                <c:pt idx="1163">
                  <c:v>39632</c:v>
                </c:pt>
                <c:pt idx="1164">
                  <c:v>39633</c:v>
                </c:pt>
                <c:pt idx="1165">
                  <c:v>39636</c:v>
                </c:pt>
                <c:pt idx="1166">
                  <c:v>39637</c:v>
                </c:pt>
                <c:pt idx="1167">
                  <c:v>39638</c:v>
                </c:pt>
                <c:pt idx="1168">
                  <c:v>39639</c:v>
                </c:pt>
                <c:pt idx="1169">
                  <c:v>39640</c:v>
                </c:pt>
                <c:pt idx="1170">
                  <c:v>39643</c:v>
                </c:pt>
                <c:pt idx="1171">
                  <c:v>39644</c:v>
                </c:pt>
                <c:pt idx="1172">
                  <c:v>39645</c:v>
                </c:pt>
                <c:pt idx="1173">
                  <c:v>39646</c:v>
                </c:pt>
                <c:pt idx="1174">
                  <c:v>39647</c:v>
                </c:pt>
                <c:pt idx="1175">
                  <c:v>39650</c:v>
                </c:pt>
                <c:pt idx="1176">
                  <c:v>39651</c:v>
                </c:pt>
                <c:pt idx="1177">
                  <c:v>39652</c:v>
                </c:pt>
                <c:pt idx="1178">
                  <c:v>39653</c:v>
                </c:pt>
                <c:pt idx="1179">
                  <c:v>39654</c:v>
                </c:pt>
                <c:pt idx="1180">
                  <c:v>39657</c:v>
                </c:pt>
                <c:pt idx="1181">
                  <c:v>39658</c:v>
                </c:pt>
                <c:pt idx="1182">
                  <c:v>39659</c:v>
                </c:pt>
                <c:pt idx="1183">
                  <c:v>39660</c:v>
                </c:pt>
                <c:pt idx="1184">
                  <c:v>39661</c:v>
                </c:pt>
                <c:pt idx="1185">
                  <c:v>39664</c:v>
                </c:pt>
                <c:pt idx="1186">
                  <c:v>39665</c:v>
                </c:pt>
                <c:pt idx="1187">
                  <c:v>39666</c:v>
                </c:pt>
                <c:pt idx="1188">
                  <c:v>39667</c:v>
                </c:pt>
                <c:pt idx="1189">
                  <c:v>39668</c:v>
                </c:pt>
                <c:pt idx="1190">
                  <c:v>39671</c:v>
                </c:pt>
                <c:pt idx="1191">
                  <c:v>39672</c:v>
                </c:pt>
                <c:pt idx="1192">
                  <c:v>39673</c:v>
                </c:pt>
                <c:pt idx="1193">
                  <c:v>39674</c:v>
                </c:pt>
                <c:pt idx="1194">
                  <c:v>39675</c:v>
                </c:pt>
                <c:pt idx="1195">
                  <c:v>39678</c:v>
                </c:pt>
                <c:pt idx="1196">
                  <c:v>39679</c:v>
                </c:pt>
                <c:pt idx="1197">
                  <c:v>39680</c:v>
                </c:pt>
                <c:pt idx="1198">
                  <c:v>39681</c:v>
                </c:pt>
                <c:pt idx="1199">
                  <c:v>39682</c:v>
                </c:pt>
                <c:pt idx="1200">
                  <c:v>39685</c:v>
                </c:pt>
                <c:pt idx="1201">
                  <c:v>39686</c:v>
                </c:pt>
                <c:pt idx="1202">
                  <c:v>39687</c:v>
                </c:pt>
                <c:pt idx="1203">
                  <c:v>39688</c:v>
                </c:pt>
                <c:pt idx="1204">
                  <c:v>39689</c:v>
                </c:pt>
                <c:pt idx="1205">
                  <c:v>39692</c:v>
                </c:pt>
                <c:pt idx="1206">
                  <c:v>39693</c:v>
                </c:pt>
                <c:pt idx="1207">
                  <c:v>39694</c:v>
                </c:pt>
                <c:pt idx="1208">
                  <c:v>39695</c:v>
                </c:pt>
                <c:pt idx="1209">
                  <c:v>39696</c:v>
                </c:pt>
                <c:pt idx="1210">
                  <c:v>39699</c:v>
                </c:pt>
                <c:pt idx="1211">
                  <c:v>39700</c:v>
                </c:pt>
                <c:pt idx="1212">
                  <c:v>39701</c:v>
                </c:pt>
                <c:pt idx="1213">
                  <c:v>39702</c:v>
                </c:pt>
                <c:pt idx="1214">
                  <c:v>39703</c:v>
                </c:pt>
                <c:pt idx="1215">
                  <c:v>39706</c:v>
                </c:pt>
                <c:pt idx="1216">
                  <c:v>39707</c:v>
                </c:pt>
                <c:pt idx="1217">
                  <c:v>39708</c:v>
                </c:pt>
                <c:pt idx="1218">
                  <c:v>39709</c:v>
                </c:pt>
                <c:pt idx="1219">
                  <c:v>39710</c:v>
                </c:pt>
                <c:pt idx="1220">
                  <c:v>39713</c:v>
                </c:pt>
                <c:pt idx="1221">
                  <c:v>39714</c:v>
                </c:pt>
                <c:pt idx="1222">
                  <c:v>39715</c:v>
                </c:pt>
                <c:pt idx="1223">
                  <c:v>39716</c:v>
                </c:pt>
                <c:pt idx="1224">
                  <c:v>39717</c:v>
                </c:pt>
                <c:pt idx="1225">
                  <c:v>39720</c:v>
                </c:pt>
                <c:pt idx="1226">
                  <c:v>39721</c:v>
                </c:pt>
                <c:pt idx="1227">
                  <c:v>39722</c:v>
                </c:pt>
                <c:pt idx="1228">
                  <c:v>39723</c:v>
                </c:pt>
                <c:pt idx="1229">
                  <c:v>39724</c:v>
                </c:pt>
                <c:pt idx="1230">
                  <c:v>39727</c:v>
                </c:pt>
                <c:pt idx="1231">
                  <c:v>39728</c:v>
                </c:pt>
                <c:pt idx="1232">
                  <c:v>39729</c:v>
                </c:pt>
                <c:pt idx="1233">
                  <c:v>39730</c:v>
                </c:pt>
                <c:pt idx="1234">
                  <c:v>39731</c:v>
                </c:pt>
                <c:pt idx="1235">
                  <c:v>39734</c:v>
                </c:pt>
                <c:pt idx="1236">
                  <c:v>39735</c:v>
                </c:pt>
                <c:pt idx="1237">
                  <c:v>39736</c:v>
                </c:pt>
                <c:pt idx="1238">
                  <c:v>39737</c:v>
                </c:pt>
                <c:pt idx="1239">
                  <c:v>39738</c:v>
                </c:pt>
                <c:pt idx="1240">
                  <c:v>39741</c:v>
                </c:pt>
                <c:pt idx="1241">
                  <c:v>39742</c:v>
                </c:pt>
                <c:pt idx="1242">
                  <c:v>39743</c:v>
                </c:pt>
                <c:pt idx="1243">
                  <c:v>39744</c:v>
                </c:pt>
                <c:pt idx="1244">
                  <c:v>39745</c:v>
                </c:pt>
                <c:pt idx="1245">
                  <c:v>39748</c:v>
                </c:pt>
                <c:pt idx="1246">
                  <c:v>39749</c:v>
                </c:pt>
                <c:pt idx="1247">
                  <c:v>39750</c:v>
                </c:pt>
                <c:pt idx="1248">
                  <c:v>39751</c:v>
                </c:pt>
                <c:pt idx="1249">
                  <c:v>39752</c:v>
                </c:pt>
                <c:pt idx="1250">
                  <c:v>39755</c:v>
                </c:pt>
                <c:pt idx="1251">
                  <c:v>39756</c:v>
                </c:pt>
                <c:pt idx="1252">
                  <c:v>39757</c:v>
                </c:pt>
                <c:pt idx="1253">
                  <c:v>39758</c:v>
                </c:pt>
                <c:pt idx="1254">
                  <c:v>39759</c:v>
                </c:pt>
                <c:pt idx="1255">
                  <c:v>39762</c:v>
                </c:pt>
                <c:pt idx="1256">
                  <c:v>39763</c:v>
                </c:pt>
                <c:pt idx="1257">
                  <c:v>39764</c:v>
                </c:pt>
                <c:pt idx="1258">
                  <c:v>39765</c:v>
                </c:pt>
                <c:pt idx="1259">
                  <c:v>39766</c:v>
                </c:pt>
                <c:pt idx="1260">
                  <c:v>39769</c:v>
                </c:pt>
                <c:pt idx="1261">
                  <c:v>39770</c:v>
                </c:pt>
                <c:pt idx="1262">
                  <c:v>39771</c:v>
                </c:pt>
                <c:pt idx="1263">
                  <c:v>39772</c:v>
                </c:pt>
                <c:pt idx="1264">
                  <c:v>39773</c:v>
                </c:pt>
                <c:pt idx="1265">
                  <c:v>39776</c:v>
                </c:pt>
                <c:pt idx="1266">
                  <c:v>39777</c:v>
                </c:pt>
                <c:pt idx="1267">
                  <c:v>39778</c:v>
                </c:pt>
                <c:pt idx="1268">
                  <c:v>39779</c:v>
                </c:pt>
                <c:pt idx="1269">
                  <c:v>39780</c:v>
                </c:pt>
                <c:pt idx="1270">
                  <c:v>39783</c:v>
                </c:pt>
                <c:pt idx="1271">
                  <c:v>39784</c:v>
                </c:pt>
                <c:pt idx="1272">
                  <c:v>39785</c:v>
                </c:pt>
                <c:pt idx="1273">
                  <c:v>39786</c:v>
                </c:pt>
                <c:pt idx="1274">
                  <c:v>39787</c:v>
                </c:pt>
                <c:pt idx="1275">
                  <c:v>39790</c:v>
                </c:pt>
                <c:pt idx="1276">
                  <c:v>39791</c:v>
                </c:pt>
                <c:pt idx="1277">
                  <c:v>39792</c:v>
                </c:pt>
                <c:pt idx="1278">
                  <c:v>39793</c:v>
                </c:pt>
                <c:pt idx="1279">
                  <c:v>39794</c:v>
                </c:pt>
                <c:pt idx="1280">
                  <c:v>39797</c:v>
                </c:pt>
                <c:pt idx="1281">
                  <c:v>39798</c:v>
                </c:pt>
                <c:pt idx="1282">
                  <c:v>39799</c:v>
                </c:pt>
                <c:pt idx="1283">
                  <c:v>39800</c:v>
                </c:pt>
                <c:pt idx="1284">
                  <c:v>39801</c:v>
                </c:pt>
                <c:pt idx="1285">
                  <c:v>39804</c:v>
                </c:pt>
                <c:pt idx="1286">
                  <c:v>39805</c:v>
                </c:pt>
                <c:pt idx="1287">
                  <c:v>39806</c:v>
                </c:pt>
                <c:pt idx="1288">
                  <c:v>39807</c:v>
                </c:pt>
                <c:pt idx="1289">
                  <c:v>39808</c:v>
                </c:pt>
                <c:pt idx="1290">
                  <c:v>39811</c:v>
                </c:pt>
                <c:pt idx="1291">
                  <c:v>39812</c:v>
                </c:pt>
                <c:pt idx="1292">
                  <c:v>39813</c:v>
                </c:pt>
                <c:pt idx="1293">
                  <c:v>39814</c:v>
                </c:pt>
                <c:pt idx="1294">
                  <c:v>39815</c:v>
                </c:pt>
                <c:pt idx="1295">
                  <c:v>39818</c:v>
                </c:pt>
                <c:pt idx="1296">
                  <c:v>39819</c:v>
                </c:pt>
                <c:pt idx="1297">
                  <c:v>39820</c:v>
                </c:pt>
                <c:pt idx="1298">
                  <c:v>39821</c:v>
                </c:pt>
                <c:pt idx="1299">
                  <c:v>39822</c:v>
                </c:pt>
                <c:pt idx="1300">
                  <c:v>39825</c:v>
                </c:pt>
                <c:pt idx="1301">
                  <c:v>39826</c:v>
                </c:pt>
                <c:pt idx="1302">
                  <c:v>39827</c:v>
                </c:pt>
                <c:pt idx="1303">
                  <c:v>39828</c:v>
                </c:pt>
                <c:pt idx="1304">
                  <c:v>39829</c:v>
                </c:pt>
                <c:pt idx="1305">
                  <c:v>39832</c:v>
                </c:pt>
                <c:pt idx="1306">
                  <c:v>39833</c:v>
                </c:pt>
                <c:pt idx="1307">
                  <c:v>39834</c:v>
                </c:pt>
                <c:pt idx="1308">
                  <c:v>39835</c:v>
                </c:pt>
                <c:pt idx="1309">
                  <c:v>39836</c:v>
                </c:pt>
                <c:pt idx="1310">
                  <c:v>39839</c:v>
                </c:pt>
                <c:pt idx="1311">
                  <c:v>39840</c:v>
                </c:pt>
                <c:pt idx="1312">
                  <c:v>39841</c:v>
                </c:pt>
                <c:pt idx="1313">
                  <c:v>39842</c:v>
                </c:pt>
                <c:pt idx="1314">
                  <c:v>39843</c:v>
                </c:pt>
                <c:pt idx="1315">
                  <c:v>39846</c:v>
                </c:pt>
                <c:pt idx="1316">
                  <c:v>39847</c:v>
                </c:pt>
                <c:pt idx="1317">
                  <c:v>39848</c:v>
                </c:pt>
                <c:pt idx="1318">
                  <c:v>39849</c:v>
                </c:pt>
                <c:pt idx="1319">
                  <c:v>39850</c:v>
                </c:pt>
                <c:pt idx="1320">
                  <c:v>39853</c:v>
                </c:pt>
                <c:pt idx="1321">
                  <c:v>39854</c:v>
                </c:pt>
                <c:pt idx="1322">
                  <c:v>39855</c:v>
                </c:pt>
                <c:pt idx="1323">
                  <c:v>39856</c:v>
                </c:pt>
                <c:pt idx="1324">
                  <c:v>39857</c:v>
                </c:pt>
                <c:pt idx="1325">
                  <c:v>39860</c:v>
                </c:pt>
                <c:pt idx="1326">
                  <c:v>39861</c:v>
                </c:pt>
                <c:pt idx="1327">
                  <c:v>39862</c:v>
                </c:pt>
                <c:pt idx="1328">
                  <c:v>39863</c:v>
                </c:pt>
                <c:pt idx="1329">
                  <c:v>39864</c:v>
                </c:pt>
                <c:pt idx="1330">
                  <c:v>39867</c:v>
                </c:pt>
                <c:pt idx="1331">
                  <c:v>39868</c:v>
                </c:pt>
                <c:pt idx="1332">
                  <c:v>39869</c:v>
                </c:pt>
                <c:pt idx="1333">
                  <c:v>39870</c:v>
                </c:pt>
                <c:pt idx="1334">
                  <c:v>39871</c:v>
                </c:pt>
                <c:pt idx="1335">
                  <c:v>39874</c:v>
                </c:pt>
                <c:pt idx="1336">
                  <c:v>39875</c:v>
                </c:pt>
                <c:pt idx="1337">
                  <c:v>39876</c:v>
                </c:pt>
                <c:pt idx="1338">
                  <c:v>39877</c:v>
                </c:pt>
                <c:pt idx="1339">
                  <c:v>39878</c:v>
                </c:pt>
                <c:pt idx="1340">
                  <c:v>39881</c:v>
                </c:pt>
                <c:pt idx="1341">
                  <c:v>39882</c:v>
                </c:pt>
                <c:pt idx="1342">
                  <c:v>39883</c:v>
                </c:pt>
                <c:pt idx="1343">
                  <c:v>39884</c:v>
                </c:pt>
                <c:pt idx="1344">
                  <c:v>39885</c:v>
                </c:pt>
                <c:pt idx="1345">
                  <c:v>39888</c:v>
                </c:pt>
                <c:pt idx="1346">
                  <c:v>39889</c:v>
                </c:pt>
                <c:pt idx="1347">
                  <c:v>39890</c:v>
                </c:pt>
                <c:pt idx="1348">
                  <c:v>39891</c:v>
                </c:pt>
                <c:pt idx="1349">
                  <c:v>39892</c:v>
                </c:pt>
                <c:pt idx="1350">
                  <c:v>39895</c:v>
                </c:pt>
                <c:pt idx="1351">
                  <c:v>39896</c:v>
                </c:pt>
                <c:pt idx="1352">
                  <c:v>39897</c:v>
                </c:pt>
                <c:pt idx="1353">
                  <c:v>39898</c:v>
                </c:pt>
                <c:pt idx="1354">
                  <c:v>39899</c:v>
                </c:pt>
                <c:pt idx="1355">
                  <c:v>39902</c:v>
                </c:pt>
                <c:pt idx="1356">
                  <c:v>39903</c:v>
                </c:pt>
                <c:pt idx="1357">
                  <c:v>39904</c:v>
                </c:pt>
                <c:pt idx="1358">
                  <c:v>39905</c:v>
                </c:pt>
                <c:pt idx="1359">
                  <c:v>39906</c:v>
                </c:pt>
                <c:pt idx="1360">
                  <c:v>39909</c:v>
                </c:pt>
                <c:pt idx="1361">
                  <c:v>39910</c:v>
                </c:pt>
                <c:pt idx="1362">
                  <c:v>39911</c:v>
                </c:pt>
                <c:pt idx="1363">
                  <c:v>39912</c:v>
                </c:pt>
                <c:pt idx="1364">
                  <c:v>39913</c:v>
                </c:pt>
                <c:pt idx="1365">
                  <c:v>39916</c:v>
                </c:pt>
                <c:pt idx="1366">
                  <c:v>39917</c:v>
                </c:pt>
                <c:pt idx="1367">
                  <c:v>39918</c:v>
                </c:pt>
                <c:pt idx="1368">
                  <c:v>39919</c:v>
                </c:pt>
                <c:pt idx="1369">
                  <c:v>39920</c:v>
                </c:pt>
                <c:pt idx="1370">
                  <c:v>39923</c:v>
                </c:pt>
                <c:pt idx="1371">
                  <c:v>39924</c:v>
                </c:pt>
                <c:pt idx="1372">
                  <c:v>39925</c:v>
                </c:pt>
                <c:pt idx="1373">
                  <c:v>39926</c:v>
                </c:pt>
                <c:pt idx="1374">
                  <c:v>39927</c:v>
                </c:pt>
                <c:pt idx="1375">
                  <c:v>39930</c:v>
                </c:pt>
                <c:pt idx="1376">
                  <c:v>39931</c:v>
                </c:pt>
                <c:pt idx="1377">
                  <c:v>39932</c:v>
                </c:pt>
                <c:pt idx="1378">
                  <c:v>39933</c:v>
                </c:pt>
                <c:pt idx="1379">
                  <c:v>39934</c:v>
                </c:pt>
                <c:pt idx="1380">
                  <c:v>39937</c:v>
                </c:pt>
                <c:pt idx="1381">
                  <c:v>39938</c:v>
                </c:pt>
                <c:pt idx="1382">
                  <c:v>39939</c:v>
                </c:pt>
                <c:pt idx="1383">
                  <c:v>39940</c:v>
                </c:pt>
                <c:pt idx="1384">
                  <c:v>39941</c:v>
                </c:pt>
                <c:pt idx="1385">
                  <c:v>39944</c:v>
                </c:pt>
                <c:pt idx="1386">
                  <c:v>39945</c:v>
                </c:pt>
                <c:pt idx="1387">
                  <c:v>39946</c:v>
                </c:pt>
                <c:pt idx="1388">
                  <c:v>39947</c:v>
                </c:pt>
                <c:pt idx="1389">
                  <c:v>39948</c:v>
                </c:pt>
                <c:pt idx="1390">
                  <c:v>39951</c:v>
                </c:pt>
                <c:pt idx="1391">
                  <c:v>39952</c:v>
                </c:pt>
                <c:pt idx="1392">
                  <c:v>39953</c:v>
                </c:pt>
                <c:pt idx="1393">
                  <c:v>39954</c:v>
                </c:pt>
                <c:pt idx="1394">
                  <c:v>39955</c:v>
                </c:pt>
                <c:pt idx="1395">
                  <c:v>39958</c:v>
                </c:pt>
                <c:pt idx="1396">
                  <c:v>39959</c:v>
                </c:pt>
                <c:pt idx="1397">
                  <c:v>39960</c:v>
                </c:pt>
                <c:pt idx="1398">
                  <c:v>39961</c:v>
                </c:pt>
                <c:pt idx="1399">
                  <c:v>39962</c:v>
                </c:pt>
                <c:pt idx="1400">
                  <c:v>39965</c:v>
                </c:pt>
                <c:pt idx="1401">
                  <c:v>39966</c:v>
                </c:pt>
                <c:pt idx="1402">
                  <c:v>39967</c:v>
                </c:pt>
                <c:pt idx="1403">
                  <c:v>39968</c:v>
                </c:pt>
                <c:pt idx="1404">
                  <c:v>39969</c:v>
                </c:pt>
                <c:pt idx="1405">
                  <c:v>39972</c:v>
                </c:pt>
                <c:pt idx="1406">
                  <c:v>39973</c:v>
                </c:pt>
                <c:pt idx="1407">
                  <c:v>39974</c:v>
                </c:pt>
                <c:pt idx="1408">
                  <c:v>39975</c:v>
                </c:pt>
                <c:pt idx="1409">
                  <c:v>39976</c:v>
                </c:pt>
                <c:pt idx="1410">
                  <c:v>39979</c:v>
                </c:pt>
                <c:pt idx="1411">
                  <c:v>39980</c:v>
                </c:pt>
                <c:pt idx="1412">
                  <c:v>39981</c:v>
                </c:pt>
                <c:pt idx="1413">
                  <c:v>39982</c:v>
                </c:pt>
                <c:pt idx="1414">
                  <c:v>39983</c:v>
                </c:pt>
                <c:pt idx="1415">
                  <c:v>39986</c:v>
                </c:pt>
                <c:pt idx="1416">
                  <c:v>39987</c:v>
                </c:pt>
                <c:pt idx="1417">
                  <c:v>39988</c:v>
                </c:pt>
                <c:pt idx="1418">
                  <c:v>39989</c:v>
                </c:pt>
                <c:pt idx="1419">
                  <c:v>39990</c:v>
                </c:pt>
                <c:pt idx="1420">
                  <c:v>39993</c:v>
                </c:pt>
                <c:pt idx="1421">
                  <c:v>39994</c:v>
                </c:pt>
                <c:pt idx="1422">
                  <c:v>39995</c:v>
                </c:pt>
                <c:pt idx="1423">
                  <c:v>39996</c:v>
                </c:pt>
                <c:pt idx="1424">
                  <c:v>39997</c:v>
                </c:pt>
                <c:pt idx="1425">
                  <c:v>40000</c:v>
                </c:pt>
                <c:pt idx="1426">
                  <c:v>40001</c:v>
                </c:pt>
                <c:pt idx="1427">
                  <c:v>40002</c:v>
                </c:pt>
                <c:pt idx="1428">
                  <c:v>40003</c:v>
                </c:pt>
                <c:pt idx="1429">
                  <c:v>40004</c:v>
                </c:pt>
                <c:pt idx="1430">
                  <c:v>40007</c:v>
                </c:pt>
                <c:pt idx="1431">
                  <c:v>40008</c:v>
                </c:pt>
                <c:pt idx="1432">
                  <c:v>40009</c:v>
                </c:pt>
                <c:pt idx="1433">
                  <c:v>40010</c:v>
                </c:pt>
                <c:pt idx="1434">
                  <c:v>40011</c:v>
                </c:pt>
                <c:pt idx="1435">
                  <c:v>40014</c:v>
                </c:pt>
                <c:pt idx="1436">
                  <c:v>40015</c:v>
                </c:pt>
                <c:pt idx="1437">
                  <c:v>40016</c:v>
                </c:pt>
                <c:pt idx="1438">
                  <c:v>40017</c:v>
                </c:pt>
                <c:pt idx="1439">
                  <c:v>40018</c:v>
                </c:pt>
                <c:pt idx="1440">
                  <c:v>40021</c:v>
                </c:pt>
                <c:pt idx="1441">
                  <c:v>40022</c:v>
                </c:pt>
                <c:pt idx="1442">
                  <c:v>40023</c:v>
                </c:pt>
                <c:pt idx="1443">
                  <c:v>40024</c:v>
                </c:pt>
                <c:pt idx="1444">
                  <c:v>40025</c:v>
                </c:pt>
                <c:pt idx="1445">
                  <c:v>40028</c:v>
                </c:pt>
                <c:pt idx="1446">
                  <c:v>40029</c:v>
                </c:pt>
                <c:pt idx="1447">
                  <c:v>40030</c:v>
                </c:pt>
                <c:pt idx="1448">
                  <c:v>40031</c:v>
                </c:pt>
                <c:pt idx="1449">
                  <c:v>40032</c:v>
                </c:pt>
                <c:pt idx="1450">
                  <c:v>40035</c:v>
                </c:pt>
                <c:pt idx="1451">
                  <c:v>40036</c:v>
                </c:pt>
                <c:pt idx="1452">
                  <c:v>40037</c:v>
                </c:pt>
                <c:pt idx="1453">
                  <c:v>40038</c:v>
                </c:pt>
                <c:pt idx="1454">
                  <c:v>40039</c:v>
                </c:pt>
                <c:pt idx="1455">
                  <c:v>40042</c:v>
                </c:pt>
                <c:pt idx="1456">
                  <c:v>40043</c:v>
                </c:pt>
                <c:pt idx="1457">
                  <c:v>40044</c:v>
                </c:pt>
                <c:pt idx="1458">
                  <c:v>40045</c:v>
                </c:pt>
                <c:pt idx="1459">
                  <c:v>40046</c:v>
                </c:pt>
                <c:pt idx="1460">
                  <c:v>40049</c:v>
                </c:pt>
                <c:pt idx="1461">
                  <c:v>40050</c:v>
                </c:pt>
                <c:pt idx="1462">
                  <c:v>40051</c:v>
                </c:pt>
                <c:pt idx="1463">
                  <c:v>40052</c:v>
                </c:pt>
                <c:pt idx="1464">
                  <c:v>40053</c:v>
                </c:pt>
                <c:pt idx="1465">
                  <c:v>40056</c:v>
                </c:pt>
                <c:pt idx="1466">
                  <c:v>40057</c:v>
                </c:pt>
                <c:pt idx="1467">
                  <c:v>40058</c:v>
                </c:pt>
                <c:pt idx="1468">
                  <c:v>40059</c:v>
                </c:pt>
                <c:pt idx="1469">
                  <c:v>40060</c:v>
                </c:pt>
                <c:pt idx="1470">
                  <c:v>40063</c:v>
                </c:pt>
                <c:pt idx="1471">
                  <c:v>40064</c:v>
                </c:pt>
                <c:pt idx="1472">
                  <c:v>40065</c:v>
                </c:pt>
                <c:pt idx="1473">
                  <c:v>40066</c:v>
                </c:pt>
                <c:pt idx="1474">
                  <c:v>40067</c:v>
                </c:pt>
                <c:pt idx="1475">
                  <c:v>40070</c:v>
                </c:pt>
                <c:pt idx="1476">
                  <c:v>40071</c:v>
                </c:pt>
                <c:pt idx="1477">
                  <c:v>40072</c:v>
                </c:pt>
                <c:pt idx="1478">
                  <c:v>40073</c:v>
                </c:pt>
                <c:pt idx="1479">
                  <c:v>40074</c:v>
                </c:pt>
                <c:pt idx="1480">
                  <c:v>40077</c:v>
                </c:pt>
                <c:pt idx="1481">
                  <c:v>40078</c:v>
                </c:pt>
                <c:pt idx="1482">
                  <c:v>40079</c:v>
                </c:pt>
                <c:pt idx="1483">
                  <c:v>40080</c:v>
                </c:pt>
                <c:pt idx="1484">
                  <c:v>40081</c:v>
                </c:pt>
                <c:pt idx="1485">
                  <c:v>40084</c:v>
                </c:pt>
                <c:pt idx="1486">
                  <c:v>40085</c:v>
                </c:pt>
                <c:pt idx="1487">
                  <c:v>40086</c:v>
                </c:pt>
                <c:pt idx="1488">
                  <c:v>40087</c:v>
                </c:pt>
                <c:pt idx="1489">
                  <c:v>40088</c:v>
                </c:pt>
                <c:pt idx="1490">
                  <c:v>40091</c:v>
                </c:pt>
                <c:pt idx="1491">
                  <c:v>40092</c:v>
                </c:pt>
                <c:pt idx="1492">
                  <c:v>40093</c:v>
                </c:pt>
                <c:pt idx="1493">
                  <c:v>40094</c:v>
                </c:pt>
                <c:pt idx="1494">
                  <c:v>40095</c:v>
                </c:pt>
                <c:pt idx="1495">
                  <c:v>40098</c:v>
                </c:pt>
                <c:pt idx="1496">
                  <c:v>40099</c:v>
                </c:pt>
                <c:pt idx="1497">
                  <c:v>40100</c:v>
                </c:pt>
                <c:pt idx="1498">
                  <c:v>40101</c:v>
                </c:pt>
                <c:pt idx="1499">
                  <c:v>40102</c:v>
                </c:pt>
                <c:pt idx="1500">
                  <c:v>40105</c:v>
                </c:pt>
                <c:pt idx="1501">
                  <c:v>40106</c:v>
                </c:pt>
                <c:pt idx="1502">
                  <c:v>40107</c:v>
                </c:pt>
                <c:pt idx="1503">
                  <c:v>40108</c:v>
                </c:pt>
                <c:pt idx="1504">
                  <c:v>40109</c:v>
                </c:pt>
                <c:pt idx="1505">
                  <c:v>40112</c:v>
                </c:pt>
                <c:pt idx="1506">
                  <c:v>40113</c:v>
                </c:pt>
                <c:pt idx="1507">
                  <c:v>40114</c:v>
                </c:pt>
                <c:pt idx="1508">
                  <c:v>40115</c:v>
                </c:pt>
                <c:pt idx="1509">
                  <c:v>40116</c:v>
                </c:pt>
                <c:pt idx="1510">
                  <c:v>40119</c:v>
                </c:pt>
                <c:pt idx="1511">
                  <c:v>40120</c:v>
                </c:pt>
                <c:pt idx="1512">
                  <c:v>40121</c:v>
                </c:pt>
                <c:pt idx="1513">
                  <c:v>40122</c:v>
                </c:pt>
                <c:pt idx="1514">
                  <c:v>40123</c:v>
                </c:pt>
                <c:pt idx="1515">
                  <c:v>40126</c:v>
                </c:pt>
                <c:pt idx="1516">
                  <c:v>40127</c:v>
                </c:pt>
                <c:pt idx="1517">
                  <c:v>40128</c:v>
                </c:pt>
                <c:pt idx="1518">
                  <c:v>40129</c:v>
                </c:pt>
                <c:pt idx="1519">
                  <c:v>40130</c:v>
                </c:pt>
                <c:pt idx="1520">
                  <c:v>40133</c:v>
                </c:pt>
                <c:pt idx="1521">
                  <c:v>40134</c:v>
                </c:pt>
                <c:pt idx="1522">
                  <c:v>40135</c:v>
                </c:pt>
                <c:pt idx="1523">
                  <c:v>40136</c:v>
                </c:pt>
                <c:pt idx="1524">
                  <c:v>40137</c:v>
                </c:pt>
                <c:pt idx="1525">
                  <c:v>40140</c:v>
                </c:pt>
                <c:pt idx="1526">
                  <c:v>40141</c:v>
                </c:pt>
                <c:pt idx="1527">
                  <c:v>40142</c:v>
                </c:pt>
                <c:pt idx="1528">
                  <c:v>40143</c:v>
                </c:pt>
                <c:pt idx="1529">
                  <c:v>40144</c:v>
                </c:pt>
                <c:pt idx="1530">
                  <c:v>40147</c:v>
                </c:pt>
                <c:pt idx="1531">
                  <c:v>40148</c:v>
                </c:pt>
                <c:pt idx="1532">
                  <c:v>40149</c:v>
                </c:pt>
                <c:pt idx="1533">
                  <c:v>40150</c:v>
                </c:pt>
                <c:pt idx="1534">
                  <c:v>40151</c:v>
                </c:pt>
                <c:pt idx="1535">
                  <c:v>40154</c:v>
                </c:pt>
                <c:pt idx="1536">
                  <c:v>40155</c:v>
                </c:pt>
                <c:pt idx="1537">
                  <c:v>40156</c:v>
                </c:pt>
                <c:pt idx="1538">
                  <c:v>40157</c:v>
                </c:pt>
                <c:pt idx="1539">
                  <c:v>40158</c:v>
                </c:pt>
                <c:pt idx="1540">
                  <c:v>40161</c:v>
                </c:pt>
                <c:pt idx="1541">
                  <c:v>40162</c:v>
                </c:pt>
                <c:pt idx="1542">
                  <c:v>40163</c:v>
                </c:pt>
                <c:pt idx="1543">
                  <c:v>40164</c:v>
                </c:pt>
                <c:pt idx="1544">
                  <c:v>40165</c:v>
                </c:pt>
                <c:pt idx="1545">
                  <c:v>40168</c:v>
                </c:pt>
                <c:pt idx="1546">
                  <c:v>40169</c:v>
                </c:pt>
                <c:pt idx="1547">
                  <c:v>40170</c:v>
                </c:pt>
                <c:pt idx="1548">
                  <c:v>40171</c:v>
                </c:pt>
                <c:pt idx="1549">
                  <c:v>40172</c:v>
                </c:pt>
                <c:pt idx="1550">
                  <c:v>40175</c:v>
                </c:pt>
                <c:pt idx="1551">
                  <c:v>40176</c:v>
                </c:pt>
                <c:pt idx="1552">
                  <c:v>40177</c:v>
                </c:pt>
                <c:pt idx="1553">
                  <c:v>40178</c:v>
                </c:pt>
                <c:pt idx="1554">
                  <c:v>40179</c:v>
                </c:pt>
                <c:pt idx="1555">
                  <c:v>40182</c:v>
                </c:pt>
                <c:pt idx="1556">
                  <c:v>40183</c:v>
                </c:pt>
                <c:pt idx="1557">
                  <c:v>40184</c:v>
                </c:pt>
                <c:pt idx="1558">
                  <c:v>40185</c:v>
                </c:pt>
                <c:pt idx="1559">
                  <c:v>40186</c:v>
                </c:pt>
                <c:pt idx="1560">
                  <c:v>40189</c:v>
                </c:pt>
                <c:pt idx="1561">
                  <c:v>40190</c:v>
                </c:pt>
                <c:pt idx="1562">
                  <c:v>40191</c:v>
                </c:pt>
                <c:pt idx="1563">
                  <c:v>40192</c:v>
                </c:pt>
                <c:pt idx="1564">
                  <c:v>40193</c:v>
                </c:pt>
                <c:pt idx="1565">
                  <c:v>40196</c:v>
                </c:pt>
                <c:pt idx="1566">
                  <c:v>40197</c:v>
                </c:pt>
                <c:pt idx="1567">
                  <c:v>40198</c:v>
                </c:pt>
                <c:pt idx="1568">
                  <c:v>40199</c:v>
                </c:pt>
                <c:pt idx="1569">
                  <c:v>40200</c:v>
                </c:pt>
                <c:pt idx="1570">
                  <c:v>40203</c:v>
                </c:pt>
                <c:pt idx="1571">
                  <c:v>40204</c:v>
                </c:pt>
                <c:pt idx="1572">
                  <c:v>40205</c:v>
                </c:pt>
                <c:pt idx="1573">
                  <c:v>40206</c:v>
                </c:pt>
                <c:pt idx="1574">
                  <c:v>40207</c:v>
                </c:pt>
                <c:pt idx="1575">
                  <c:v>40210</c:v>
                </c:pt>
                <c:pt idx="1576">
                  <c:v>40211</c:v>
                </c:pt>
                <c:pt idx="1577">
                  <c:v>40212</c:v>
                </c:pt>
                <c:pt idx="1578">
                  <c:v>40213</c:v>
                </c:pt>
                <c:pt idx="1579">
                  <c:v>40214</c:v>
                </c:pt>
                <c:pt idx="1580">
                  <c:v>40217</c:v>
                </c:pt>
                <c:pt idx="1581">
                  <c:v>40218</c:v>
                </c:pt>
                <c:pt idx="1582">
                  <c:v>40219</c:v>
                </c:pt>
                <c:pt idx="1583">
                  <c:v>40220</c:v>
                </c:pt>
                <c:pt idx="1584">
                  <c:v>40221</c:v>
                </c:pt>
                <c:pt idx="1585">
                  <c:v>40224</c:v>
                </c:pt>
                <c:pt idx="1586">
                  <c:v>40225</c:v>
                </c:pt>
                <c:pt idx="1587">
                  <c:v>40226</c:v>
                </c:pt>
                <c:pt idx="1588">
                  <c:v>40227</c:v>
                </c:pt>
                <c:pt idx="1589">
                  <c:v>40228</c:v>
                </c:pt>
                <c:pt idx="1590">
                  <c:v>40231</c:v>
                </c:pt>
                <c:pt idx="1591">
                  <c:v>40232</c:v>
                </c:pt>
                <c:pt idx="1592">
                  <c:v>40233</c:v>
                </c:pt>
                <c:pt idx="1593">
                  <c:v>40234</c:v>
                </c:pt>
                <c:pt idx="1594">
                  <c:v>40235</c:v>
                </c:pt>
                <c:pt idx="1595">
                  <c:v>40238</c:v>
                </c:pt>
                <c:pt idx="1596">
                  <c:v>40239</c:v>
                </c:pt>
                <c:pt idx="1597">
                  <c:v>40240</c:v>
                </c:pt>
                <c:pt idx="1598">
                  <c:v>40241</c:v>
                </c:pt>
                <c:pt idx="1599">
                  <c:v>40242</c:v>
                </c:pt>
                <c:pt idx="1600">
                  <c:v>40245</c:v>
                </c:pt>
                <c:pt idx="1601">
                  <c:v>40246</c:v>
                </c:pt>
                <c:pt idx="1602">
                  <c:v>40247</c:v>
                </c:pt>
                <c:pt idx="1603">
                  <c:v>40248</c:v>
                </c:pt>
                <c:pt idx="1604">
                  <c:v>40249</c:v>
                </c:pt>
                <c:pt idx="1605">
                  <c:v>40252</c:v>
                </c:pt>
                <c:pt idx="1606">
                  <c:v>40253</c:v>
                </c:pt>
                <c:pt idx="1607">
                  <c:v>40254</c:v>
                </c:pt>
                <c:pt idx="1608">
                  <c:v>40255</c:v>
                </c:pt>
                <c:pt idx="1609">
                  <c:v>40256</c:v>
                </c:pt>
                <c:pt idx="1610">
                  <c:v>40259</c:v>
                </c:pt>
                <c:pt idx="1611">
                  <c:v>40260</c:v>
                </c:pt>
                <c:pt idx="1612">
                  <c:v>40261</c:v>
                </c:pt>
                <c:pt idx="1613">
                  <c:v>40262</c:v>
                </c:pt>
                <c:pt idx="1614">
                  <c:v>40263</c:v>
                </c:pt>
                <c:pt idx="1615">
                  <c:v>40266</c:v>
                </c:pt>
                <c:pt idx="1616">
                  <c:v>40267</c:v>
                </c:pt>
                <c:pt idx="1617">
                  <c:v>40268</c:v>
                </c:pt>
                <c:pt idx="1618">
                  <c:v>40269</c:v>
                </c:pt>
                <c:pt idx="1619">
                  <c:v>40270</c:v>
                </c:pt>
                <c:pt idx="1620">
                  <c:v>40273</c:v>
                </c:pt>
                <c:pt idx="1621">
                  <c:v>40274</c:v>
                </c:pt>
                <c:pt idx="1622">
                  <c:v>40275</c:v>
                </c:pt>
                <c:pt idx="1623">
                  <c:v>40276</c:v>
                </c:pt>
                <c:pt idx="1624">
                  <c:v>40277</c:v>
                </c:pt>
                <c:pt idx="1625">
                  <c:v>40280</c:v>
                </c:pt>
                <c:pt idx="1626">
                  <c:v>40281</c:v>
                </c:pt>
                <c:pt idx="1627">
                  <c:v>40282</c:v>
                </c:pt>
                <c:pt idx="1628">
                  <c:v>40283</c:v>
                </c:pt>
                <c:pt idx="1629">
                  <c:v>40284</c:v>
                </c:pt>
                <c:pt idx="1630">
                  <c:v>40287</c:v>
                </c:pt>
                <c:pt idx="1631">
                  <c:v>40288</c:v>
                </c:pt>
                <c:pt idx="1632">
                  <c:v>40289</c:v>
                </c:pt>
                <c:pt idx="1633">
                  <c:v>40290</c:v>
                </c:pt>
                <c:pt idx="1634">
                  <c:v>40291</c:v>
                </c:pt>
                <c:pt idx="1635">
                  <c:v>40294</c:v>
                </c:pt>
                <c:pt idx="1636">
                  <c:v>40295</c:v>
                </c:pt>
                <c:pt idx="1637">
                  <c:v>40296</c:v>
                </c:pt>
                <c:pt idx="1638">
                  <c:v>40297</c:v>
                </c:pt>
                <c:pt idx="1639">
                  <c:v>40298</c:v>
                </c:pt>
                <c:pt idx="1640">
                  <c:v>40301</c:v>
                </c:pt>
                <c:pt idx="1641">
                  <c:v>40302</c:v>
                </c:pt>
                <c:pt idx="1642">
                  <c:v>40303</c:v>
                </c:pt>
                <c:pt idx="1643">
                  <c:v>40304</c:v>
                </c:pt>
                <c:pt idx="1644">
                  <c:v>40305</c:v>
                </c:pt>
                <c:pt idx="1645">
                  <c:v>40308</c:v>
                </c:pt>
                <c:pt idx="1646">
                  <c:v>40309</c:v>
                </c:pt>
                <c:pt idx="1647">
                  <c:v>40310</c:v>
                </c:pt>
                <c:pt idx="1648">
                  <c:v>40311</c:v>
                </c:pt>
                <c:pt idx="1649">
                  <c:v>40312</c:v>
                </c:pt>
                <c:pt idx="1650">
                  <c:v>40315</c:v>
                </c:pt>
                <c:pt idx="1651">
                  <c:v>40316</c:v>
                </c:pt>
                <c:pt idx="1652">
                  <c:v>40317</c:v>
                </c:pt>
                <c:pt idx="1653">
                  <c:v>40318</c:v>
                </c:pt>
                <c:pt idx="1654">
                  <c:v>40319</c:v>
                </c:pt>
                <c:pt idx="1655">
                  <c:v>40322</c:v>
                </c:pt>
                <c:pt idx="1656">
                  <c:v>40323</c:v>
                </c:pt>
                <c:pt idx="1657">
                  <c:v>40324</c:v>
                </c:pt>
                <c:pt idx="1658">
                  <c:v>40325</c:v>
                </c:pt>
                <c:pt idx="1659">
                  <c:v>40326</c:v>
                </c:pt>
                <c:pt idx="1660">
                  <c:v>40329</c:v>
                </c:pt>
                <c:pt idx="1661">
                  <c:v>40330</c:v>
                </c:pt>
                <c:pt idx="1662">
                  <c:v>40331</c:v>
                </c:pt>
                <c:pt idx="1663">
                  <c:v>40332</c:v>
                </c:pt>
                <c:pt idx="1664">
                  <c:v>40333</c:v>
                </c:pt>
                <c:pt idx="1665">
                  <c:v>40336</c:v>
                </c:pt>
                <c:pt idx="1666">
                  <c:v>40337</c:v>
                </c:pt>
                <c:pt idx="1667">
                  <c:v>40338</c:v>
                </c:pt>
                <c:pt idx="1668">
                  <c:v>40339</c:v>
                </c:pt>
                <c:pt idx="1669">
                  <c:v>40340</c:v>
                </c:pt>
                <c:pt idx="1670">
                  <c:v>40343</c:v>
                </c:pt>
                <c:pt idx="1671">
                  <c:v>40344</c:v>
                </c:pt>
                <c:pt idx="1672">
                  <c:v>40345</c:v>
                </c:pt>
                <c:pt idx="1673">
                  <c:v>40346</c:v>
                </c:pt>
                <c:pt idx="1674">
                  <c:v>40347</c:v>
                </c:pt>
                <c:pt idx="1675">
                  <c:v>40350</c:v>
                </c:pt>
                <c:pt idx="1676">
                  <c:v>40351</c:v>
                </c:pt>
                <c:pt idx="1677">
                  <c:v>40352</c:v>
                </c:pt>
                <c:pt idx="1678">
                  <c:v>40353</c:v>
                </c:pt>
                <c:pt idx="1679">
                  <c:v>40354</c:v>
                </c:pt>
                <c:pt idx="1680">
                  <c:v>40357</c:v>
                </c:pt>
                <c:pt idx="1681">
                  <c:v>40358</c:v>
                </c:pt>
                <c:pt idx="1682">
                  <c:v>40359</c:v>
                </c:pt>
                <c:pt idx="1683">
                  <c:v>40360</c:v>
                </c:pt>
                <c:pt idx="1684">
                  <c:v>40361</c:v>
                </c:pt>
                <c:pt idx="1685">
                  <c:v>40364</c:v>
                </c:pt>
                <c:pt idx="1686">
                  <c:v>40365</c:v>
                </c:pt>
                <c:pt idx="1687">
                  <c:v>40366</c:v>
                </c:pt>
                <c:pt idx="1688">
                  <c:v>40367</c:v>
                </c:pt>
                <c:pt idx="1689">
                  <c:v>40368</c:v>
                </c:pt>
                <c:pt idx="1690">
                  <c:v>40371</c:v>
                </c:pt>
                <c:pt idx="1691">
                  <c:v>40372</c:v>
                </c:pt>
                <c:pt idx="1692">
                  <c:v>40373</c:v>
                </c:pt>
                <c:pt idx="1693">
                  <c:v>40374</c:v>
                </c:pt>
                <c:pt idx="1694">
                  <c:v>40375</c:v>
                </c:pt>
                <c:pt idx="1695">
                  <c:v>40378</c:v>
                </c:pt>
                <c:pt idx="1696">
                  <c:v>40379</c:v>
                </c:pt>
                <c:pt idx="1697">
                  <c:v>40380</c:v>
                </c:pt>
                <c:pt idx="1698">
                  <c:v>40381</c:v>
                </c:pt>
                <c:pt idx="1699">
                  <c:v>40382</c:v>
                </c:pt>
                <c:pt idx="1700">
                  <c:v>40385</c:v>
                </c:pt>
                <c:pt idx="1701">
                  <c:v>40386</c:v>
                </c:pt>
                <c:pt idx="1702">
                  <c:v>40387</c:v>
                </c:pt>
                <c:pt idx="1703">
                  <c:v>40388</c:v>
                </c:pt>
                <c:pt idx="1704">
                  <c:v>40389</c:v>
                </c:pt>
                <c:pt idx="1705">
                  <c:v>40392</c:v>
                </c:pt>
                <c:pt idx="1706">
                  <c:v>40393</c:v>
                </c:pt>
                <c:pt idx="1707">
                  <c:v>40394</c:v>
                </c:pt>
                <c:pt idx="1708">
                  <c:v>40395</c:v>
                </c:pt>
                <c:pt idx="1709">
                  <c:v>40396</c:v>
                </c:pt>
                <c:pt idx="1710">
                  <c:v>40399</c:v>
                </c:pt>
                <c:pt idx="1711">
                  <c:v>40400</c:v>
                </c:pt>
                <c:pt idx="1712">
                  <c:v>40401</c:v>
                </c:pt>
                <c:pt idx="1713">
                  <c:v>40402</c:v>
                </c:pt>
                <c:pt idx="1714">
                  <c:v>40403</c:v>
                </c:pt>
                <c:pt idx="1715">
                  <c:v>40406</c:v>
                </c:pt>
                <c:pt idx="1716">
                  <c:v>40407</c:v>
                </c:pt>
                <c:pt idx="1717">
                  <c:v>40408</c:v>
                </c:pt>
                <c:pt idx="1718">
                  <c:v>40409</c:v>
                </c:pt>
                <c:pt idx="1719">
                  <c:v>40410</c:v>
                </c:pt>
                <c:pt idx="1720">
                  <c:v>40413</c:v>
                </c:pt>
                <c:pt idx="1721">
                  <c:v>40414</c:v>
                </c:pt>
                <c:pt idx="1722">
                  <c:v>40415</c:v>
                </c:pt>
                <c:pt idx="1723">
                  <c:v>40416</c:v>
                </c:pt>
                <c:pt idx="1724">
                  <c:v>40417</c:v>
                </c:pt>
                <c:pt idx="1725">
                  <c:v>40420</c:v>
                </c:pt>
                <c:pt idx="1726">
                  <c:v>40421</c:v>
                </c:pt>
                <c:pt idx="1727">
                  <c:v>40422</c:v>
                </c:pt>
                <c:pt idx="1728">
                  <c:v>40423</c:v>
                </c:pt>
                <c:pt idx="1729">
                  <c:v>40424</c:v>
                </c:pt>
                <c:pt idx="1730">
                  <c:v>40427</c:v>
                </c:pt>
                <c:pt idx="1731">
                  <c:v>40428</c:v>
                </c:pt>
                <c:pt idx="1732">
                  <c:v>40429</c:v>
                </c:pt>
                <c:pt idx="1733">
                  <c:v>40430</c:v>
                </c:pt>
                <c:pt idx="1734">
                  <c:v>40431</c:v>
                </c:pt>
                <c:pt idx="1735">
                  <c:v>40434</c:v>
                </c:pt>
                <c:pt idx="1736">
                  <c:v>40435</c:v>
                </c:pt>
                <c:pt idx="1737">
                  <c:v>40436</c:v>
                </c:pt>
                <c:pt idx="1738">
                  <c:v>40437</c:v>
                </c:pt>
                <c:pt idx="1739">
                  <c:v>40438</c:v>
                </c:pt>
                <c:pt idx="1740">
                  <c:v>40441</c:v>
                </c:pt>
                <c:pt idx="1741">
                  <c:v>40442</c:v>
                </c:pt>
                <c:pt idx="1742">
                  <c:v>40443</c:v>
                </c:pt>
                <c:pt idx="1743">
                  <c:v>40444</c:v>
                </c:pt>
                <c:pt idx="1744">
                  <c:v>40445</c:v>
                </c:pt>
                <c:pt idx="1745">
                  <c:v>40448</c:v>
                </c:pt>
                <c:pt idx="1746">
                  <c:v>40449</c:v>
                </c:pt>
                <c:pt idx="1747">
                  <c:v>40450</c:v>
                </c:pt>
                <c:pt idx="1748">
                  <c:v>40451</c:v>
                </c:pt>
                <c:pt idx="1749">
                  <c:v>40452</c:v>
                </c:pt>
                <c:pt idx="1750">
                  <c:v>40455</c:v>
                </c:pt>
                <c:pt idx="1751">
                  <c:v>40456</c:v>
                </c:pt>
                <c:pt idx="1752">
                  <c:v>40457</c:v>
                </c:pt>
                <c:pt idx="1753">
                  <c:v>40458</c:v>
                </c:pt>
                <c:pt idx="1754">
                  <c:v>40459</c:v>
                </c:pt>
                <c:pt idx="1755">
                  <c:v>40462</c:v>
                </c:pt>
                <c:pt idx="1756">
                  <c:v>40463</c:v>
                </c:pt>
                <c:pt idx="1757">
                  <c:v>40464</c:v>
                </c:pt>
                <c:pt idx="1758">
                  <c:v>40465</c:v>
                </c:pt>
                <c:pt idx="1759">
                  <c:v>40466</c:v>
                </c:pt>
                <c:pt idx="1760">
                  <c:v>40469</c:v>
                </c:pt>
                <c:pt idx="1761">
                  <c:v>40470</c:v>
                </c:pt>
                <c:pt idx="1762">
                  <c:v>40471</c:v>
                </c:pt>
                <c:pt idx="1763">
                  <c:v>40472</c:v>
                </c:pt>
                <c:pt idx="1764">
                  <c:v>40473</c:v>
                </c:pt>
                <c:pt idx="1765">
                  <c:v>40476</c:v>
                </c:pt>
                <c:pt idx="1766">
                  <c:v>40477</c:v>
                </c:pt>
                <c:pt idx="1767">
                  <c:v>40478</c:v>
                </c:pt>
                <c:pt idx="1768">
                  <c:v>40479</c:v>
                </c:pt>
                <c:pt idx="1769">
                  <c:v>40480</c:v>
                </c:pt>
                <c:pt idx="1770">
                  <c:v>40483</c:v>
                </c:pt>
                <c:pt idx="1771">
                  <c:v>40484</c:v>
                </c:pt>
                <c:pt idx="1772">
                  <c:v>40485</c:v>
                </c:pt>
                <c:pt idx="1773">
                  <c:v>40486</c:v>
                </c:pt>
                <c:pt idx="1774">
                  <c:v>40487</c:v>
                </c:pt>
                <c:pt idx="1775">
                  <c:v>40490</c:v>
                </c:pt>
                <c:pt idx="1776">
                  <c:v>40491</c:v>
                </c:pt>
                <c:pt idx="1777">
                  <c:v>40492</c:v>
                </c:pt>
                <c:pt idx="1778">
                  <c:v>40493</c:v>
                </c:pt>
                <c:pt idx="1779">
                  <c:v>40494</c:v>
                </c:pt>
                <c:pt idx="1780">
                  <c:v>40497</c:v>
                </c:pt>
                <c:pt idx="1781">
                  <c:v>40498</c:v>
                </c:pt>
                <c:pt idx="1782">
                  <c:v>40499</c:v>
                </c:pt>
                <c:pt idx="1783">
                  <c:v>40500</c:v>
                </c:pt>
                <c:pt idx="1784">
                  <c:v>40501</c:v>
                </c:pt>
                <c:pt idx="1785">
                  <c:v>40504</c:v>
                </c:pt>
                <c:pt idx="1786">
                  <c:v>40505</c:v>
                </c:pt>
                <c:pt idx="1787">
                  <c:v>40506</c:v>
                </c:pt>
                <c:pt idx="1788">
                  <c:v>40507</c:v>
                </c:pt>
                <c:pt idx="1789">
                  <c:v>40508</c:v>
                </c:pt>
                <c:pt idx="1790">
                  <c:v>40511</c:v>
                </c:pt>
                <c:pt idx="1791">
                  <c:v>40512</c:v>
                </c:pt>
                <c:pt idx="1792">
                  <c:v>40513</c:v>
                </c:pt>
                <c:pt idx="1793">
                  <c:v>40514</c:v>
                </c:pt>
                <c:pt idx="1794">
                  <c:v>40515</c:v>
                </c:pt>
                <c:pt idx="1795">
                  <c:v>40518</c:v>
                </c:pt>
                <c:pt idx="1796">
                  <c:v>40519</c:v>
                </c:pt>
                <c:pt idx="1797">
                  <c:v>40520</c:v>
                </c:pt>
                <c:pt idx="1798">
                  <c:v>40521</c:v>
                </c:pt>
                <c:pt idx="1799">
                  <c:v>40522</c:v>
                </c:pt>
                <c:pt idx="1800">
                  <c:v>40525</c:v>
                </c:pt>
                <c:pt idx="1801">
                  <c:v>40526</c:v>
                </c:pt>
                <c:pt idx="1802">
                  <c:v>40527</c:v>
                </c:pt>
                <c:pt idx="1803">
                  <c:v>40528</c:v>
                </c:pt>
                <c:pt idx="1804">
                  <c:v>40529</c:v>
                </c:pt>
                <c:pt idx="1805">
                  <c:v>40532</c:v>
                </c:pt>
                <c:pt idx="1806">
                  <c:v>40533</c:v>
                </c:pt>
                <c:pt idx="1807">
                  <c:v>40534</c:v>
                </c:pt>
                <c:pt idx="1808">
                  <c:v>40535</c:v>
                </c:pt>
                <c:pt idx="1809">
                  <c:v>40536</c:v>
                </c:pt>
                <c:pt idx="1810">
                  <c:v>40539</c:v>
                </c:pt>
                <c:pt idx="1811">
                  <c:v>40540</c:v>
                </c:pt>
                <c:pt idx="1812">
                  <c:v>40541</c:v>
                </c:pt>
                <c:pt idx="1813">
                  <c:v>40542</c:v>
                </c:pt>
                <c:pt idx="1814">
                  <c:v>40543</c:v>
                </c:pt>
                <c:pt idx="1815">
                  <c:v>40546</c:v>
                </c:pt>
                <c:pt idx="1816">
                  <c:v>40547</c:v>
                </c:pt>
                <c:pt idx="1817">
                  <c:v>40548</c:v>
                </c:pt>
                <c:pt idx="1818">
                  <c:v>40549</c:v>
                </c:pt>
                <c:pt idx="1819">
                  <c:v>40550</c:v>
                </c:pt>
                <c:pt idx="1820">
                  <c:v>40553</c:v>
                </c:pt>
                <c:pt idx="1821">
                  <c:v>40554</c:v>
                </c:pt>
                <c:pt idx="1822">
                  <c:v>40555</c:v>
                </c:pt>
                <c:pt idx="1823">
                  <c:v>40556</c:v>
                </c:pt>
                <c:pt idx="1824">
                  <c:v>40557</c:v>
                </c:pt>
                <c:pt idx="1825">
                  <c:v>40560</c:v>
                </c:pt>
                <c:pt idx="1826">
                  <c:v>40561</c:v>
                </c:pt>
                <c:pt idx="1827">
                  <c:v>40562</c:v>
                </c:pt>
                <c:pt idx="1828">
                  <c:v>40563</c:v>
                </c:pt>
                <c:pt idx="1829">
                  <c:v>40564</c:v>
                </c:pt>
                <c:pt idx="1830">
                  <c:v>40567</c:v>
                </c:pt>
                <c:pt idx="1831">
                  <c:v>40568</c:v>
                </c:pt>
                <c:pt idx="1832">
                  <c:v>40569</c:v>
                </c:pt>
                <c:pt idx="1833">
                  <c:v>40570</c:v>
                </c:pt>
                <c:pt idx="1834">
                  <c:v>40571</c:v>
                </c:pt>
                <c:pt idx="1835">
                  <c:v>40574</c:v>
                </c:pt>
                <c:pt idx="1836">
                  <c:v>40575</c:v>
                </c:pt>
                <c:pt idx="1837">
                  <c:v>40576</c:v>
                </c:pt>
                <c:pt idx="1838">
                  <c:v>40577</c:v>
                </c:pt>
                <c:pt idx="1839">
                  <c:v>40578</c:v>
                </c:pt>
                <c:pt idx="1840">
                  <c:v>40581</c:v>
                </c:pt>
                <c:pt idx="1841">
                  <c:v>40582</c:v>
                </c:pt>
                <c:pt idx="1842">
                  <c:v>40583</c:v>
                </c:pt>
                <c:pt idx="1843">
                  <c:v>40584</c:v>
                </c:pt>
                <c:pt idx="1844">
                  <c:v>40585</c:v>
                </c:pt>
                <c:pt idx="1845">
                  <c:v>40588</c:v>
                </c:pt>
                <c:pt idx="1846">
                  <c:v>40589</c:v>
                </c:pt>
                <c:pt idx="1847">
                  <c:v>40590</c:v>
                </c:pt>
                <c:pt idx="1848">
                  <c:v>40591</c:v>
                </c:pt>
                <c:pt idx="1849">
                  <c:v>40592</c:v>
                </c:pt>
                <c:pt idx="1850">
                  <c:v>40595</c:v>
                </c:pt>
                <c:pt idx="1851">
                  <c:v>40596</c:v>
                </c:pt>
                <c:pt idx="1852">
                  <c:v>40597</c:v>
                </c:pt>
                <c:pt idx="1853">
                  <c:v>40598</c:v>
                </c:pt>
                <c:pt idx="1854">
                  <c:v>40599</c:v>
                </c:pt>
                <c:pt idx="1855">
                  <c:v>40602</c:v>
                </c:pt>
                <c:pt idx="1856">
                  <c:v>40603</c:v>
                </c:pt>
                <c:pt idx="1857">
                  <c:v>40604</c:v>
                </c:pt>
                <c:pt idx="1858">
                  <c:v>40605</c:v>
                </c:pt>
                <c:pt idx="1859">
                  <c:v>40606</c:v>
                </c:pt>
                <c:pt idx="1860">
                  <c:v>40609</c:v>
                </c:pt>
                <c:pt idx="1861">
                  <c:v>40610</c:v>
                </c:pt>
                <c:pt idx="1862">
                  <c:v>40611</c:v>
                </c:pt>
                <c:pt idx="1863">
                  <c:v>40612</c:v>
                </c:pt>
                <c:pt idx="1864">
                  <c:v>40613</c:v>
                </c:pt>
                <c:pt idx="1865">
                  <c:v>40616</c:v>
                </c:pt>
                <c:pt idx="1866">
                  <c:v>40617</c:v>
                </c:pt>
                <c:pt idx="1867">
                  <c:v>40618</c:v>
                </c:pt>
                <c:pt idx="1868">
                  <c:v>40619</c:v>
                </c:pt>
                <c:pt idx="1869">
                  <c:v>40620</c:v>
                </c:pt>
                <c:pt idx="1870">
                  <c:v>40623</c:v>
                </c:pt>
                <c:pt idx="1871">
                  <c:v>40624</c:v>
                </c:pt>
                <c:pt idx="1872">
                  <c:v>40625</c:v>
                </c:pt>
                <c:pt idx="1873">
                  <c:v>40626</c:v>
                </c:pt>
                <c:pt idx="1874">
                  <c:v>40627</c:v>
                </c:pt>
                <c:pt idx="1875">
                  <c:v>40630</c:v>
                </c:pt>
                <c:pt idx="1876">
                  <c:v>40631</c:v>
                </c:pt>
                <c:pt idx="1877">
                  <c:v>40632</c:v>
                </c:pt>
                <c:pt idx="1878">
                  <c:v>40633</c:v>
                </c:pt>
                <c:pt idx="1879">
                  <c:v>40634</c:v>
                </c:pt>
                <c:pt idx="1880">
                  <c:v>40637</c:v>
                </c:pt>
                <c:pt idx="1881">
                  <c:v>40638</c:v>
                </c:pt>
                <c:pt idx="1882">
                  <c:v>40639</c:v>
                </c:pt>
                <c:pt idx="1883">
                  <c:v>40640</c:v>
                </c:pt>
                <c:pt idx="1884">
                  <c:v>40641</c:v>
                </c:pt>
                <c:pt idx="1885">
                  <c:v>40644</c:v>
                </c:pt>
                <c:pt idx="1886">
                  <c:v>40645</c:v>
                </c:pt>
                <c:pt idx="1887">
                  <c:v>40646</c:v>
                </c:pt>
                <c:pt idx="1888">
                  <c:v>40647</c:v>
                </c:pt>
                <c:pt idx="1889">
                  <c:v>40648</c:v>
                </c:pt>
                <c:pt idx="1890">
                  <c:v>40651</c:v>
                </c:pt>
                <c:pt idx="1891">
                  <c:v>40652</c:v>
                </c:pt>
                <c:pt idx="1892">
                  <c:v>40653</c:v>
                </c:pt>
                <c:pt idx="1893">
                  <c:v>40654</c:v>
                </c:pt>
                <c:pt idx="1894">
                  <c:v>40655</c:v>
                </c:pt>
                <c:pt idx="1895">
                  <c:v>40658</c:v>
                </c:pt>
                <c:pt idx="1896">
                  <c:v>40659</c:v>
                </c:pt>
                <c:pt idx="1897">
                  <c:v>40660</c:v>
                </c:pt>
                <c:pt idx="1898">
                  <c:v>40661</c:v>
                </c:pt>
                <c:pt idx="1899">
                  <c:v>40662</c:v>
                </c:pt>
                <c:pt idx="1900">
                  <c:v>40665</c:v>
                </c:pt>
                <c:pt idx="1901">
                  <c:v>40666</c:v>
                </c:pt>
                <c:pt idx="1902">
                  <c:v>40667</c:v>
                </c:pt>
                <c:pt idx="1903">
                  <c:v>40668</c:v>
                </c:pt>
                <c:pt idx="1904">
                  <c:v>40669</c:v>
                </c:pt>
                <c:pt idx="1905">
                  <c:v>40672</c:v>
                </c:pt>
                <c:pt idx="1906">
                  <c:v>40673</c:v>
                </c:pt>
                <c:pt idx="1907">
                  <c:v>40674</c:v>
                </c:pt>
                <c:pt idx="1908">
                  <c:v>40675</c:v>
                </c:pt>
                <c:pt idx="1909">
                  <c:v>40676</c:v>
                </c:pt>
                <c:pt idx="1910">
                  <c:v>40679</c:v>
                </c:pt>
                <c:pt idx="1911">
                  <c:v>40680</c:v>
                </c:pt>
                <c:pt idx="1912">
                  <c:v>40681</c:v>
                </c:pt>
                <c:pt idx="1913">
                  <c:v>40682</c:v>
                </c:pt>
                <c:pt idx="1914">
                  <c:v>40683</c:v>
                </c:pt>
                <c:pt idx="1915">
                  <c:v>40686</c:v>
                </c:pt>
                <c:pt idx="1916">
                  <c:v>40687</c:v>
                </c:pt>
                <c:pt idx="1917">
                  <c:v>40688</c:v>
                </c:pt>
                <c:pt idx="1918">
                  <c:v>40689</c:v>
                </c:pt>
                <c:pt idx="1919">
                  <c:v>40690</c:v>
                </c:pt>
                <c:pt idx="1920">
                  <c:v>40693</c:v>
                </c:pt>
                <c:pt idx="1921">
                  <c:v>40694</c:v>
                </c:pt>
                <c:pt idx="1922">
                  <c:v>40695</c:v>
                </c:pt>
                <c:pt idx="1923">
                  <c:v>40696</c:v>
                </c:pt>
                <c:pt idx="1924">
                  <c:v>40697</c:v>
                </c:pt>
                <c:pt idx="1925">
                  <c:v>40700</c:v>
                </c:pt>
                <c:pt idx="1926">
                  <c:v>40701</c:v>
                </c:pt>
                <c:pt idx="1927">
                  <c:v>40702</c:v>
                </c:pt>
                <c:pt idx="1928">
                  <c:v>40703</c:v>
                </c:pt>
                <c:pt idx="1929">
                  <c:v>40704</c:v>
                </c:pt>
                <c:pt idx="1930">
                  <c:v>40707</c:v>
                </c:pt>
                <c:pt idx="1931">
                  <c:v>40708</c:v>
                </c:pt>
                <c:pt idx="1932">
                  <c:v>40709</c:v>
                </c:pt>
                <c:pt idx="1933">
                  <c:v>40710</c:v>
                </c:pt>
                <c:pt idx="1934">
                  <c:v>40711</c:v>
                </c:pt>
                <c:pt idx="1935">
                  <c:v>40714</c:v>
                </c:pt>
                <c:pt idx="1936">
                  <c:v>40715</c:v>
                </c:pt>
                <c:pt idx="1937">
                  <c:v>40716</c:v>
                </c:pt>
                <c:pt idx="1938">
                  <c:v>40717</c:v>
                </c:pt>
                <c:pt idx="1939">
                  <c:v>40718</c:v>
                </c:pt>
                <c:pt idx="1940">
                  <c:v>40721</c:v>
                </c:pt>
                <c:pt idx="1941">
                  <c:v>40722</c:v>
                </c:pt>
                <c:pt idx="1942">
                  <c:v>40723</c:v>
                </c:pt>
                <c:pt idx="1943">
                  <c:v>40724</c:v>
                </c:pt>
                <c:pt idx="1944">
                  <c:v>40725</c:v>
                </c:pt>
                <c:pt idx="1945">
                  <c:v>40728</c:v>
                </c:pt>
                <c:pt idx="1946">
                  <c:v>40729</c:v>
                </c:pt>
                <c:pt idx="1947">
                  <c:v>40730</c:v>
                </c:pt>
                <c:pt idx="1948">
                  <c:v>40731</c:v>
                </c:pt>
                <c:pt idx="1949">
                  <c:v>40732</c:v>
                </c:pt>
                <c:pt idx="1950">
                  <c:v>40735</c:v>
                </c:pt>
                <c:pt idx="1951">
                  <c:v>40736</c:v>
                </c:pt>
                <c:pt idx="1952">
                  <c:v>40737</c:v>
                </c:pt>
                <c:pt idx="1953">
                  <c:v>40738</c:v>
                </c:pt>
                <c:pt idx="1954">
                  <c:v>40739</c:v>
                </c:pt>
                <c:pt idx="1955">
                  <c:v>40742</c:v>
                </c:pt>
                <c:pt idx="1956">
                  <c:v>40743</c:v>
                </c:pt>
                <c:pt idx="1957">
                  <c:v>40744</c:v>
                </c:pt>
                <c:pt idx="1958">
                  <c:v>40745</c:v>
                </c:pt>
                <c:pt idx="1959">
                  <c:v>40746</c:v>
                </c:pt>
                <c:pt idx="1960">
                  <c:v>40749</c:v>
                </c:pt>
                <c:pt idx="1961">
                  <c:v>40750</c:v>
                </c:pt>
                <c:pt idx="1962">
                  <c:v>40751</c:v>
                </c:pt>
                <c:pt idx="1963">
                  <c:v>40752</c:v>
                </c:pt>
                <c:pt idx="1964">
                  <c:v>40753</c:v>
                </c:pt>
                <c:pt idx="1965">
                  <c:v>40756</c:v>
                </c:pt>
                <c:pt idx="1966">
                  <c:v>40757</c:v>
                </c:pt>
                <c:pt idx="1967">
                  <c:v>40758</c:v>
                </c:pt>
                <c:pt idx="1968">
                  <c:v>40759</c:v>
                </c:pt>
                <c:pt idx="1969">
                  <c:v>40760</c:v>
                </c:pt>
                <c:pt idx="1970">
                  <c:v>40763</c:v>
                </c:pt>
                <c:pt idx="1971">
                  <c:v>40764</c:v>
                </c:pt>
                <c:pt idx="1972">
                  <c:v>40765</c:v>
                </c:pt>
                <c:pt idx="1973">
                  <c:v>40766</c:v>
                </c:pt>
                <c:pt idx="1974">
                  <c:v>40767</c:v>
                </c:pt>
                <c:pt idx="1975">
                  <c:v>40770</c:v>
                </c:pt>
                <c:pt idx="1976">
                  <c:v>40771</c:v>
                </c:pt>
                <c:pt idx="1977">
                  <c:v>40772</c:v>
                </c:pt>
                <c:pt idx="1978">
                  <c:v>40773</c:v>
                </c:pt>
                <c:pt idx="1979">
                  <c:v>40774</c:v>
                </c:pt>
                <c:pt idx="1980">
                  <c:v>40777</c:v>
                </c:pt>
                <c:pt idx="1981">
                  <c:v>40778</c:v>
                </c:pt>
                <c:pt idx="1982">
                  <c:v>40779</c:v>
                </c:pt>
                <c:pt idx="1983">
                  <c:v>40780</c:v>
                </c:pt>
                <c:pt idx="1984">
                  <c:v>40781</c:v>
                </c:pt>
                <c:pt idx="1985">
                  <c:v>40784</c:v>
                </c:pt>
                <c:pt idx="1986">
                  <c:v>40785</c:v>
                </c:pt>
                <c:pt idx="1987">
                  <c:v>40786</c:v>
                </c:pt>
                <c:pt idx="1988">
                  <c:v>40787</c:v>
                </c:pt>
                <c:pt idx="1989">
                  <c:v>40788</c:v>
                </c:pt>
                <c:pt idx="1990">
                  <c:v>40791</c:v>
                </c:pt>
                <c:pt idx="1991">
                  <c:v>40792</c:v>
                </c:pt>
                <c:pt idx="1992">
                  <c:v>40793</c:v>
                </c:pt>
                <c:pt idx="1993">
                  <c:v>40794</c:v>
                </c:pt>
                <c:pt idx="1994">
                  <c:v>40795</c:v>
                </c:pt>
                <c:pt idx="1995">
                  <c:v>40798</c:v>
                </c:pt>
                <c:pt idx="1996">
                  <c:v>40799</c:v>
                </c:pt>
                <c:pt idx="1997">
                  <c:v>40800</c:v>
                </c:pt>
                <c:pt idx="1998">
                  <c:v>40801</c:v>
                </c:pt>
                <c:pt idx="1999">
                  <c:v>40802</c:v>
                </c:pt>
                <c:pt idx="2000">
                  <c:v>40805</c:v>
                </c:pt>
                <c:pt idx="2001">
                  <c:v>40806</c:v>
                </c:pt>
                <c:pt idx="2002">
                  <c:v>40807</c:v>
                </c:pt>
                <c:pt idx="2003">
                  <c:v>40808</c:v>
                </c:pt>
                <c:pt idx="2004">
                  <c:v>40809</c:v>
                </c:pt>
                <c:pt idx="2005">
                  <c:v>40812</c:v>
                </c:pt>
                <c:pt idx="2006">
                  <c:v>40813</c:v>
                </c:pt>
                <c:pt idx="2007">
                  <c:v>40814</c:v>
                </c:pt>
                <c:pt idx="2008">
                  <c:v>40815</c:v>
                </c:pt>
                <c:pt idx="2009">
                  <c:v>40816</c:v>
                </c:pt>
                <c:pt idx="2010">
                  <c:v>40819</c:v>
                </c:pt>
                <c:pt idx="2011">
                  <c:v>40820</c:v>
                </c:pt>
                <c:pt idx="2012">
                  <c:v>40821</c:v>
                </c:pt>
                <c:pt idx="2013">
                  <c:v>40822</c:v>
                </c:pt>
                <c:pt idx="2014">
                  <c:v>40823</c:v>
                </c:pt>
                <c:pt idx="2015">
                  <c:v>40826</c:v>
                </c:pt>
                <c:pt idx="2016">
                  <c:v>40827</c:v>
                </c:pt>
                <c:pt idx="2017">
                  <c:v>40828</c:v>
                </c:pt>
                <c:pt idx="2018">
                  <c:v>40829</c:v>
                </c:pt>
                <c:pt idx="2019">
                  <c:v>40830</c:v>
                </c:pt>
                <c:pt idx="2020">
                  <c:v>40833</c:v>
                </c:pt>
                <c:pt idx="2021">
                  <c:v>40834</c:v>
                </c:pt>
                <c:pt idx="2022">
                  <c:v>40835</c:v>
                </c:pt>
                <c:pt idx="2023">
                  <c:v>40836</c:v>
                </c:pt>
                <c:pt idx="2024">
                  <c:v>40837</c:v>
                </c:pt>
                <c:pt idx="2025">
                  <c:v>40840</c:v>
                </c:pt>
                <c:pt idx="2026">
                  <c:v>40841</c:v>
                </c:pt>
                <c:pt idx="2027">
                  <c:v>40842</c:v>
                </c:pt>
                <c:pt idx="2028">
                  <c:v>40843</c:v>
                </c:pt>
                <c:pt idx="2029">
                  <c:v>40844</c:v>
                </c:pt>
                <c:pt idx="2030">
                  <c:v>40847</c:v>
                </c:pt>
                <c:pt idx="2031">
                  <c:v>40848</c:v>
                </c:pt>
                <c:pt idx="2032">
                  <c:v>40849</c:v>
                </c:pt>
                <c:pt idx="2033">
                  <c:v>40850</c:v>
                </c:pt>
                <c:pt idx="2034">
                  <c:v>40851</c:v>
                </c:pt>
                <c:pt idx="2035">
                  <c:v>40854</c:v>
                </c:pt>
                <c:pt idx="2036">
                  <c:v>40855</c:v>
                </c:pt>
                <c:pt idx="2037">
                  <c:v>40856</c:v>
                </c:pt>
                <c:pt idx="2038">
                  <c:v>40857</c:v>
                </c:pt>
                <c:pt idx="2039">
                  <c:v>40858</c:v>
                </c:pt>
                <c:pt idx="2040">
                  <c:v>40861</c:v>
                </c:pt>
                <c:pt idx="2041">
                  <c:v>40862</c:v>
                </c:pt>
                <c:pt idx="2042">
                  <c:v>40863</c:v>
                </c:pt>
                <c:pt idx="2043">
                  <c:v>40864</c:v>
                </c:pt>
                <c:pt idx="2044">
                  <c:v>40865</c:v>
                </c:pt>
                <c:pt idx="2045">
                  <c:v>40868</c:v>
                </c:pt>
                <c:pt idx="2046">
                  <c:v>40869</c:v>
                </c:pt>
                <c:pt idx="2047">
                  <c:v>40870</c:v>
                </c:pt>
                <c:pt idx="2048">
                  <c:v>40871</c:v>
                </c:pt>
                <c:pt idx="2049">
                  <c:v>40872</c:v>
                </c:pt>
                <c:pt idx="2050">
                  <c:v>40875</c:v>
                </c:pt>
                <c:pt idx="2051">
                  <c:v>40876</c:v>
                </c:pt>
                <c:pt idx="2052">
                  <c:v>40877</c:v>
                </c:pt>
                <c:pt idx="2053">
                  <c:v>40878</c:v>
                </c:pt>
                <c:pt idx="2054">
                  <c:v>40879</c:v>
                </c:pt>
                <c:pt idx="2055">
                  <c:v>40882</c:v>
                </c:pt>
                <c:pt idx="2056">
                  <c:v>40883</c:v>
                </c:pt>
                <c:pt idx="2057">
                  <c:v>40884</c:v>
                </c:pt>
                <c:pt idx="2058">
                  <c:v>40885</c:v>
                </c:pt>
                <c:pt idx="2059">
                  <c:v>40886</c:v>
                </c:pt>
                <c:pt idx="2060">
                  <c:v>40889</c:v>
                </c:pt>
                <c:pt idx="2061">
                  <c:v>40890</c:v>
                </c:pt>
                <c:pt idx="2062">
                  <c:v>40891</c:v>
                </c:pt>
                <c:pt idx="2063">
                  <c:v>40892</c:v>
                </c:pt>
                <c:pt idx="2064">
                  <c:v>40893</c:v>
                </c:pt>
                <c:pt idx="2065">
                  <c:v>40896</c:v>
                </c:pt>
                <c:pt idx="2066">
                  <c:v>40897</c:v>
                </c:pt>
                <c:pt idx="2067">
                  <c:v>40898</c:v>
                </c:pt>
                <c:pt idx="2068">
                  <c:v>40899</c:v>
                </c:pt>
                <c:pt idx="2069">
                  <c:v>40900</c:v>
                </c:pt>
                <c:pt idx="2070">
                  <c:v>40903</c:v>
                </c:pt>
                <c:pt idx="2071">
                  <c:v>40904</c:v>
                </c:pt>
                <c:pt idx="2072">
                  <c:v>40905</c:v>
                </c:pt>
                <c:pt idx="2073">
                  <c:v>40906</c:v>
                </c:pt>
                <c:pt idx="2074">
                  <c:v>40907</c:v>
                </c:pt>
                <c:pt idx="2075">
                  <c:v>40910</c:v>
                </c:pt>
                <c:pt idx="2076">
                  <c:v>40911</c:v>
                </c:pt>
                <c:pt idx="2077">
                  <c:v>40912</c:v>
                </c:pt>
                <c:pt idx="2078">
                  <c:v>40913</c:v>
                </c:pt>
                <c:pt idx="2079">
                  <c:v>40914</c:v>
                </c:pt>
                <c:pt idx="2080">
                  <c:v>40917</c:v>
                </c:pt>
                <c:pt idx="2081">
                  <c:v>40918</c:v>
                </c:pt>
                <c:pt idx="2082">
                  <c:v>40919</c:v>
                </c:pt>
                <c:pt idx="2083">
                  <c:v>40920</c:v>
                </c:pt>
                <c:pt idx="2084">
                  <c:v>40921</c:v>
                </c:pt>
                <c:pt idx="2085">
                  <c:v>40924</c:v>
                </c:pt>
                <c:pt idx="2086">
                  <c:v>40925</c:v>
                </c:pt>
                <c:pt idx="2087">
                  <c:v>40926</c:v>
                </c:pt>
                <c:pt idx="2088">
                  <c:v>40927</c:v>
                </c:pt>
                <c:pt idx="2089">
                  <c:v>40928</c:v>
                </c:pt>
                <c:pt idx="2090">
                  <c:v>40931</c:v>
                </c:pt>
                <c:pt idx="2091">
                  <c:v>40932</c:v>
                </c:pt>
                <c:pt idx="2092">
                  <c:v>40933</c:v>
                </c:pt>
                <c:pt idx="2093">
                  <c:v>40934</c:v>
                </c:pt>
                <c:pt idx="2094">
                  <c:v>40935</c:v>
                </c:pt>
                <c:pt idx="2095">
                  <c:v>40938</c:v>
                </c:pt>
                <c:pt idx="2096">
                  <c:v>40939</c:v>
                </c:pt>
                <c:pt idx="2097">
                  <c:v>40940</c:v>
                </c:pt>
                <c:pt idx="2098">
                  <c:v>40941</c:v>
                </c:pt>
                <c:pt idx="2099">
                  <c:v>40942</c:v>
                </c:pt>
                <c:pt idx="2100">
                  <c:v>40945</c:v>
                </c:pt>
                <c:pt idx="2101">
                  <c:v>40946</c:v>
                </c:pt>
                <c:pt idx="2102">
                  <c:v>40947</c:v>
                </c:pt>
                <c:pt idx="2103">
                  <c:v>40948</c:v>
                </c:pt>
                <c:pt idx="2104">
                  <c:v>40949</c:v>
                </c:pt>
                <c:pt idx="2105">
                  <c:v>40952</c:v>
                </c:pt>
                <c:pt idx="2106">
                  <c:v>40953</c:v>
                </c:pt>
                <c:pt idx="2107">
                  <c:v>40954</c:v>
                </c:pt>
                <c:pt idx="2108">
                  <c:v>40955</c:v>
                </c:pt>
                <c:pt idx="2109">
                  <c:v>40956</c:v>
                </c:pt>
                <c:pt idx="2110">
                  <c:v>40959</c:v>
                </c:pt>
                <c:pt idx="2111">
                  <c:v>40960</c:v>
                </c:pt>
                <c:pt idx="2112">
                  <c:v>40961</c:v>
                </c:pt>
                <c:pt idx="2113">
                  <c:v>40962</c:v>
                </c:pt>
                <c:pt idx="2114">
                  <c:v>40963</c:v>
                </c:pt>
                <c:pt idx="2115">
                  <c:v>40966</c:v>
                </c:pt>
                <c:pt idx="2116">
                  <c:v>40967</c:v>
                </c:pt>
                <c:pt idx="2117">
                  <c:v>40968</c:v>
                </c:pt>
                <c:pt idx="2118">
                  <c:v>40969</c:v>
                </c:pt>
                <c:pt idx="2119">
                  <c:v>40970</c:v>
                </c:pt>
                <c:pt idx="2120">
                  <c:v>40973</c:v>
                </c:pt>
                <c:pt idx="2121">
                  <c:v>40974</c:v>
                </c:pt>
                <c:pt idx="2122">
                  <c:v>40975</c:v>
                </c:pt>
                <c:pt idx="2123">
                  <c:v>40976</c:v>
                </c:pt>
                <c:pt idx="2124">
                  <c:v>40977</c:v>
                </c:pt>
                <c:pt idx="2125">
                  <c:v>40980</c:v>
                </c:pt>
                <c:pt idx="2126">
                  <c:v>40981</c:v>
                </c:pt>
                <c:pt idx="2127">
                  <c:v>40982</c:v>
                </c:pt>
                <c:pt idx="2128">
                  <c:v>40983</c:v>
                </c:pt>
                <c:pt idx="2129">
                  <c:v>40984</c:v>
                </c:pt>
                <c:pt idx="2130">
                  <c:v>40987</c:v>
                </c:pt>
                <c:pt idx="2131">
                  <c:v>40988</c:v>
                </c:pt>
                <c:pt idx="2132">
                  <c:v>40989</c:v>
                </c:pt>
                <c:pt idx="2133">
                  <c:v>40990</c:v>
                </c:pt>
                <c:pt idx="2134">
                  <c:v>40991</c:v>
                </c:pt>
                <c:pt idx="2135">
                  <c:v>40994</c:v>
                </c:pt>
                <c:pt idx="2136">
                  <c:v>40995</c:v>
                </c:pt>
                <c:pt idx="2137">
                  <c:v>40996</c:v>
                </c:pt>
                <c:pt idx="2138">
                  <c:v>40997</c:v>
                </c:pt>
                <c:pt idx="2139">
                  <c:v>40998</c:v>
                </c:pt>
                <c:pt idx="2140">
                  <c:v>41001</c:v>
                </c:pt>
                <c:pt idx="2141">
                  <c:v>41002</c:v>
                </c:pt>
                <c:pt idx="2142">
                  <c:v>41003</c:v>
                </c:pt>
                <c:pt idx="2143">
                  <c:v>41004</c:v>
                </c:pt>
                <c:pt idx="2144">
                  <c:v>41005</c:v>
                </c:pt>
                <c:pt idx="2145">
                  <c:v>41008</c:v>
                </c:pt>
                <c:pt idx="2146">
                  <c:v>41009</c:v>
                </c:pt>
                <c:pt idx="2147">
                  <c:v>41010</c:v>
                </c:pt>
                <c:pt idx="2148">
                  <c:v>41011</c:v>
                </c:pt>
                <c:pt idx="2149">
                  <c:v>41012</c:v>
                </c:pt>
                <c:pt idx="2150">
                  <c:v>41015</c:v>
                </c:pt>
                <c:pt idx="2151">
                  <c:v>41016</c:v>
                </c:pt>
                <c:pt idx="2152">
                  <c:v>41017</c:v>
                </c:pt>
                <c:pt idx="2153">
                  <c:v>41018</c:v>
                </c:pt>
                <c:pt idx="2154">
                  <c:v>41019</c:v>
                </c:pt>
                <c:pt idx="2155">
                  <c:v>41022</c:v>
                </c:pt>
                <c:pt idx="2156">
                  <c:v>41023</c:v>
                </c:pt>
                <c:pt idx="2157">
                  <c:v>41024</c:v>
                </c:pt>
                <c:pt idx="2158">
                  <c:v>41025</c:v>
                </c:pt>
                <c:pt idx="2159">
                  <c:v>41026</c:v>
                </c:pt>
                <c:pt idx="2160">
                  <c:v>41029</c:v>
                </c:pt>
                <c:pt idx="2161">
                  <c:v>41030</c:v>
                </c:pt>
                <c:pt idx="2162">
                  <c:v>41031</c:v>
                </c:pt>
                <c:pt idx="2163">
                  <c:v>41032</c:v>
                </c:pt>
                <c:pt idx="2164">
                  <c:v>41033</c:v>
                </c:pt>
                <c:pt idx="2165">
                  <c:v>41036</c:v>
                </c:pt>
                <c:pt idx="2166">
                  <c:v>41037</c:v>
                </c:pt>
                <c:pt idx="2167">
                  <c:v>41038</c:v>
                </c:pt>
                <c:pt idx="2168">
                  <c:v>41039</c:v>
                </c:pt>
                <c:pt idx="2169">
                  <c:v>41040</c:v>
                </c:pt>
                <c:pt idx="2170">
                  <c:v>41043</c:v>
                </c:pt>
                <c:pt idx="2171">
                  <c:v>41044</c:v>
                </c:pt>
                <c:pt idx="2172">
                  <c:v>41045</c:v>
                </c:pt>
                <c:pt idx="2173">
                  <c:v>41046</c:v>
                </c:pt>
                <c:pt idx="2174">
                  <c:v>41047</c:v>
                </c:pt>
                <c:pt idx="2175">
                  <c:v>41050</c:v>
                </c:pt>
                <c:pt idx="2176">
                  <c:v>41051</c:v>
                </c:pt>
                <c:pt idx="2177">
                  <c:v>41052</c:v>
                </c:pt>
                <c:pt idx="2178">
                  <c:v>41053</c:v>
                </c:pt>
                <c:pt idx="2179">
                  <c:v>41054</c:v>
                </c:pt>
                <c:pt idx="2180">
                  <c:v>41057</c:v>
                </c:pt>
                <c:pt idx="2181">
                  <c:v>41058</c:v>
                </c:pt>
                <c:pt idx="2182">
                  <c:v>41059</c:v>
                </c:pt>
                <c:pt idx="2183">
                  <c:v>41060</c:v>
                </c:pt>
                <c:pt idx="2184">
                  <c:v>41061</c:v>
                </c:pt>
                <c:pt idx="2185">
                  <c:v>41064</c:v>
                </c:pt>
                <c:pt idx="2186">
                  <c:v>41065</c:v>
                </c:pt>
                <c:pt idx="2187">
                  <c:v>41066</c:v>
                </c:pt>
                <c:pt idx="2188">
                  <c:v>41067</c:v>
                </c:pt>
                <c:pt idx="2189">
                  <c:v>41068</c:v>
                </c:pt>
                <c:pt idx="2190">
                  <c:v>41071</c:v>
                </c:pt>
                <c:pt idx="2191">
                  <c:v>41072</c:v>
                </c:pt>
                <c:pt idx="2192">
                  <c:v>41073</c:v>
                </c:pt>
                <c:pt idx="2193">
                  <c:v>41074</c:v>
                </c:pt>
                <c:pt idx="2194">
                  <c:v>41075</c:v>
                </c:pt>
                <c:pt idx="2195">
                  <c:v>41078</c:v>
                </c:pt>
                <c:pt idx="2196">
                  <c:v>41079</c:v>
                </c:pt>
                <c:pt idx="2197">
                  <c:v>41080</c:v>
                </c:pt>
                <c:pt idx="2198">
                  <c:v>41081</c:v>
                </c:pt>
                <c:pt idx="2199">
                  <c:v>41082</c:v>
                </c:pt>
                <c:pt idx="2200">
                  <c:v>41085</c:v>
                </c:pt>
                <c:pt idx="2201">
                  <c:v>41086</c:v>
                </c:pt>
                <c:pt idx="2202">
                  <c:v>41087</c:v>
                </c:pt>
                <c:pt idx="2203">
                  <c:v>41088</c:v>
                </c:pt>
                <c:pt idx="2204">
                  <c:v>41089</c:v>
                </c:pt>
                <c:pt idx="2205">
                  <c:v>41092</c:v>
                </c:pt>
                <c:pt idx="2206">
                  <c:v>41093</c:v>
                </c:pt>
                <c:pt idx="2207">
                  <c:v>41094</c:v>
                </c:pt>
                <c:pt idx="2208">
                  <c:v>41095</c:v>
                </c:pt>
                <c:pt idx="2209">
                  <c:v>41096</c:v>
                </c:pt>
                <c:pt idx="2210">
                  <c:v>41099</c:v>
                </c:pt>
                <c:pt idx="2211">
                  <c:v>41100</c:v>
                </c:pt>
                <c:pt idx="2212">
                  <c:v>41101</c:v>
                </c:pt>
                <c:pt idx="2213">
                  <c:v>41102</c:v>
                </c:pt>
                <c:pt idx="2214">
                  <c:v>41103</c:v>
                </c:pt>
                <c:pt idx="2215">
                  <c:v>41106</c:v>
                </c:pt>
                <c:pt idx="2216">
                  <c:v>41107</c:v>
                </c:pt>
                <c:pt idx="2217">
                  <c:v>41108</c:v>
                </c:pt>
                <c:pt idx="2218">
                  <c:v>41109</c:v>
                </c:pt>
                <c:pt idx="2219">
                  <c:v>41110</c:v>
                </c:pt>
                <c:pt idx="2220">
                  <c:v>41113</c:v>
                </c:pt>
                <c:pt idx="2221">
                  <c:v>41114</c:v>
                </c:pt>
                <c:pt idx="2222">
                  <c:v>41115</c:v>
                </c:pt>
                <c:pt idx="2223">
                  <c:v>41116</c:v>
                </c:pt>
                <c:pt idx="2224">
                  <c:v>41117</c:v>
                </c:pt>
                <c:pt idx="2225">
                  <c:v>41120</c:v>
                </c:pt>
                <c:pt idx="2226">
                  <c:v>41121</c:v>
                </c:pt>
                <c:pt idx="2227">
                  <c:v>41122</c:v>
                </c:pt>
                <c:pt idx="2228">
                  <c:v>41123</c:v>
                </c:pt>
                <c:pt idx="2229">
                  <c:v>41124</c:v>
                </c:pt>
                <c:pt idx="2230">
                  <c:v>41127</c:v>
                </c:pt>
                <c:pt idx="2231">
                  <c:v>41128</c:v>
                </c:pt>
                <c:pt idx="2232">
                  <c:v>41129</c:v>
                </c:pt>
                <c:pt idx="2233">
                  <c:v>41130</c:v>
                </c:pt>
                <c:pt idx="2234">
                  <c:v>41131</c:v>
                </c:pt>
                <c:pt idx="2235">
                  <c:v>41134</c:v>
                </c:pt>
                <c:pt idx="2236">
                  <c:v>41135</c:v>
                </c:pt>
                <c:pt idx="2237">
                  <c:v>41136</c:v>
                </c:pt>
                <c:pt idx="2238">
                  <c:v>41137</c:v>
                </c:pt>
                <c:pt idx="2239">
                  <c:v>41138</c:v>
                </c:pt>
                <c:pt idx="2240">
                  <c:v>41141</c:v>
                </c:pt>
                <c:pt idx="2241">
                  <c:v>41142</c:v>
                </c:pt>
                <c:pt idx="2242">
                  <c:v>41143</c:v>
                </c:pt>
                <c:pt idx="2243">
                  <c:v>41144</c:v>
                </c:pt>
                <c:pt idx="2244">
                  <c:v>41145</c:v>
                </c:pt>
                <c:pt idx="2245">
                  <c:v>41148</c:v>
                </c:pt>
                <c:pt idx="2246">
                  <c:v>41149</c:v>
                </c:pt>
                <c:pt idx="2247">
                  <c:v>41150</c:v>
                </c:pt>
                <c:pt idx="2248">
                  <c:v>41151</c:v>
                </c:pt>
                <c:pt idx="2249">
                  <c:v>41152</c:v>
                </c:pt>
                <c:pt idx="2250">
                  <c:v>41155</c:v>
                </c:pt>
                <c:pt idx="2251">
                  <c:v>41156</c:v>
                </c:pt>
                <c:pt idx="2252">
                  <c:v>41157</c:v>
                </c:pt>
                <c:pt idx="2253">
                  <c:v>41158</c:v>
                </c:pt>
                <c:pt idx="2254">
                  <c:v>41159</c:v>
                </c:pt>
                <c:pt idx="2255">
                  <c:v>41162</c:v>
                </c:pt>
                <c:pt idx="2256">
                  <c:v>41163</c:v>
                </c:pt>
                <c:pt idx="2257">
                  <c:v>41164</c:v>
                </c:pt>
                <c:pt idx="2258">
                  <c:v>41165</c:v>
                </c:pt>
                <c:pt idx="2259">
                  <c:v>41166</c:v>
                </c:pt>
                <c:pt idx="2260">
                  <c:v>41169</c:v>
                </c:pt>
                <c:pt idx="2261">
                  <c:v>41170</c:v>
                </c:pt>
                <c:pt idx="2262">
                  <c:v>41171</c:v>
                </c:pt>
                <c:pt idx="2263">
                  <c:v>41172</c:v>
                </c:pt>
                <c:pt idx="2264">
                  <c:v>41173</c:v>
                </c:pt>
                <c:pt idx="2265">
                  <c:v>41176</c:v>
                </c:pt>
                <c:pt idx="2266">
                  <c:v>41177</c:v>
                </c:pt>
                <c:pt idx="2267">
                  <c:v>41178</c:v>
                </c:pt>
                <c:pt idx="2268">
                  <c:v>41179</c:v>
                </c:pt>
                <c:pt idx="2269">
                  <c:v>41180</c:v>
                </c:pt>
                <c:pt idx="2270">
                  <c:v>41183</c:v>
                </c:pt>
                <c:pt idx="2271">
                  <c:v>41184</c:v>
                </c:pt>
                <c:pt idx="2272">
                  <c:v>41185</c:v>
                </c:pt>
                <c:pt idx="2273">
                  <c:v>41186</c:v>
                </c:pt>
                <c:pt idx="2274">
                  <c:v>41187</c:v>
                </c:pt>
                <c:pt idx="2275">
                  <c:v>41190</c:v>
                </c:pt>
                <c:pt idx="2276">
                  <c:v>41191</c:v>
                </c:pt>
                <c:pt idx="2277">
                  <c:v>41192</c:v>
                </c:pt>
                <c:pt idx="2278">
                  <c:v>41193</c:v>
                </c:pt>
                <c:pt idx="2279">
                  <c:v>41194</c:v>
                </c:pt>
                <c:pt idx="2280">
                  <c:v>41197</c:v>
                </c:pt>
                <c:pt idx="2281">
                  <c:v>41198</c:v>
                </c:pt>
                <c:pt idx="2282">
                  <c:v>41199</c:v>
                </c:pt>
                <c:pt idx="2283">
                  <c:v>41200</c:v>
                </c:pt>
                <c:pt idx="2284">
                  <c:v>41201</c:v>
                </c:pt>
                <c:pt idx="2285">
                  <c:v>41204</c:v>
                </c:pt>
                <c:pt idx="2286">
                  <c:v>41205</c:v>
                </c:pt>
                <c:pt idx="2287">
                  <c:v>41206</c:v>
                </c:pt>
                <c:pt idx="2288">
                  <c:v>41207</c:v>
                </c:pt>
                <c:pt idx="2289">
                  <c:v>41208</c:v>
                </c:pt>
                <c:pt idx="2290">
                  <c:v>41211</c:v>
                </c:pt>
                <c:pt idx="2291">
                  <c:v>41212</c:v>
                </c:pt>
                <c:pt idx="2292">
                  <c:v>41213</c:v>
                </c:pt>
                <c:pt idx="2293">
                  <c:v>41214</c:v>
                </c:pt>
                <c:pt idx="2294">
                  <c:v>41215</c:v>
                </c:pt>
                <c:pt idx="2295">
                  <c:v>41218</c:v>
                </c:pt>
                <c:pt idx="2296">
                  <c:v>41219</c:v>
                </c:pt>
                <c:pt idx="2297">
                  <c:v>41220</c:v>
                </c:pt>
                <c:pt idx="2298">
                  <c:v>41221</c:v>
                </c:pt>
                <c:pt idx="2299">
                  <c:v>41222</c:v>
                </c:pt>
                <c:pt idx="2300">
                  <c:v>41225</c:v>
                </c:pt>
                <c:pt idx="2301">
                  <c:v>41226</c:v>
                </c:pt>
                <c:pt idx="2302">
                  <c:v>41227</c:v>
                </c:pt>
                <c:pt idx="2303">
                  <c:v>41228</c:v>
                </c:pt>
                <c:pt idx="2304">
                  <c:v>41229</c:v>
                </c:pt>
                <c:pt idx="2305">
                  <c:v>41232</c:v>
                </c:pt>
                <c:pt idx="2306">
                  <c:v>41233</c:v>
                </c:pt>
                <c:pt idx="2307">
                  <c:v>41234</c:v>
                </c:pt>
                <c:pt idx="2308">
                  <c:v>41235</c:v>
                </c:pt>
                <c:pt idx="2309">
                  <c:v>41236</c:v>
                </c:pt>
                <c:pt idx="2310">
                  <c:v>41239</c:v>
                </c:pt>
                <c:pt idx="2311">
                  <c:v>41240</c:v>
                </c:pt>
                <c:pt idx="2312">
                  <c:v>41241</c:v>
                </c:pt>
                <c:pt idx="2313">
                  <c:v>41242</c:v>
                </c:pt>
                <c:pt idx="2314">
                  <c:v>41243</c:v>
                </c:pt>
                <c:pt idx="2315">
                  <c:v>41246</c:v>
                </c:pt>
                <c:pt idx="2316">
                  <c:v>41247</c:v>
                </c:pt>
                <c:pt idx="2317">
                  <c:v>41248</c:v>
                </c:pt>
                <c:pt idx="2318">
                  <c:v>41249</c:v>
                </c:pt>
                <c:pt idx="2319">
                  <c:v>41250</c:v>
                </c:pt>
                <c:pt idx="2320">
                  <c:v>41253</c:v>
                </c:pt>
                <c:pt idx="2321">
                  <c:v>41254</c:v>
                </c:pt>
                <c:pt idx="2322">
                  <c:v>41255</c:v>
                </c:pt>
                <c:pt idx="2323">
                  <c:v>41256</c:v>
                </c:pt>
                <c:pt idx="2324">
                  <c:v>41257</c:v>
                </c:pt>
                <c:pt idx="2325">
                  <c:v>41260</c:v>
                </c:pt>
                <c:pt idx="2326">
                  <c:v>41261</c:v>
                </c:pt>
                <c:pt idx="2327">
                  <c:v>41262</c:v>
                </c:pt>
                <c:pt idx="2328">
                  <c:v>41263</c:v>
                </c:pt>
                <c:pt idx="2329">
                  <c:v>41264</c:v>
                </c:pt>
                <c:pt idx="2330">
                  <c:v>41267</c:v>
                </c:pt>
                <c:pt idx="2331">
                  <c:v>41268</c:v>
                </c:pt>
                <c:pt idx="2332">
                  <c:v>41269</c:v>
                </c:pt>
                <c:pt idx="2333">
                  <c:v>41270</c:v>
                </c:pt>
                <c:pt idx="2334">
                  <c:v>41271</c:v>
                </c:pt>
                <c:pt idx="2335">
                  <c:v>41274</c:v>
                </c:pt>
                <c:pt idx="2336">
                  <c:v>41275</c:v>
                </c:pt>
                <c:pt idx="2337">
                  <c:v>41276</c:v>
                </c:pt>
                <c:pt idx="2338">
                  <c:v>41277</c:v>
                </c:pt>
                <c:pt idx="2339">
                  <c:v>41278</c:v>
                </c:pt>
                <c:pt idx="2340">
                  <c:v>41281</c:v>
                </c:pt>
                <c:pt idx="2341">
                  <c:v>41282</c:v>
                </c:pt>
                <c:pt idx="2342">
                  <c:v>41283</c:v>
                </c:pt>
                <c:pt idx="2343">
                  <c:v>41284</c:v>
                </c:pt>
                <c:pt idx="2344">
                  <c:v>41285</c:v>
                </c:pt>
                <c:pt idx="2345">
                  <c:v>41288</c:v>
                </c:pt>
                <c:pt idx="2346">
                  <c:v>41289</c:v>
                </c:pt>
                <c:pt idx="2347">
                  <c:v>41290</c:v>
                </c:pt>
                <c:pt idx="2348">
                  <c:v>41291</c:v>
                </c:pt>
                <c:pt idx="2349">
                  <c:v>41292</c:v>
                </c:pt>
                <c:pt idx="2350">
                  <c:v>41295</c:v>
                </c:pt>
                <c:pt idx="2351">
                  <c:v>41296</c:v>
                </c:pt>
                <c:pt idx="2352">
                  <c:v>41297</c:v>
                </c:pt>
                <c:pt idx="2353">
                  <c:v>41298</c:v>
                </c:pt>
                <c:pt idx="2354">
                  <c:v>41299</c:v>
                </c:pt>
                <c:pt idx="2355">
                  <c:v>41302</c:v>
                </c:pt>
                <c:pt idx="2356">
                  <c:v>41303</c:v>
                </c:pt>
                <c:pt idx="2357">
                  <c:v>41304</c:v>
                </c:pt>
                <c:pt idx="2358">
                  <c:v>41305</c:v>
                </c:pt>
                <c:pt idx="2359">
                  <c:v>41306</c:v>
                </c:pt>
                <c:pt idx="2360">
                  <c:v>41309</c:v>
                </c:pt>
                <c:pt idx="2361">
                  <c:v>41310</c:v>
                </c:pt>
                <c:pt idx="2362">
                  <c:v>41311</c:v>
                </c:pt>
                <c:pt idx="2363">
                  <c:v>41312</c:v>
                </c:pt>
                <c:pt idx="2364">
                  <c:v>41313</c:v>
                </c:pt>
                <c:pt idx="2365">
                  <c:v>41316</c:v>
                </c:pt>
                <c:pt idx="2366">
                  <c:v>41317</c:v>
                </c:pt>
                <c:pt idx="2367">
                  <c:v>41318</c:v>
                </c:pt>
                <c:pt idx="2368">
                  <c:v>41319</c:v>
                </c:pt>
                <c:pt idx="2369">
                  <c:v>41320</c:v>
                </c:pt>
                <c:pt idx="2370">
                  <c:v>41323</c:v>
                </c:pt>
                <c:pt idx="2371">
                  <c:v>41324</c:v>
                </c:pt>
                <c:pt idx="2372">
                  <c:v>41325</c:v>
                </c:pt>
                <c:pt idx="2373">
                  <c:v>41326</c:v>
                </c:pt>
                <c:pt idx="2374">
                  <c:v>41327</c:v>
                </c:pt>
                <c:pt idx="2375">
                  <c:v>41330</c:v>
                </c:pt>
                <c:pt idx="2376">
                  <c:v>41331</c:v>
                </c:pt>
                <c:pt idx="2377">
                  <c:v>41332</c:v>
                </c:pt>
                <c:pt idx="2378">
                  <c:v>41333</c:v>
                </c:pt>
                <c:pt idx="2379">
                  <c:v>41334</c:v>
                </c:pt>
                <c:pt idx="2380">
                  <c:v>41337</c:v>
                </c:pt>
                <c:pt idx="2381">
                  <c:v>41338</c:v>
                </c:pt>
                <c:pt idx="2382">
                  <c:v>41339</c:v>
                </c:pt>
                <c:pt idx="2383">
                  <c:v>41340</c:v>
                </c:pt>
                <c:pt idx="2384">
                  <c:v>41341</c:v>
                </c:pt>
                <c:pt idx="2385">
                  <c:v>41344</c:v>
                </c:pt>
                <c:pt idx="2386">
                  <c:v>41345</c:v>
                </c:pt>
                <c:pt idx="2387">
                  <c:v>41346</c:v>
                </c:pt>
                <c:pt idx="2388">
                  <c:v>41347</c:v>
                </c:pt>
                <c:pt idx="2389">
                  <c:v>41348</c:v>
                </c:pt>
                <c:pt idx="2390">
                  <c:v>41351</c:v>
                </c:pt>
                <c:pt idx="2391">
                  <c:v>41352</c:v>
                </c:pt>
                <c:pt idx="2392">
                  <c:v>41353</c:v>
                </c:pt>
                <c:pt idx="2393">
                  <c:v>41354</c:v>
                </c:pt>
                <c:pt idx="2394">
                  <c:v>41355</c:v>
                </c:pt>
                <c:pt idx="2395">
                  <c:v>41358</c:v>
                </c:pt>
                <c:pt idx="2396">
                  <c:v>41359</c:v>
                </c:pt>
                <c:pt idx="2397">
                  <c:v>41360</c:v>
                </c:pt>
                <c:pt idx="2398">
                  <c:v>41361</c:v>
                </c:pt>
                <c:pt idx="2399">
                  <c:v>41362</c:v>
                </c:pt>
                <c:pt idx="2400">
                  <c:v>41365</c:v>
                </c:pt>
                <c:pt idx="2401">
                  <c:v>41366</c:v>
                </c:pt>
                <c:pt idx="2402">
                  <c:v>41367</c:v>
                </c:pt>
                <c:pt idx="2403">
                  <c:v>41368</c:v>
                </c:pt>
                <c:pt idx="2404">
                  <c:v>41369</c:v>
                </c:pt>
                <c:pt idx="2405">
                  <c:v>41372</c:v>
                </c:pt>
                <c:pt idx="2406">
                  <c:v>41373</c:v>
                </c:pt>
                <c:pt idx="2407">
                  <c:v>41374</c:v>
                </c:pt>
                <c:pt idx="2408">
                  <c:v>41375</c:v>
                </c:pt>
                <c:pt idx="2409">
                  <c:v>41376</c:v>
                </c:pt>
                <c:pt idx="2410">
                  <c:v>41379</c:v>
                </c:pt>
                <c:pt idx="2411">
                  <c:v>41380</c:v>
                </c:pt>
                <c:pt idx="2412">
                  <c:v>41381</c:v>
                </c:pt>
                <c:pt idx="2413">
                  <c:v>41382</c:v>
                </c:pt>
                <c:pt idx="2414">
                  <c:v>41383</c:v>
                </c:pt>
                <c:pt idx="2415">
                  <c:v>41386</c:v>
                </c:pt>
                <c:pt idx="2416">
                  <c:v>41387</c:v>
                </c:pt>
                <c:pt idx="2417">
                  <c:v>41388</c:v>
                </c:pt>
                <c:pt idx="2418">
                  <c:v>41389</c:v>
                </c:pt>
                <c:pt idx="2419">
                  <c:v>41390</c:v>
                </c:pt>
                <c:pt idx="2420">
                  <c:v>41393</c:v>
                </c:pt>
                <c:pt idx="2421">
                  <c:v>41394</c:v>
                </c:pt>
                <c:pt idx="2422">
                  <c:v>41395</c:v>
                </c:pt>
                <c:pt idx="2423">
                  <c:v>41396</c:v>
                </c:pt>
                <c:pt idx="2424">
                  <c:v>41397</c:v>
                </c:pt>
                <c:pt idx="2425">
                  <c:v>41400</c:v>
                </c:pt>
                <c:pt idx="2426">
                  <c:v>41401</c:v>
                </c:pt>
                <c:pt idx="2427">
                  <c:v>41402</c:v>
                </c:pt>
                <c:pt idx="2428">
                  <c:v>41403</c:v>
                </c:pt>
                <c:pt idx="2429">
                  <c:v>41404</c:v>
                </c:pt>
                <c:pt idx="2430">
                  <c:v>41407</c:v>
                </c:pt>
                <c:pt idx="2431">
                  <c:v>41408</c:v>
                </c:pt>
                <c:pt idx="2432">
                  <c:v>41409</c:v>
                </c:pt>
                <c:pt idx="2433">
                  <c:v>41410</c:v>
                </c:pt>
                <c:pt idx="2434">
                  <c:v>41411</c:v>
                </c:pt>
                <c:pt idx="2435">
                  <c:v>41414</c:v>
                </c:pt>
                <c:pt idx="2436">
                  <c:v>41415</c:v>
                </c:pt>
                <c:pt idx="2437">
                  <c:v>41416</c:v>
                </c:pt>
                <c:pt idx="2438">
                  <c:v>41417</c:v>
                </c:pt>
                <c:pt idx="2439">
                  <c:v>41418</c:v>
                </c:pt>
                <c:pt idx="2440">
                  <c:v>41421</c:v>
                </c:pt>
                <c:pt idx="2441">
                  <c:v>41422</c:v>
                </c:pt>
                <c:pt idx="2442">
                  <c:v>41423</c:v>
                </c:pt>
                <c:pt idx="2443">
                  <c:v>41424</c:v>
                </c:pt>
                <c:pt idx="2444">
                  <c:v>41425</c:v>
                </c:pt>
                <c:pt idx="2445">
                  <c:v>41428</c:v>
                </c:pt>
                <c:pt idx="2446">
                  <c:v>41429</c:v>
                </c:pt>
                <c:pt idx="2447">
                  <c:v>41430</c:v>
                </c:pt>
                <c:pt idx="2448">
                  <c:v>41431</c:v>
                </c:pt>
                <c:pt idx="2449">
                  <c:v>41432</c:v>
                </c:pt>
                <c:pt idx="2450">
                  <c:v>41435</c:v>
                </c:pt>
                <c:pt idx="2451">
                  <c:v>41436</c:v>
                </c:pt>
                <c:pt idx="2452">
                  <c:v>41437</c:v>
                </c:pt>
                <c:pt idx="2453">
                  <c:v>41438</c:v>
                </c:pt>
                <c:pt idx="2454">
                  <c:v>41439</c:v>
                </c:pt>
                <c:pt idx="2455">
                  <c:v>41442</c:v>
                </c:pt>
                <c:pt idx="2456">
                  <c:v>41443</c:v>
                </c:pt>
                <c:pt idx="2457">
                  <c:v>41444</c:v>
                </c:pt>
                <c:pt idx="2458">
                  <c:v>41445</c:v>
                </c:pt>
                <c:pt idx="2459">
                  <c:v>41446</c:v>
                </c:pt>
                <c:pt idx="2460">
                  <c:v>41449</c:v>
                </c:pt>
                <c:pt idx="2461">
                  <c:v>41450</c:v>
                </c:pt>
                <c:pt idx="2462">
                  <c:v>41451</c:v>
                </c:pt>
                <c:pt idx="2463">
                  <c:v>41452</c:v>
                </c:pt>
                <c:pt idx="2464">
                  <c:v>41453</c:v>
                </c:pt>
                <c:pt idx="2465">
                  <c:v>41456</c:v>
                </c:pt>
                <c:pt idx="2466">
                  <c:v>41457</c:v>
                </c:pt>
                <c:pt idx="2467">
                  <c:v>41458</c:v>
                </c:pt>
                <c:pt idx="2468">
                  <c:v>41459</c:v>
                </c:pt>
                <c:pt idx="2469">
                  <c:v>41460</c:v>
                </c:pt>
                <c:pt idx="2470">
                  <c:v>41463</c:v>
                </c:pt>
                <c:pt idx="2471">
                  <c:v>41464</c:v>
                </c:pt>
                <c:pt idx="2472">
                  <c:v>41465</c:v>
                </c:pt>
                <c:pt idx="2473">
                  <c:v>41466</c:v>
                </c:pt>
                <c:pt idx="2474">
                  <c:v>41467</c:v>
                </c:pt>
                <c:pt idx="2475">
                  <c:v>41470</c:v>
                </c:pt>
                <c:pt idx="2476">
                  <c:v>41471</c:v>
                </c:pt>
                <c:pt idx="2477">
                  <c:v>41472</c:v>
                </c:pt>
                <c:pt idx="2478">
                  <c:v>41473</c:v>
                </c:pt>
                <c:pt idx="2479">
                  <c:v>41474</c:v>
                </c:pt>
                <c:pt idx="2480">
                  <c:v>41477</c:v>
                </c:pt>
                <c:pt idx="2481">
                  <c:v>41478</c:v>
                </c:pt>
                <c:pt idx="2482">
                  <c:v>41479</c:v>
                </c:pt>
                <c:pt idx="2483">
                  <c:v>41480</c:v>
                </c:pt>
                <c:pt idx="2484">
                  <c:v>41481</c:v>
                </c:pt>
                <c:pt idx="2485">
                  <c:v>41484</c:v>
                </c:pt>
                <c:pt idx="2486">
                  <c:v>41485</c:v>
                </c:pt>
                <c:pt idx="2487">
                  <c:v>41486</c:v>
                </c:pt>
                <c:pt idx="2488">
                  <c:v>41487</c:v>
                </c:pt>
                <c:pt idx="2489">
                  <c:v>41488</c:v>
                </c:pt>
                <c:pt idx="2490">
                  <c:v>41491</c:v>
                </c:pt>
                <c:pt idx="2491">
                  <c:v>41492</c:v>
                </c:pt>
                <c:pt idx="2492">
                  <c:v>41493</c:v>
                </c:pt>
                <c:pt idx="2493">
                  <c:v>41494</c:v>
                </c:pt>
                <c:pt idx="2494">
                  <c:v>41495</c:v>
                </c:pt>
                <c:pt idx="2495">
                  <c:v>41498</c:v>
                </c:pt>
                <c:pt idx="2496">
                  <c:v>41499</c:v>
                </c:pt>
                <c:pt idx="2497">
                  <c:v>41500</c:v>
                </c:pt>
                <c:pt idx="2498">
                  <c:v>41501</c:v>
                </c:pt>
                <c:pt idx="2499">
                  <c:v>41502</c:v>
                </c:pt>
                <c:pt idx="2500">
                  <c:v>41505</c:v>
                </c:pt>
                <c:pt idx="2501">
                  <c:v>41506</c:v>
                </c:pt>
                <c:pt idx="2502">
                  <c:v>41507</c:v>
                </c:pt>
                <c:pt idx="2503">
                  <c:v>41508</c:v>
                </c:pt>
                <c:pt idx="2504">
                  <c:v>41509</c:v>
                </c:pt>
                <c:pt idx="2505">
                  <c:v>41512</c:v>
                </c:pt>
                <c:pt idx="2506">
                  <c:v>41513</c:v>
                </c:pt>
                <c:pt idx="2507">
                  <c:v>41514</c:v>
                </c:pt>
                <c:pt idx="2508">
                  <c:v>41515</c:v>
                </c:pt>
                <c:pt idx="2509">
                  <c:v>41516</c:v>
                </c:pt>
                <c:pt idx="2510">
                  <c:v>41519</c:v>
                </c:pt>
                <c:pt idx="2511">
                  <c:v>41520</c:v>
                </c:pt>
                <c:pt idx="2512">
                  <c:v>41521</c:v>
                </c:pt>
                <c:pt idx="2513">
                  <c:v>41522</c:v>
                </c:pt>
                <c:pt idx="2514">
                  <c:v>41523</c:v>
                </c:pt>
                <c:pt idx="2515">
                  <c:v>41526</c:v>
                </c:pt>
                <c:pt idx="2516">
                  <c:v>41527</c:v>
                </c:pt>
                <c:pt idx="2517">
                  <c:v>41528</c:v>
                </c:pt>
                <c:pt idx="2518">
                  <c:v>41529</c:v>
                </c:pt>
                <c:pt idx="2519">
                  <c:v>41530</c:v>
                </c:pt>
                <c:pt idx="2520">
                  <c:v>41533</c:v>
                </c:pt>
                <c:pt idx="2521">
                  <c:v>41534</c:v>
                </c:pt>
                <c:pt idx="2522">
                  <c:v>41535</c:v>
                </c:pt>
                <c:pt idx="2523">
                  <c:v>41536</c:v>
                </c:pt>
                <c:pt idx="2524">
                  <c:v>41537</c:v>
                </c:pt>
                <c:pt idx="2525">
                  <c:v>41540</c:v>
                </c:pt>
                <c:pt idx="2526">
                  <c:v>41541</c:v>
                </c:pt>
                <c:pt idx="2527">
                  <c:v>41542</c:v>
                </c:pt>
                <c:pt idx="2528">
                  <c:v>41543</c:v>
                </c:pt>
                <c:pt idx="2529">
                  <c:v>41544</c:v>
                </c:pt>
                <c:pt idx="2530">
                  <c:v>41547</c:v>
                </c:pt>
                <c:pt idx="2531">
                  <c:v>41548</c:v>
                </c:pt>
                <c:pt idx="2532">
                  <c:v>41549</c:v>
                </c:pt>
                <c:pt idx="2533">
                  <c:v>41550</c:v>
                </c:pt>
                <c:pt idx="2534">
                  <c:v>41551</c:v>
                </c:pt>
                <c:pt idx="2535">
                  <c:v>41554</c:v>
                </c:pt>
                <c:pt idx="2536">
                  <c:v>41555</c:v>
                </c:pt>
                <c:pt idx="2537">
                  <c:v>41556</c:v>
                </c:pt>
                <c:pt idx="2538">
                  <c:v>41557</c:v>
                </c:pt>
                <c:pt idx="2539">
                  <c:v>41558</c:v>
                </c:pt>
                <c:pt idx="2540">
                  <c:v>41561</c:v>
                </c:pt>
                <c:pt idx="2541">
                  <c:v>41562</c:v>
                </c:pt>
                <c:pt idx="2542">
                  <c:v>41563</c:v>
                </c:pt>
                <c:pt idx="2543">
                  <c:v>41564</c:v>
                </c:pt>
                <c:pt idx="2544">
                  <c:v>41565</c:v>
                </c:pt>
                <c:pt idx="2545">
                  <c:v>41568</c:v>
                </c:pt>
                <c:pt idx="2546">
                  <c:v>41569</c:v>
                </c:pt>
                <c:pt idx="2547">
                  <c:v>41570</c:v>
                </c:pt>
                <c:pt idx="2548">
                  <c:v>41571</c:v>
                </c:pt>
                <c:pt idx="2549">
                  <c:v>41572</c:v>
                </c:pt>
                <c:pt idx="2550">
                  <c:v>41575</c:v>
                </c:pt>
                <c:pt idx="2551">
                  <c:v>41576</c:v>
                </c:pt>
                <c:pt idx="2552">
                  <c:v>41577</c:v>
                </c:pt>
                <c:pt idx="2553">
                  <c:v>41578</c:v>
                </c:pt>
                <c:pt idx="2554">
                  <c:v>41579</c:v>
                </c:pt>
                <c:pt idx="2555">
                  <c:v>41582</c:v>
                </c:pt>
                <c:pt idx="2556">
                  <c:v>41583</c:v>
                </c:pt>
                <c:pt idx="2557">
                  <c:v>41584</c:v>
                </c:pt>
                <c:pt idx="2558">
                  <c:v>41585</c:v>
                </c:pt>
                <c:pt idx="2559">
                  <c:v>41586</c:v>
                </c:pt>
                <c:pt idx="2560">
                  <c:v>41589</c:v>
                </c:pt>
                <c:pt idx="2561">
                  <c:v>41590</c:v>
                </c:pt>
                <c:pt idx="2562">
                  <c:v>41591</c:v>
                </c:pt>
                <c:pt idx="2563">
                  <c:v>41592</c:v>
                </c:pt>
                <c:pt idx="2564">
                  <c:v>41593</c:v>
                </c:pt>
                <c:pt idx="2565">
                  <c:v>41596</c:v>
                </c:pt>
                <c:pt idx="2566">
                  <c:v>41597</c:v>
                </c:pt>
                <c:pt idx="2567">
                  <c:v>41598</c:v>
                </c:pt>
                <c:pt idx="2568">
                  <c:v>41599</c:v>
                </c:pt>
                <c:pt idx="2569">
                  <c:v>41600</c:v>
                </c:pt>
                <c:pt idx="2570">
                  <c:v>41603</c:v>
                </c:pt>
                <c:pt idx="2571">
                  <c:v>41604</c:v>
                </c:pt>
                <c:pt idx="2572">
                  <c:v>41605</c:v>
                </c:pt>
                <c:pt idx="2573">
                  <c:v>41606</c:v>
                </c:pt>
                <c:pt idx="2574">
                  <c:v>41607</c:v>
                </c:pt>
                <c:pt idx="2575">
                  <c:v>41610</c:v>
                </c:pt>
                <c:pt idx="2576">
                  <c:v>41611</c:v>
                </c:pt>
                <c:pt idx="2577">
                  <c:v>41612</c:v>
                </c:pt>
                <c:pt idx="2578">
                  <c:v>41613</c:v>
                </c:pt>
                <c:pt idx="2579">
                  <c:v>41614</c:v>
                </c:pt>
                <c:pt idx="2580">
                  <c:v>41617</c:v>
                </c:pt>
                <c:pt idx="2581">
                  <c:v>41618</c:v>
                </c:pt>
                <c:pt idx="2582">
                  <c:v>41619</c:v>
                </c:pt>
                <c:pt idx="2583">
                  <c:v>41620</c:v>
                </c:pt>
                <c:pt idx="2584">
                  <c:v>41621</c:v>
                </c:pt>
                <c:pt idx="2585">
                  <c:v>41624</c:v>
                </c:pt>
                <c:pt idx="2586">
                  <c:v>41625</c:v>
                </c:pt>
                <c:pt idx="2587">
                  <c:v>41626</c:v>
                </c:pt>
                <c:pt idx="2588">
                  <c:v>41627</c:v>
                </c:pt>
                <c:pt idx="2589">
                  <c:v>41628</c:v>
                </c:pt>
                <c:pt idx="2590">
                  <c:v>41631</c:v>
                </c:pt>
                <c:pt idx="2591">
                  <c:v>41632</c:v>
                </c:pt>
                <c:pt idx="2592">
                  <c:v>41633</c:v>
                </c:pt>
                <c:pt idx="2593">
                  <c:v>41634</c:v>
                </c:pt>
                <c:pt idx="2594">
                  <c:v>41635</c:v>
                </c:pt>
                <c:pt idx="2595">
                  <c:v>41638</c:v>
                </c:pt>
                <c:pt idx="2596">
                  <c:v>41639</c:v>
                </c:pt>
                <c:pt idx="2597">
                  <c:v>41640</c:v>
                </c:pt>
                <c:pt idx="2598">
                  <c:v>41641</c:v>
                </c:pt>
                <c:pt idx="2599">
                  <c:v>41642</c:v>
                </c:pt>
                <c:pt idx="2600">
                  <c:v>41645</c:v>
                </c:pt>
                <c:pt idx="2601">
                  <c:v>41646</c:v>
                </c:pt>
                <c:pt idx="2602">
                  <c:v>41647</c:v>
                </c:pt>
                <c:pt idx="2603">
                  <c:v>41648</c:v>
                </c:pt>
                <c:pt idx="2604">
                  <c:v>41649</c:v>
                </c:pt>
                <c:pt idx="2605">
                  <c:v>41652</c:v>
                </c:pt>
                <c:pt idx="2606">
                  <c:v>41653</c:v>
                </c:pt>
                <c:pt idx="2607">
                  <c:v>41654</c:v>
                </c:pt>
                <c:pt idx="2608">
                  <c:v>41655</c:v>
                </c:pt>
                <c:pt idx="2609">
                  <c:v>41656</c:v>
                </c:pt>
                <c:pt idx="2610">
                  <c:v>41659</c:v>
                </c:pt>
                <c:pt idx="2611">
                  <c:v>41660</c:v>
                </c:pt>
                <c:pt idx="2612">
                  <c:v>41661</c:v>
                </c:pt>
                <c:pt idx="2613">
                  <c:v>41662</c:v>
                </c:pt>
                <c:pt idx="2614">
                  <c:v>41663</c:v>
                </c:pt>
                <c:pt idx="2615">
                  <c:v>41666</c:v>
                </c:pt>
                <c:pt idx="2616">
                  <c:v>41667</c:v>
                </c:pt>
                <c:pt idx="2617">
                  <c:v>41668</c:v>
                </c:pt>
                <c:pt idx="2618">
                  <c:v>41669</c:v>
                </c:pt>
                <c:pt idx="2619">
                  <c:v>41670</c:v>
                </c:pt>
                <c:pt idx="2620">
                  <c:v>41673</c:v>
                </c:pt>
                <c:pt idx="2621">
                  <c:v>41674</c:v>
                </c:pt>
                <c:pt idx="2622">
                  <c:v>41675</c:v>
                </c:pt>
                <c:pt idx="2623">
                  <c:v>41676</c:v>
                </c:pt>
                <c:pt idx="2624">
                  <c:v>41677</c:v>
                </c:pt>
                <c:pt idx="2625">
                  <c:v>41680</c:v>
                </c:pt>
                <c:pt idx="2626">
                  <c:v>41681</c:v>
                </c:pt>
                <c:pt idx="2627">
                  <c:v>41682</c:v>
                </c:pt>
                <c:pt idx="2628">
                  <c:v>41683</c:v>
                </c:pt>
                <c:pt idx="2629">
                  <c:v>41684</c:v>
                </c:pt>
                <c:pt idx="2630">
                  <c:v>41687</c:v>
                </c:pt>
                <c:pt idx="2631">
                  <c:v>41688</c:v>
                </c:pt>
                <c:pt idx="2632">
                  <c:v>41689</c:v>
                </c:pt>
                <c:pt idx="2633">
                  <c:v>41690</c:v>
                </c:pt>
                <c:pt idx="2634">
                  <c:v>41691</c:v>
                </c:pt>
                <c:pt idx="2635">
                  <c:v>41694</c:v>
                </c:pt>
                <c:pt idx="2636">
                  <c:v>41695</c:v>
                </c:pt>
                <c:pt idx="2637">
                  <c:v>41696</c:v>
                </c:pt>
                <c:pt idx="2638">
                  <c:v>41697</c:v>
                </c:pt>
                <c:pt idx="2639">
                  <c:v>41698</c:v>
                </c:pt>
                <c:pt idx="2640">
                  <c:v>41701</c:v>
                </c:pt>
                <c:pt idx="2641">
                  <c:v>41702</c:v>
                </c:pt>
                <c:pt idx="2642">
                  <c:v>41703</c:v>
                </c:pt>
                <c:pt idx="2643">
                  <c:v>41704</c:v>
                </c:pt>
                <c:pt idx="2644">
                  <c:v>41705</c:v>
                </c:pt>
                <c:pt idx="2645">
                  <c:v>41708</c:v>
                </c:pt>
                <c:pt idx="2646">
                  <c:v>41709</c:v>
                </c:pt>
                <c:pt idx="2647">
                  <c:v>41710</c:v>
                </c:pt>
                <c:pt idx="2648">
                  <c:v>41711</c:v>
                </c:pt>
                <c:pt idx="2649">
                  <c:v>41712</c:v>
                </c:pt>
                <c:pt idx="2650">
                  <c:v>41715</c:v>
                </c:pt>
                <c:pt idx="2651">
                  <c:v>41716</c:v>
                </c:pt>
                <c:pt idx="2652">
                  <c:v>41717</c:v>
                </c:pt>
                <c:pt idx="2653">
                  <c:v>41718</c:v>
                </c:pt>
                <c:pt idx="2654">
                  <c:v>41719</c:v>
                </c:pt>
                <c:pt idx="2655">
                  <c:v>41722</c:v>
                </c:pt>
                <c:pt idx="2656">
                  <c:v>41723</c:v>
                </c:pt>
                <c:pt idx="2657">
                  <c:v>41724</c:v>
                </c:pt>
                <c:pt idx="2658">
                  <c:v>41725</c:v>
                </c:pt>
                <c:pt idx="2659">
                  <c:v>41726</c:v>
                </c:pt>
                <c:pt idx="2660">
                  <c:v>41729</c:v>
                </c:pt>
                <c:pt idx="2661">
                  <c:v>41730</c:v>
                </c:pt>
                <c:pt idx="2662">
                  <c:v>41731</c:v>
                </c:pt>
                <c:pt idx="2663">
                  <c:v>41732</c:v>
                </c:pt>
                <c:pt idx="2664">
                  <c:v>41733</c:v>
                </c:pt>
                <c:pt idx="2665">
                  <c:v>41736</c:v>
                </c:pt>
                <c:pt idx="2666">
                  <c:v>41737</c:v>
                </c:pt>
                <c:pt idx="2667">
                  <c:v>41738</c:v>
                </c:pt>
                <c:pt idx="2668">
                  <c:v>41739</c:v>
                </c:pt>
                <c:pt idx="2669">
                  <c:v>41740</c:v>
                </c:pt>
                <c:pt idx="2670">
                  <c:v>41743</c:v>
                </c:pt>
                <c:pt idx="2671">
                  <c:v>41744</c:v>
                </c:pt>
                <c:pt idx="2672">
                  <c:v>41745</c:v>
                </c:pt>
                <c:pt idx="2673">
                  <c:v>41746</c:v>
                </c:pt>
                <c:pt idx="2674">
                  <c:v>41747</c:v>
                </c:pt>
                <c:pt idx="2675">
                  <c:v>41750</c:v>
                </c:pt>
                <c:pt idx="2676">
                  <c:v>41751</c:v>
                </c:pt>
                <c:pt idx="2677">
                  <c:v>41752</c:v>
                </c:pt>
                <c:pt idx="2678">
                  <c:v>41753</c:v>
                </c:pt>
                <c:pt idx="2679">
                  <c:v>41754</c:v>
                </c:pt>
                <c:pt idx="2680">
                  <c:v>41757</c:v>
                </c:pt>
                <c:pt idx="2681">
                  <c:v>41758</c:v>
                </c:pt>
                <c:pt idx="2682">
                  <c:v>41759</c:v>
                </c:pt>
                <c:pt idx="2683">
                  <c:v>41760</c:v>
                </c:pt>
                <c:pt idx="2684">
                  <c:v>41761</c:v>
                </c:pt>
                <c:pt idx="2685">
                  <c:v>41764</c:v>
                </c:pt>
                <c:pt idx="2686">
                  <c:v>41765</c:v>
                </c:pt>
                <c:pt idx="2687">
                  <c:v>41766</c:v>
                </c:pt>
                <c:pt idx="2688">
                  <c:v>41767</c:v>
                </c:pt>
                <c:pt idx="2689">
                  <c:v>41768</c:v>
                </c:pt>
                <c:pt idx="2690">
                  <c:v>41771</c:v>
                </c:pt>
                <c:pt idx="2691">
                  <c:v>41772</c:v>
                </c:pt>
                <c:pt idx="2692">
                  <c:v>41773</c:v>
                </c:pt>
                <c:pt idx="2693">
                  <c:v>41774</c:v>
                </c:pt>
                <c:pt idx="2694">
                  <c:v>41775</c:v>
                </c:pt>
                <c:pt idx="2695">
                  <c:v>41778</c:v>
                </c:pt>
                <c:pt idx="2696">
                  <c:v>41779</c:v>
                </c:pt>
                <c:pt idx="2697">
                  <c:v>41780</c:v>
                </c:pt>
                <c:pt idx="2698">
                  <c:v>41781</c:v>
                </c:pt>
                <c:pt idx="2699">
                  <c:v>41782</c:v>
                </c:pt>
                <c:pt idx="2700">
                  <c:v>41785</c:v>
                </c:pt>
                <c:pt idx="2701">
                  <c:v>41786</c:v>
                </c:pt>
                <c:pt idx="2702">
                  <c:v>41787</c:v>
                </c:pt>
                <c:pt idx="2703">
                  <c:v>41788</c:v>
                </c:pt>
                <c:pt idx="2704">
                  <c:v>41789</c:v>
                </c:pt>
                <c:pt idx="2705">
                  <c:v>41792</c:v>
                </c:pt>
                <c:pt idx="2706">
                  <c:v>41793</c:v>
                </c:pt>
                <c:pt idx="2707">
                  <c:v>41794</c:v>
                </c:pt>
                <c:pt idx="2708">
                  <c:v>41795</c:v>
                </c:pt>
                <c:pt idx="2709">
                  <c:v>41796</c:v>
                </c:pt>
                <c:pt idx="2710">
                  <c:v>41799</c:v>
                </c:pt>
                <c:pt idx="2711">
                  <c:v>41800</c:v>
                </c:pt>
                <c:pt idx="2712">
                  <c:v>41801</c:v>
                </c:pt>
                <c:pt idx="2713">
                  <c:v>41802</c:v>
                </c:pt>
                <c:pt idx="2714">
                  <c:v>41803</c:v>
                </c:pt>
                <c:pt idx="2715">
                  <c:v>41806</c:v>
                </c:pt>
                <c:pt idx="2716">
                  <c:v>41807</c:v>
                </c:pt>
                <c:pt idx="2717">
                  <c:v>41808</c:v>
                </c:pt>
                <c:pt idx="2718">
                  <c:v>41809</c:v>
                </c:pt>
                <c:pt idx="2719">
                  <c:v>41810</c:v>
                </c:pt>
                <c:pt idx="2720">
                  <c:v>41813</c:v>
                </c:pt>
                <c:pt idx="2721">
                  <c:v>41814</c:v>
                </c:pt>
                <c:pt idx="2722">
                  <c:v>41815</c:v>
                </c:pt>
                <c:pt idx="2723">
                  <c:v>41816</c:v>
                </c:pt>
                <c:pt idx="2724">
                  <c:v>41817</c:v>
                </c:pt>
                <c:pt idx="2725">
                  <c:v>41820</c:v>
                </c:pt>
                <c:pt idx="2726">
                  <c:v>41821</c:v>
                </c:pt>
                <c:pt idx="2727">
                  <c:v>41822</c:v>
                </c:pt>
                <c:pt idx="2728">
                  <c:v>41823</c:v>
                </c:pt>
                <c:pt idx="2729">
                  <c:v>41824</c:v>
                </c:pt>
                <c:pt idx="2730">
                  <c:v>41827</c:v>
                </c:pt>
                <c:pt idx="2731">
                  <c:v>41828</c:v>
                </c:pt>
                <c:pt idx="2732">
                  <c:v>41829</c:v>
                </c:pt>
                <c:pt idx="2733">
                  <c:v>41830</c:v>
                </c:pt>
                <c:pt idx="2734">
                  <c:v>41831</c:v>
                </c:pt>
                <c:pt idx="2735">
                  <c:v>41834</c:v>
                </c:pt>
                <c:pt idx="2736">
                  <c:v>41835</c:v>
                </c:pt>
                <c:pt idx="2737">
                  <c:v>41836</c:v>
                </c:pt>
                <c:pt idx="2738">
                  <c:v>41837</c:v>
                </c:pt>
                <c:pt idx="2739">
                  <c:v>41838</c:v>
                </c:pt>
                <c:pt idx="2740">
                  <c:v>41841</c:v>
                </c:pt>
                <c:pt idx="2741">
                  <c:v>41842</c:v>
                </c:pt>
                <c:pt idx="2742">
                  <c:v>41843</c:v>
                </c:pt>
                <c:pt idx="2743">
                  <c:v>41844</c:v>
                </c:pt>
                <c:pt idx="2744">
                  <c:v>41845</c:v>
                </c:pt>
                <c:pt idx="2745">
                  <c:v>41848</c:v>
                </c:pt>
                <c:pt idx="2746">
                  <c:v>41849</c:v>
                </c:pt>
                <c:pt idx="2747">
                  <c:v>41850</c:v>
                </c:pt>
                <c:pt idx="2748">
                  <c:v>41851</c:v>
                </c:pt>
                <c:pt idx="2749">
                  <c:v>41852</c:v>
                </c:pt>
                <c:pt idx="2750">
                  <c:v>41855</c:v>
                </c:pt>
                <c:pt idx="2751">
                  <c:v>41856</c:v>
                </c:pt>
                <c:pt idx="2752">
                  <c:v>41857</c:v>
                </c:pt>
                <c:pt idx="2753">
                  <c:v>41858</c:v>
                </c:pt>
                <c:pt idx="2754">
                  <c:v>41859</c:v>
                </c:pt>
                <c:pt idx="2755">
                  <c:v>41862</c:v>
                </c:pt>
                <c:pt idx="2756">
                  <c:v>41863</c:v>
                </c:pt>
                <c:pt idx="2757">
                  <c:v>41864</c:v>
                </c:pt>
                <c:pt idx="2758">
                  <c:v>41865</c:v>
                </c:pt>
                <c:pt idx="2759">
                  <c:v>41866</c:v>
                </c:pt>
                <c:pt idx="2760">
                  <c:v>41869</c:v>
                </c:pt>
                <c:pt idx="2761">
                  <c:v>41870</c:v>
                </c:pt>
                <c:pt idx="2762">
                  <c:v>41871</c:v>
                </c:pt>
                <c:pt idx="2763">
                  <c:v>41872</c:v>
                </c:pt>
                <c:pt idx="2764">
                  <c:v>41873</c:v>
                </c:pt>
                <c:pt idx="2765">
                  <c:v>41876</c:v>
                </c:pt>
                <c:pt idx="2766">
                  <c:v>41877</c:v>
                </c:pt>
                <c:pt idx="2767">
                  <c:v>41878</c:v>
                </c:pt>
                <c:pt idx="2768">
                  <c:v>41879</c:v>
                </c:pt>
                <c:pt idx="2769">
                  <c:v>41880</c:v>
                </c:pt>
                <c:pt idx="2770">
                  <c:v>41883</c:v>
                </c:pt>
                <c:pt idx="2771">
                  <c:v>41884</c:v>
                </c:pt>
                <c:pt idx="2772">
                  <c:v>41885</c:v>
                </c:pt>
                <c:pt idx="2773">
                  <c:v>41886</c:v>
                </c:pt>
                <c:pt idx="2774">
                  <c:v>41887</c:v>
                </c:pt>
                <c:pt idx="2775">
                  <c:v>41890</c:v>
                </c:pt>
                <c:pt idx="2776">
                  <c:v>41891</c:v>
                </c:pt>
                <c:pt idx="2777">
                  <c:v>41892</c:v>
                </c:pt>
                <c:pt idx="2778">
                  <c:v>41893</c:v>
                </c:pt>
                <c:pt idx="2779">
                  <c:v>41894</c:v>
                </c:pt>
                <c:pt idx="2780">
                  <c:v>41897</c:v>
                </c:pt>
                <c:pt idx="2781">
                  <c:v>41898</c:v>
                </c:pt>
                <c:pt idx="2782">
                  <c:v>41899</c:v>
                </c:pt>
                <c:pt idx="2783">
                  <c:v>41900</c:v>
                </c:pt>
                <c:pt idx="2784">
                  <c:v>41901</c:v>
                </c:pt>
                <c:pt idx="2785">
                  <c:v>41904</c:v>
                </c:pt>
                <c:pt idx="2786">
                  <c:v>41905</c:v>
                </c:pt>
                <c:pt idx="2787">
                  <c:v>41906</c:v>
                </c:pt>
                <c:pt idx="2788">
                  <c:v>41907</c:v>
                </c:pt>
                <c:pt idx="2789">
                  <c:v>41908</c:v>
                </c:pt>
                <c:pt idx="2790">
                  <c:v>41911</c:v>
                </c:pt>
                <c:pt idx="2791">
                  <c:v>41912</c:v>
                </c:pt>
                <c:pt idx="2792">
                  <c:v>41913</c:v>
                </c:pt>
                <c:pt idx="2793">
                  <c:v>41914</c:v>
                </c:pt>
                <c:pt idx="2794">
                  <c:v>41915</c:v>
                </c:pt>
                <c:pt idx="2795">
                  <c:v>41918</c:v>
                </c:pt>
                <c:pt idx="2796">
                  <c:v>41919</c:v>
                </c:pt>
                <c:pt idx="2797">
                  <c:v>41920</c:v>
                </c:pt>
                <c:pt idx="2798">
                  <c:v>41921</c:v>
                </c:pt>
                <c:pt idx="2799">
                  <c:v>41922</c:v>
                </c:pt>
                <c:pt idx="2800">
                  <c:v>41925</c:v>
                </c:pt>
                <c:pt idx="2801">
                  <c:v>41926</c:v>
                </c:pt>
                <c:pt idx="2802">
                  <c:v>41927</c:v>
                </c:pt>
                <c:pt idx="2803">
                  <c:v>41928</c:v>
                </c:pt>
                <c:pt idx="2804">
                  <c:v>41929</c:v>
                </c:pt>
                <c:pt idx="2805">
                  <c:v>41932</c:v>
                </c:pt>
                <c:pt idx="2806">
                  <c:v>41933</c:v>
                </c:pt>
                <c:pt idx="2807">
                  <c:v>41934</c:v>
                </c:pt>
                <c:pt idx="2808">
                  <c:v>41935</c:v>
                </c:pt>
                <c:pt idx="2809">
                  <c:v>41936</c:v>
                </c:pt>
                <c:pt idx="2810">
                  <c:v>41939</c:v>
                </c:pt>
                <c:pt idx="2811">
                  <c:v>41940</c:v>
                </c:pt>
                <c:pt idx="2812">
                  <c:v>41941</c:v>
                </c:pt>
                <c:pt idx="2813">
                  <c:v>41942</c:v>
                </c:pt>
                <c:pt idx="2814">
                  <c:v>41943</c:v>
                </c:pt>
                <c:pt idx="2815">
                  <c:v>41946</c:v>
                </c:pt>
                <c:pt idx="2816">
                  <c:v>41947</c:v>
                </c:pt>
                <c:pt idx="2817">
                  <c:v>41948</c:v>
                </c:pt>
                <c:pt idx="2818">
                  <c:v>41949</c:v>
                </c:pt>
                <c:pt idx="2819">
                  <c:v>41950</c:v>
                </c:pt>
                <c:pt idx="2820">
                  <c:v>41953</c:v>
                </c:pt>
                <c:pt idx="2821">
                  <c:v>41954</c:v>
                </c:pt>
                <c:pt idx="2822">
                  <c:v>41955</c:v>
                </c:pt>
                <c:pt idx="2823">
                  <c:v>41956</c:v>
                </c:pt>
                <c:pt idx="2824">
                  <c:v>41957</c:v>
                </c:pt>
                <c:pt idx="2825">
                  <c:v>41960</c:v>
                </c:pt>
                <c:pt idx="2826">
                  <c:v>41961</c:v>
                </c:pt>
                <c:pt idx="2827">
                  <c:v>41962</c:v>
                </c:pt>
                <c:pt idx="2828">
                  <c:v>41963</c:v>
                </c:pt>
                <c:pt idx="2829">
                  <c:v>41964</c:v>
                </c:pt>
                <c:pt idx="2830">
                  <c:v>41967</c:v>
                </c:pt>
                <c:pt idx="2831">
                  <c:v>41968</c:v>
                </c:pt>
                <c:pt idx="2832">
                  <c:v>41969</c:v>
                </c:pt>
                <c:pt idx="2833">
                  <c:v>41970</c:v>
                </c:pt>
                <c:pt idx="2834">
                  <c:v>41971</c:v>
                </c:pt>
                <c:pt idx="2835">
                  <c:v>41974</c:v>
                </c:pt>
                <c:pt idx="2836">
                  <c:v>41975</c:v>
                </c:pt>
                <c:pt idx="2837">
                  <c:v>41976</c:v>
                </c:pt>
                <c:pt idx="2838">
                  <c:v>41977</c:v>
                </c:pt>
                <c:pt idx="2839">
                  <c:v>41978</c:v>
                </c:pt>
                <c:pt idx="2840">
                  <c:v>41981</c:v>
                </c:pt>
                <c:pt idx="2841">
                  <c:v>41982</c:v>
                </c:pt>
                <c:pt idx="2842">
                  <c:v>41983</c:v>
                </c:pt>
                <c:pt idx="2843">
                  <c:v>41984</c:v>
                </c:pt>
                <c:pt idx="2844">
                  <c:v>41985</c:v>
                </c:pt>
                <c:pt idx="2845">
                  <c:v>41988</c:v>
                </c:pt>
                <c:pt idx="2846">
                  <c:v>41989</c:v>
                </c:pt>
                <c:pt idx="2847">
                  <c:v>41990</c:v>
                </c:pt>
                <c:pt idx="2848">
                  <c:v>41991</c:v>
                </c:pt>
                <c:pt idx="2849">
                  <c:v>41992</c:v>
                </c:pt>
                <c:pt idx="2850">
                  <c:v>41995</c:v>
                </c:pt>
                <c:pt idx="2851">
                  <c:v>41996</c:v>
                </c:pt>
                <c:pt idx="2852">
                  <c:v>41997</c:v>
                </c:pt>
                <c:pt idx="2853">
                  <c:v>41998</c:v>
                </c:pt>
                <c:pt idx="2854">
                  <c:v>41999</c:v>
                </c:pt>
                <c:pt idx="2855">
                  <c:v>42002</c:v>
                </c:pt>
                <c:pt idx="2856">
                  <c:v>42003</c:v>
                </c:pt>
                <c:pt idx="2857">
                  <c:v>42004</c:v>
                </c:pt>
                <c:pt idx="2858">
                  <c:v>42005</c:v>
                </c:pt>
                <c:pt idx="2859">
                  <c:v>42006</c:v>
                </c:pt>
                <c:pt idx="2860">
                  <c:v>42009</c:v>
                </c:pt>
                <c:pt idx="2861">
                  <c:v>42010</c:v>
                </c:pt>
                <c:pt idx="2862">
                  <c:v>42011</c:v>
                </c:pt>
                <c:pt idx="2863">
                  <c:v>42012</c:v>
                </c:pt>
                <c:pt idx="2864">
                  <c:v>42013</c:v>
                </c:pt>
                <c:pt idx="2865">
                  <c:v>42016</c:v>
                </c:pt>
                <c:pt idx="2866">
                  <c:v>42017</c:v>
                </c:pt>
                <c:pt idx="2867">
                  <c:v>42018</c:v>
                </c:pt>
                <c:pt idx="2868">
                  <c:v>42019</c:v>
                </c:pt>
                <c:pt idx="2869">
                  <c:v>42020</c:v>
                </c:pt>
                <c:pt idx="2870">
                  <c:v>42023</c:v>
                </c:pt>
                <c:pt idx="2871">
                  <c:v>42024</c:v>
                </c:pt>
                <c:pt idx="2872">
                  <c:v>42025</c:v>
                </c:pt>
                <c:pt idx="2873">
                  <c:v>42026</c:v>
                </c:pt>
                <c:pt idx="2874">
                  <c:v>42027</c:v>
                </c:pt>
                <c:pt idx="2875">
                  <c:v>42030</c:v>
                </c:pt>
                <c:pt idx="2876">
                  <c:v>42031</c:v>
                </c:pt>
                <c:pt idx="2877">
                  <c:v>42032</c:v>
                </c:pt>
                <c:pt idx="2878">
                  <c:v>42033</c:v>
                </c:pt>
                <c:pt idx="2879">
                  <c:v>42034</c:v>
                </c:pt>
                <c:pt idx="2880">
                  <c:v>42037</c:v>
                </c:pt>
                <c:pt idx="2881">
                  <c:v>42038</c:v>
                </c:pt>
                <c:pt idx="2882">
                  <c:v>42039</c:v>
                </c:pt>
                <c:pt idx="2883">
                  <c:v>42040</c:v>
                </c:pt>
                <c:pt idx="2884">
                  <c:v>42041</c:v>
                </c:pt>
                <c:pt idx="2885">
                  <c:v>42044</c:v>
                </c:pt>
                <c:pt idx="2886">
                  <c:v>42045</c:v>
                </c:pt>
                <c:pt idx="2887">
                  <c:v>42046</c:v>
                </c:pt>
                <c:pt idx="2888">
                  <c:v>42047</c:v>
                </c:pt>
                <c:pt idx="2889">
                  <c:v>42048</c:v>
                </c:pt>
                <c:pt idx="2890">
                  <c:v>42051</c:v>
                </c:pt>
                <c:pt idx="2891">
                  <c:v>42052</c:v>
                </c:pt>
                <c:pt idx="2892">
                  <c:v>42053</c:v>
                </c:pt>
                <c:pt idx="2893">
                  <c:v>42054</c:v>
                </c:pt>
                <c:pt idx="2894">
                  <c:v>42055</c:v>
                </c:pt>
                <c:pt idx="2895">
                  <c:v>42058</c:v>
                </c:pt>
                <c:pt idx="2896">
                  <c:v>42059</c:v>
                </c:pt>
                <c:pt idx="2897">
                  <c:v>42060</c:v>
                </c:pt>
                <c:pt idx="2898">
                  <c:v>42061</c:v>
                </c:pt>
                <c:pt idx="2899">
                  <c:v>42062</c:v>
                </c:pt>
                <c:pt idx="2900">
                  <c:v>42065</c:v>
                </c:pt>
                <c:pt idx="2901">
                  <c:v>42066</c:v>
                </c:pt>
                <c:pt idx="2902">
                  <c:v>42067</c:v>
                </c:pt>
                <c:pt idx="2903">
                  <c:v>42068</c:v>
                </c:pt>
                <c:pt idx="2904">
                  <c:v>42069</c:v>
                </c:pt>
                <c:pt idx="2905">
                  <c:v>42072</c:v>
                </c:pt>
                <c:pt idx="2906">
                  <c:v>42073</c:v>
                </c:pt>
                <c:pt idx="2907">
                  <c:v>42074</c:v>
                </c:pt>
                <c:pt idx="2908">
                  <c:v>42075</c:v>
                </c:pt>
                <c:pt idx="2909">
                  <c:v>42076</c:v>
                </c:pt>
                <c:pt idx="2910">
                  <c:v>42079</c:v>
                </c:pt>
                <c:pt idx="2911">
                  <c:v>42080</c:v>
                </c:pt>
                <c:pt idx="2912">
                  <c:v>42081</c:v>
                </c:pt>
                <c:pt idx="2913">
                  <c:v>42082</c:v>
                </c:pt>
                <c:pt idx="2914">
                  <c:v>42083</c:v>
                </c:pt>
                <c:pt idx="2915">
                  <c:v>42086</c:v>
                </c:pt>
                <c:pt idx="2916">
                  <c:v>42087</c:v>
                </c:pt>
                <c:pt idx="2917">
                  <c:v>42088</c:v>
                </c:pt>
                <c:pt idx="2918">
                  <c:v>42089</c:v>
                </c:pt>
                <c:pt idx="2919">
                  <c:v>42090</c:v>
                </c:pt>
                <c:pt idx="2920">
                  <c:v>42093</c:v>
                </c:pt>
                <c:pt idx="2921">
                  <c:v>42094</c:v>
                </c:pt>
                <c:pt idx="2922">
                  <c:v>42095</c:v>
                </c:pt>
                <c:pt idx="2923">
                  <c:v>42096</c:v>
                </c:pt>
                <c:pt idx="2924">
                  <c:v>42097</c:v>
                </c:pt>
                <c:pt idx="2925">
                  <c:v>42100</c:v>
                </c:pt>
                <c:pt idx="2926">
                  <c:v>42101</c:v>
                </c:pt>
                <c:pt idx="2927">
                  <c:v>42102</c:v>
                </c:pt>
                <c:pt idx="2928">
                  <c:v>42103</c:v>
                </c:pt>
                <c:pt idx="2929">
                  <c:v>42104</c:v>
                </c:pt>
                <c:pt idx="2930">
                  <c:v>42107</c:v>
                </c:pt>
                <c:pt idx="2931">
                  <c:v>42108</c:v>
                </c:pt>
                <c:pt idx="2932">
                  <c:v>42109</c:v>
                </c:pt>
                <c:pt idx="2933">
                  <c:v>42110</c:v>
                </c:pt>
                <c:pt idx="2934">
                  <c:v>42111</c:v>
                </c:pt>
                <c:pt idx="2935">
                  <c:v>42114</c:v>
                </c:pt>
                <c:pt idx="2936">
                  <c:v>42115</c:v>
                </c:pt>
                <c:pt idx="2937">
                  <c:v>42116</c:v>
                </c:pt>
                <c:pt idx="2938">
                  <c:v>42117</c:v>
                </c:pt>
                <c:pt idx="2939">
                  <c:v>42118</c:v>
                </c:pt>
                <c:pt idx="2940">
                  <c:v>42121</c:v>
                </c:pt>
                <c:pt idx="2941">
                  <c:v>42122</c:v>
                </c:pt>
                <c:pt idx="2942">
                  <c:v>42123</c:v>
                </c:pt>
                <c:pt idx="2943">
                  <c:v>42124</c:v>
                </c:pt>
                <c:pt idx="2944">
                  <c:v>42125</c:v>
                </c:pt>
                <c:pt idx="2945">
                  <c:v>42128</c:v>
                </c:pt>
                <c:pt idx="2946">
                  <c:v>42129</c:v>
                </c:pt>
                <c:pt idx="2947">
                  <c:v>42130</c:v>
                </c:pt>
                <c:pt idx="2948">
                  <c:v>42131</c:v>
                </c:pt>
                <c:pt idx="2949">
                  <c:v>42132</c:v>
                </c:pt>
                <c:pt idx="2950">
                  <c:v>42135</c:v>
                </c:pt>
                <c:pt idx="2951">
                  <c:v>42136</c:v>
                </c:pt>
                <c:pt idx="2952">
                  <c:v>42137</c:v>
                </c:pt>
                <c:pt idx="2953">
                  <c:v>42138</c:v>
                </c:pt>
                <c:pt idx="2954">
                  <c:v>42139</c:v>
                </c:pt>
                <c:pt idx="2955">
                  <c:v>42142</c:v>
                </c:pt>
                <c:pt idx="2956">
                  <c:v>42143</c:v>
                </c:pt>
                <c:pt idx="2957">
                  <c:v>42144</c:v>
                </c:pt>
                <c:pt idx="2958">
                  <c:v>42145</c:v>
                </c:pt>
                <c:pt idx="2959">
                  <c:v>42146</c:v>
                </c:pt>
                <c:pt idx="2960">
                  <c:v>42149</c:v>
                </c:pt>
                <c:pt idx="2961">
                  <c:v>42150</c:v>
                </c:pt>
                <c:pt idx="2962">
                  <c:v>42151</c:v>
                </c:pt>
                <c:pt idx="2963">
                  <c:v>42152</c:v>
                </c:pt>
                <c:pt idx="2964">
                  <c:v>42153</c:v>
                </c:pt>
                <c:pt idx="2965">
                  <c:v>42156</c:v>
                </c:pt>
                <c:pt idx="2966">
                  <c:v>42157</c:v>
                </c:pt>
                <c:pt idx="2967">
                  <c:v>42158</c:v>
                </c:pt>
                <c:pt idx="2968">
                  <c:v>42159</c:v>
                </c:pt>
                <c:pt idx="2969">
                  <c:v>42160</c:v>
                </c:pt>
                <c:pt idx="2970">
                  <c:v>42163</c:v>
                </c:pt>
                <c:pt idx="2971">
                  <c:v>42164</c:v>
                </c:pt>
                <c:pt idx="2972">
                  <c:v>42165</c:v>
                </c:pt>
                <c:pt idx="2973">
                  <c:v>42166</c:v>
                </c:pt>
                <c:pt idx="2974">
                  <c:v>42167</c:v>
                </c:pt>
                <c:pt idx="2975">
                  <c:v>42170</c:v>
                </c:pt>
                <c:pt idx="2976">
                  <c:v>42171</c:v>
                </c:pt>
                <c:pt idx="2977">
                  <c:v>42172</c:v>
                </c:pt>
                <c:pt idx="2978">
                  <c:v>42173</c:v>
                </c:pt>
                <c:pt idx="2979">
                  <c:v>42174</c:v>
                </c:pt>
                <c:pt idx="2980">
                  <c:v>42177</c:v>
                </c:pt>
                <c:pt idx="2981">
                  <c:v>42178</c:v>
                </c:pt>
                <c:pt idx="2982">
                  <c:v>42179</c:v>
                </c:pt>
                <c:pt idx="2983">
                  <c:v>42180</c:v>
                </c:pt>
                <c:pt idx="2984">
                  <c:v>42181</c:v>
                </c:pt>
                <c:pt idx="2985">
                  <c:v>42184</c:v>
                </c:pt>
                <c:pt idx="2986">
                  <c:v>42185</c:v>
                </c:pt>
                <c:pt idx="2987">
                  <c:v>42186</c:v>
                </c:pt>
                <c:pt idx="2988">
                  <c:v>42187</c:v>
                </c:pt>
                <c:pt idx="2989">
                  <c:v>42188</c:v>
                </c:pt>
                <c:pt idx="2990">
                  <c:v>42191</c:v>
                </c:pt>
                <c:pt idx="2991">
                  <c:v>42192</c:v>
                </c:pt>
                <c:pt idx="2992">
                  <c:v>42193</c:v>
                </c:pt>
                <c:pt idx="2993">
                  <c:v>42194</c:v>
                </c:pt>
                <c:pt idx="2994">
                  <c:v>42195</c:v>
                </c:pt>
                <c:pt idx="2995">
                  <c:v>42198</c:v>
                </c:pt>
                <c:pt idx="2996">
                  <c:v>42199</c:v>
                </c:pt>
                <c:pt idx="2997">
                  <c:v>42200</c:v>
                </c:pt>
                <c:pt idx="2998">
                  <c:v>42201</c:v>
                </c:pt>
                <c:pt idx="2999">
                  <c:v>42202</c:v>
                </c:pt>
                <c:pt idx="3000">
                  <c:v>42205</c:v>
                </c:pt>
                <c:pt idx="3001">
                  <c:v>42206</c:v>
                </c:pt>
                <c:pt idx="3002">
                  <c:v>42207</c:v>
                </c:pt>
                <c:pt idx="3003">
                  <c:v>42208</c:v>
                </c:pt>
                <c:pt idx="3004">
                  <c:v>42209</c:v>
                </c:pt>
                <c:pt idx="3005">
                  <c:v>42212</c:v>
                </c:pt>
                <c:pt idx="3006">
                  <c:v>42213</c:v>
                </c:pt>
                <c:pt idx="3007">
                  <c:v>42214</c:v>
                </c:pt>
                <c:pt idx="3008">
                  <c:v>42215</c:v>
                </c:pt>
                <c:pt idx="3009">
                  <c:v>42216</c:v>
                </c:pt>
                <c:pt idx="3010">
                  <c:v>42219</c:v>
                </c:pt>
                <c:pt idx="3011">
                  <c:v>42220</c:v>
                </c:pt>
                <c:pt idx="3012">
                  <c:v>42221</c:v>
                </c:pt>
                <c:pt idx="3013">
                  <c:v>42222</c:v>
                </c:pt>
                <c:pt idx="3014">
                  <c:v>42223</c:v>
                </c:pt>
                <c:pt idx="3015">
                  <c:v>42226</c:v>
                </c:pt>
                <c:pt idx="3016">
                  <c:v>42227</c:v>
                </c:pt>
                <c:pt idx="3017">
                  <c:v>42228</c:v>
                </c:pt>
                <c:pt idx="3018">
                  <c:v>42229</c:v>
                </c:pt>
                <c:pt idx="3019">
                  <c:v>42230</c:v>
                </c:pt>
                <c:pt idx="3020">
                  <c:v>42233</c:v>
                </c:pt>
                <c:pt idx="3021">
                  <c:v>42234</c:v>
                </c:pt>
                <c:pt idx="3022">
                  <c:v>42235</c:v>
                </c:pt>
                <c:pt idx="3023">
                  <c:v>42236</c:v>
                </c:pt>
                <c:pt idx="3024">
                  <c:v>42237</c:v>
                </c:pt>
                <c:pt idx="3025">
                  <c:v>42240</c:v>
                </c:pt>
                <c:pt idx="3026">
                  <c:v>42241</c:v>
                </c:pt>
                <c:pt idx="3027">
                  <c:v>42242</c:v>
                </c:pt>
                <c:pt idx="3028">
                  <c:v>42243</c:v>
                </c:pt>
                <c:pt idx="3029">
                  <c:v>42244</c:v>
                </c:pt>
                <c:pt idx="3030">
                  <c:v>42247</c:v>
                </c:pt>
                <c:pt idx="3031">
                  <c:v>42248</c:v>
                </c:pt>
                <c:pt idx="3032">
                  <c:v>42249</c:v>
                </c:pt>
                <c:pt idx="3033">
                  <c:v>42250</c:v>
                </c:pt>
                <c:pt idx="3034">
                  <c:v>42251</c:v>
                </c:pt>
                <c:pt idx="3035">
                  <c:v>42254</c:v>
                </c:pt>
                <c:pt idx="3036">
                  <c:v>42255</c:v>
                </c:pt>
                <c:pt idx="3037">
                  <c:v>42256</c:v>
                </c:pt>
                <c:pt idx="3038">
                  <c:v>42257</c:v>
                </c:pt>
                <c:pt idx="3039">
                  <c:v>42258</c:v>
                </c:pt>
                <c:pt idx="3040">
                  <c:v>42261</c:v>
                </c:pt>
                <c:pt idx="3041">
                  <c:v>42262</c:v>
                </c:pt>
                <c:pt idx="3042">
                  <c:v>42263</c:v>
                </c:pt>
                <c:pt idx="3043">
                  <c:v>42264</c:v>
                </c:pt>
                <c:pt idx="3044">
                  <c:v>42265</c:v>
                </c:pt>
                <c:pt idx="3045">
                  <c:v>42268</c:v>
                </c:pt>
                <c:pt idx="3046">
                  <c:v>42269</c:v>
                </c:pt>
                <c:pt idx="3047">
                  <c:v>42270</c:v>
                </c:pt>
                <c:pt idx="3048">
                  <c:v>42271</c:v>
                </c:pt>
                <c:pt idx="3049">
                  <c:v>42272</c:v>
                </c:pt>
                <c:pt idx="3050">
                  <c:v>42275</c:v>
                </c:pt>
                <c:pt idx="3051">
                  <c:v>42276</c:v>
                </c:pt>
                <c:pt idx="3052">
                  <c:v>42277</c:v>
                </c:pt>
                <c:pt idx="3053">
                  <c:v>42278</c:v>
                </c:pt>
                <c:pt idx="3054">
                  <c:v>42279</c:v>
                </c:pt>
                <c:pt idx="3055">
                  <c:v>42282</c:v>
                </c:pt>
                <c:pt idx="3056">
                  <c:v>42283</c:v>
                </c:pt>
                <c:pt idx="3057">
                  <c:v>42284</c:v>
                </c:pt>
                <c:pt idx="3058">
                  <c:v>42285</c:v>
                </c:pt>
                <c:pt idx="3059">
                  <c:v>42286</c:v>
                </c:pt>
                <c:pt idx="3060">
                  <c:v>42289</c:v>
                </c:pt>
                <c:pt idx="3061">
                  <c:v>42290</c:v>
                </c:pt>
                <c:pt idx="3062">
                  <c:v>42291</c:v>
                </c:pt>
                <c:pt idx="3063">
                  <c:v>42292</c:v>
                </c:pt>
                <c:pt idx="3064">
                  <c:v>42293</c:v>
                </c:pt>
                <c:pt idx="3065">
                  <c:v>42296</c:v>
                </c:pt>
                <c:pt idx="3066">
                  <c:v>42297</c:v>
                </c:pt>
                <c:pt idx="3067">
                  <c:v>42298</c:v>
                </c:pt>
                <c:pt idx="3068">
                  <c:v>42299</c:v>
                </c:pt>
                <c:pt idx="3069">
                  <c:v>42300</c:v>
                </c:pt>
                <c:pt idx="3070">
                  <c:v>42303</c:v>
                </c:pt>
                <c:pt idx="3071">
                  <c:v>42304</c:v>
                </c:pt>
                <c:pt idx="3072">
                  <c:v>42305</c:v>
                </c:pt>
                <c:pt idx="3073">
                  <c:v>42306</c:v>
                </c:pt>
                <c:pt idx="3074">
                  <c:v>42307</c:v>
                </c:pt>
                <c:pt idx="3075">
                  <c:v>42310</c:v>
                </c:pt>
                <c:pt idx="3076">
                  <c:v>42311</c:v>
                </c:pt>
                <c:pt idx="3077">
                  <c:v>42312</c:v>
                </c:pt>
                <c:pt idx="3078">
                  <c:v>42313</c:v>
                </c:pt>
                <c:pt idx="3079">
                  <c:v>42314</c:v>
                </c:pt>
                <c:pt idx="3080">
                  <c:v>42317</c:v>
                </c:pt>
                <c:pt idx="3081">
                  <c:v>42318</c:v>
                </c:pt>
                <c:pt idx="3082">
                  <c:v>42319</c:v>
                </c:pt>
                <c:pt idx="3083">
                  <c:v>42320</c:v>
                </c:pt>
                <c:pt idx="3084">
                  <c:v>42321</c:v>
                </c:pt>
                <c:pt idx="3085">
                  <c:v>42324</c:v>
                </c:pt>
                <c:pt idx="3086">
                  <c:v>42325</c:v>
                </c:pt>
                <c:pt idx="3087">
                  <c:v>42326</c:v>
                </c:pt>
                <c:pt idx="3088">
                  <c:v>42327</c:v>
                </c:pt>
                <c:pt idx="3089">
                  <c:v>42328</c:v>
                </c:pt>
                <c:pt idx="3090">
                  <c:v>42331</c:v>
                </c:pt>
                <c:pt idx="3091">
                  <c:v>42332</c:v>
                </c:pt>
                <c:pt idx="3092">
                  <c:v>42333</c:v>
                </c:pt>
                <c:pt idx="3093">
                  <c:v>42334</c:v>
                </c:pt>
                <c:pt idx="3094">
                  <c:v>42335</c:v>
                </c:pt>
                <c:pt idx="3095">
                  <c:v>42338</c:v>
                </c:pt>
                <c:pt idx="3096">
                  <c:v>42339</c:v>
                </c:pt>
                <c:pt idx="3097">
                  <c:v>42340</c:v>
                </c:pt>
                <c:pt idx="3098">
                  <c:v>42341</c:v>
                </c:pt>
                <c:pt idx="3099">
                  <c:v>42342</c:v>
                </c:pt>
                <c:pt idx="3100">
                  <c:v>42345</c:v>
                </c:pt>
                <c:pt idx="3101">
                  <c:v>42346</c:v>
                </c:pt>
                <c:pt idx="3102">
                  <c:v>42347</c:v>
                </c:pt>
                <c:pt idx="3103">
                  <c:v>42348</c:v>
                </c:pt>
                <c:pt idx="3104">
                  <c:v>42349</c:v>
                </c:pt>
                <c:pt idx="3105">
                  <c:v>42352</c:v>
                </c:pt>
                <c:pt idx="3106">
                  <c:v>42353</c:v>
                </c:pt>
                <c:pt idx="3107">
                  <c:v>42354</c:v>
                </c:pt>
                <c:pt idx="3108">
                  <c:v>42355</c:v>
                </c:pt>
                <c:pt idx="3109">
                  <c:v>42356</c:v>
                </c:pt>
                <c:pt idx="3110">
                  <c:v>42359</c:v>
                </c:pt>
                <c:pt idx="3111">
                  <c:v>42360</c:v>
                </c:pt>
                <c:pt idx="3112">
                  <c:v>42361</c:v>
                </c:pt>
                <c:pt idx="3113">
                  <c:v>42362</c:v>
                </c:pt>
                <c:pt idx="3114">
                  <c:v>42363</c:v>
                </c:pt>
                <c:pt idx="3115">
                  <c:v>42366</c:v>
                </c:pt>
                <c:pt idx="3116">
                  <c:v>42367</c:v>
                </c:pt>
                <c:pt idx="3117">
                  <c:v>42368</c:v>
                </c:pt>
                <c:pt idx="3118">
                  <c:v>42369</c:v>
                </c:pt>
                <c:pt idx="3119">
                  <c:v>42370</c:v>
                </c:pt>
                <c:pt idx="3120">
                  <c:v>42373</c:v>
                </c:pt>
                <c:pt idx="3121">
                  <c:v>42374</c:v>
                </c:pt>
                <c:pt idx="3122">
                  <c:v>42375</c:v>
                </c:pt>
                <c:pt idx="3123">
                  <c:v>42376</c:v>
                </c:pt>
                <c:pt idx="3124">
                  <c:v>42377</c:v>
                </c:pt>
                <c:pt idx="3125">
                  <c:v>42380</c:v>
                </c:pt>
                <c:pt idx="3126">
                  <c:v>42381</c:v>
                </c:pt>
                <c:pt idx="3127">
                  <c:v>42382</c:v>
                </c:pt>
                <c:pt idx="3128">
                  <c:v>42383</c:v>
                </c:pt>
                <c:pt idx="3129">
                  <c:v>42384</c:v>
                </c:pt>
                <c:pt idx="3130">
                  <c:v>42387</c:v>
                </c:pt>
                <c:pt idx="3131">
                  <c:v>42388</c:v>
                </c:pt>
                <c:pt idx="3132">
                  <c:v>42389</c:v>
                </c:pt>
                <c:pt idx="3133">
                  <c:v>42390</c:v>
                </c:pt>
                <c:pt idx="3134">
                  <c:v>42391</c:v>
                </c:pt>
                <c:pt idx="3135">
                  <c:v>42394</c:v>
                </c:pt>
                <c:pt idx="3136">
                  <c:v>42395</c:v>
                </c:pt>
                <c:pt idx="3137">
                  <c:v>42396</c:v>
                </c:pt>
                <c:pt idx="3138">
                  <c:v>42397</c:v>
                </c:pt>
                <c:pt idx="3139">
                  <c:v>42398</c:v>
                </c:pt>
                <c:pt idx="3140">
                  <c:v>42401</c:v>
                </c:pt>
                <c:pt idx="3141">
                  <c:v>42402</c:v>
                </c:pt>
                <c:pt idx="3142">
                  <c:v>42403</c:v>
                </c:pt>
                <c:pt idx="3143">
                  <c:v>42404</c:v>
                </c:pt>
                <c:pt idx="3144">
                  <c:v>42405</c:v>
                </c:pt>
                <c:pt idx="3145">
                  <c:v>42408</c:v>
                </c:pt>
                <c:pt idx="3146">
                  <c:v>42409</c:v>
                </c:pt>
                <c:pt idx="3147">
                  <c:v>42410</c:v>
                </c:pt>
                <c:pt idx="3148">
                  <c:v>42411</c:v>
                </c:pt>
                <c:pt idx="3149">
                  <c:v>42412</c:v>
                </c:pt>
                <c:pt idx="3150">
                  <c:v>42415</c:v>
                </c:pt>
                <c:pt idx="3151">
                  <c:v>42416</c:v>
                </c:pt>
                <c:pt idx="3152">
                  <c:v>42417</c:v>
                </c:pt>
                <c:pt idx="3153">
                  <c:v>42418</c:v>
                </c:pt>
                <c:pt idx="3154">
                  <c:v>42419</c:v>
                </c:pt>
                <c:pt idx="3155">
                  <c:v>42422</c:v>
                </c:pt>
                <c:pt idx="3156">
                  <c:v>42423</c:v>
                </c:pt>
                <c:pt idx="3157">
                  <c:v>42424</c:v>
                </c:pt>
                <c:pt idx="3158">
                  <c:v>42425</c:v>
                </c:pt>
                <c:pt idx="3159">
                  <c:v>42426</c:v>
                </c:pt>
                <c:pt idx="3160">
                  <c:v>42429</c:v>
                </c:pt>
                <c:pt idx="3161">
                  <c:v>42430</c:v>
                </c:pt>
                <c:pt idx="3162">
                  <c:v>42431</c:v>
                </c:pt>
                <c:pt idx="3163">
                  <c:v>42432</c:v>
                </c:pt>
                <c:pt idx="3164">
                  <c:v>42433</c:v>
                </c:pt>
                <c:pt idx="3165">
                  <c:v>42436</c:v>
                </c:pt>
                <c:pt idx="3166">
                  <c:v>42437</c:v>
                </c:pt>
                <c:pt idx="3167">
                  <c:v>42438</c:v>
                </c:pt>
                <c:pt idx="3168">
                  <c:v>42439</c:v>
                </c:pt>
                <c:pt idx="3169">
                  <c:v>42440</c:v>
                </c:pt>
                <c:pt idx="3170">
                  <c:v>42443</c:v>
                </c:pt>
                <c:pt idx="3171">
                  <c:v>42444</c:v>
                </c:pt>
                <c:pt idx="3172">
                  <c:v>42445</c:v>
                </c:pt>
                <c:pt idx="3173">
                  <c:v>42446</c:v>
                </c:pt>
                <c:pt idx="3174">
                  <c:v>42447</c:v>
                </c:pt>
                <c:pt idx="3175">
                  <c:v>42450</c:v>
                </c:pt>
                <c:pt idx="3176">
                  <c:v>42451</c:v>
                </c:pt>
                <c:pt idx="3177">
                  <c:v>42452</c:v>
                </c:pt>
                <c:pt idx="3178">
                  <c:v>42453</c:v>
                </c:pt>
                <c:pt idx="3179">
                  <c:v>42454</c:v>
                </c:pt>
                <c:pt idx="3180">
                  <c:v>42457</c:v>
                </c:pt>
                <c:pt idx="3181">
                  <c:v>42458</c:v>
                </c:pt>
                <c:pt idx="3182">
                  <c:v>42459</c:v>
                </c:pt>
                <c:pt idx="3183">
                  <c:v>42460</c:v>
                </c:pt>
                <c:pt idx="3184">
                  <c:v>42461</c:v>
                </c:pt>
                <c:pt idx="3185">
                  <c:v>42464</c:v>
                </c:pt>
                <c:pt idx="3186">
                  <c:v>42465</c:v>
                </c:pt>
                <c:pt idx="3187">
                  <c:v>42466</c:v>
                </c:pt>
                <c:pt idx="3188">
                  <c:v>42467</c:v>
                </c:pt>
                <c:pt idx="3189">
                  <c:v>42468</c:v>
                </c:pt>
                <c:pt idx="3190">
                  <c:v>42471</c:v>
                </c:pt>
                <c:pt idx="3191">
                  <c:v>42472</c:v>
                </c:pt>
                <c:pt idx="3192">
                  <c:v>42473</c:v>
                </c:pt>
                <c:pt idx="3193">
                  <c:v>42474</c:v>
                </c:pt>
                <c:pt idx="3194">
                  <c:v>42475</c:v>
                </c:pt>
                <c:pt idx="3195">
                  <c:v>42478</c:v>
                </c:pt>
                <c:pt idx="3196">
                  <c:v>42479</c:v>
                </c:pt>
                <c:pt idx="3197">
                  <c:v>42480</c:v>
                </c:pt>
                <c:pt idx="3198">
                  <c:v>42481</c:v>
                </c:pt>
                <c:pt idx="3199">
                  <c:v>42482</c:v>
                </c:pt>
                <c:pt idx="3200">
                  <c:v>42485</c:v>
                </c:pt>
                <c:pt idx="3201">
                  <c:v>42486</c:v>
                </c:pt>
                <c:pt idx="3202">
                  <c:v>42487</c:v>
                </c:pt>
                <c:pt idx="3203">
                  <c:v>42488</c:v>
                </c:pt>
                <c:pt idx="3204">
                  <c:v>42489</c:v>
                </c:pt>
                <c:pt idx="3205">
                  <c:v>42492</c:v>
                </c:pt>
                <c:pt idx="3206">
                  <c:v>42493</c:v>
                </c:pt>
                <c:pt idx="3207">
                  <c:v>42494</c:v>
                </c:pt>
                <c:pt idx="3208">
                  <c:v>42495</c:v>
                </c:pt>
                <c:pt idx="3209">
                  <c:v>42496</c:v>
                </c:pt>
                <c:pt idx="3210">
                  <c:v>42499</c:v>
                </c:pt>
                <c:pt idx="3211">
                  <c:v>42500</c:v>
                </c:pt>
                <c:pt idx="3212">
                  <c:v>42501</c:v>
                </c:pt>
                <c:pt idx="3213">
                  <c:v>42502</c:v>
                </c:pt>
                <c:pt idx="3214">
                  <c:v>42503</c:v>
                </c:pt>
                <c:pt idx="3215">
                  <c:v>42506</c:v>
                </c:pt>
                <c:pt idx="3216">
                  <c:v>42507</c:v>
                </c:pt>
                <c:pt idx="3217">
                  <c:v>42508</c:v>
                </c:pt>
                <c:pt idx="3218">
                  <c:v>42509</c:v>
                </c:pt>
                <c:pt idx="3219">
                  <c:v>42510</c:v>
                </c:pt>
                <c:pt idx="3220">
                  <c:v>42513</c:v>
                </c:pt>
                <c:pt idx="3221">
                  <c:v>42514</c:v>
                </c:pt>
                <c:pt idx="3222">
                  <c:v>42515</c:v>
                </c:pt>
                <c:pt idx="3223">
                  <c:v>42516</c:v>
                </c:pt>
                <c:pt idx="3224">
                  <c:v>42517</c:v>
                </c:pt>
                <c:pt idx="3225">
                  <c:v>42520</c:v>
                </c:pt>
                <c:pt idx="3226">
                  <c:v>42521</c:v>
                </c:pt>
                <c:pt idx="3227">
                  <c:v>42522</c:v>
                </c:pt>
                <c:pt idx="3228">
                  <c:v>42523</c:v>
                </c:pt>
                <c:pt idx="3229">
                  <c:v>42524</c:v>
                </c:pt>
                <c:pt idx="3230">
                  <c:v>42527</c:v>
                </c:pt>
                <c:pt idx="3231">
                  <c:v>42528</c:v>
                </c:pt>
                <c:pt idx="3232">
                  <c:v>42529</c:v>
                </c:pt>
                <c:pt idx="3233">
                  <c:v>42530</c:v>
                </c:pt>
                <c:pt idx="3234">
                  <c:v>42531</c:v>
                </c:pt>
                <c:pt idx="3235">
                  <c:v>42534</c:v>
                </c:pt>
                <c:pt idx="3236">
                  <c:v>42535</c:v>
                </c:pt>
                <c:pt idx="3237">
                  <c:v>42536</c:v>
                </c:pt>
                <c:pt idx="3238">
                  <c:v>42537</c:v>
                </c:pt>
                <c:pt idx="3239">
                  <c:v>42538</c:v>
                </c:pt>
                <c:pt idx="3240">
                  <c:v>42541</c:v>
                </c:pt>
                <c:pt idx="3241">
                  <c:v>42542</c:v>
                </c:pt>
                <c:pt idx="3242">
                  <c:v>42543</c:v>
                </c:pt>
                <c:pt idx="3243">
                  <c:v>42544</c:v>
                </c:pt>
                <c:pt idx="3244">
                  <c:v>42545</c:v>
                </c:pt>
                <c:pt idx="3245">
                  <c:v>42548</c:v>
                </c:pt>
                <c:pt idx="3246">
                  <c:v>42549</c:v>
                </c:pt>
                <c:pt idx="3247">
                  <c:v>42550</c:v>
                </c:pt>
                <c:pt idx="3248">
                  <c:v>42551</c:v>
                </c:pt>
                <c:pt idx="3249">
                  <c:v>42552</c:v>
                </c:pt>
                <c:pt idx="3250">
                  <c:v>42555</c:v>
                </c:pt>
                <c:pt idx="3251">
                  <c:v>42556</c:v>
                </c:pt>
                <c:pt idx="3252">
                  <c:v>42557</c:v>
                </c:pt>
                <c:pt idx="3253">
                  <c:v>42558</c:v>
                </c:pt>
                <c:pt idx="3254">
                  <c:v>42559</c:v>
                </c:pt>
                <c:pt idx="3255">
                  <c:v>42562</c:v>
                </c:pt>
                <c:pt idx="3256">
                  <c:v>42563</c:v>
                </c:pt>
                <c:pt idx="3257">
                  <c:v>42564</c:v>
                </c:pt>
                <c:pt idx="3258">
                  <c:v>42565</c:v>
                </c:pt>
                <c:pt idx="3259">
                  <c:v>42566</c:v>
                </c:pt>
                <c:pt idx="3260">
                  <c:v>42569</c:v>
                </c:pt>
                <c:pt idx="3261">
                  <c:v>42570</c:v>
                </c:pt>
                <c:pt idx="3262">
                  <c:v>42571</c:v>
                </c:pt>
                <c:pt idx="3263">
                  <c:v>42572</c:v>
                </c:pt>
                <c:pt idx="3264">
                  <c:v>42573</c:v>
                </c:pt>
                <c:pt idx="3265">
                  <c:v>42576</c:v>
                </c:pt>
                <c:pt idx="3266">
                  <c:v>42577</c:v>
                </c:pt>
                <c:pt idx="3267">
                  <c:v>42578</c:v>
                </c:pt>
                <c:pt idx="3268">
                  <c:v>42579</c:v>
                </c:pt>
                <c:pt idx="3269">
                  <c:v>42580</c:v>
                </c:pt>
                <c:pt idx="3270">
                  <c:v>42583</c:v>
                </c:pt>
                <c:pt idx="3271">
                  <c:v>42584</c:v>
                </c:pt>
                <c:pt idx="3272">
                  <c:v>42585</c:v>
                </c:pt>
                <c:pt idx="3273">
                  <c:v>42586</c:v>
                </c:pt>
                <c:pt idx="3274">
                  <c:v>42587</c:v>
                </c:pt>
                <c:pt idx="3275">
                  <c:v>42590</c:v>
                </c:pt>
                <c:pt idx="3276">
                  <c:v>42591</c:v>
                </c:pt>
                <c:pt idx="3277">
                  <c:v>42592</c:v>
                </c:pt>
                <c:pt idx="3278">
                  <c:v>42593</c:v>
                </c:pt>
                <c:pt idx="3279">
                  <c:v>42594</c:v>
                </c:pt>
                <c:pt idx="3280">
                  <c:v>42597</c:v>
                </c:pt>
                <c:pt idx="3281">
                  <c:v>42598</c:v>
                </c:pt>
                <c:pt idx="3282">
                  <c:v>42599</c:v>
                </c:pt>
                <c:pt idx="3283">
                  <c:v>42600</c:v>
                </c:pt>
                <c:pt idx="3284">
                  <c:v>42601</c:v>
                </c:pt>
                <c:pt idx="3285">
                  <c:v>42604</c:v>
                </c:pt>
                <c:pt idx="3286">
                  <c:v>42605</c:v>
                </c:pt>
                <c:pt idx="3287">
                  <c:v>42606</c:v>
                </c:pt>
                <c:pt idx="3288">
                  <c:v>42607</c:v>
                </c:pt>
                <c:pt idx="3289">
                  <c:v>42608</c:v>
                </c:pt>
                <c:pt idx="3290">
                  <c:v>42611</c:v>
                </c:pt>
                <c:pt idx="3291">
                  <c:v>42612</c:v>
                </c:pt>
                <c:pt idx="3292">
                  <c:v>42613</c:v>
                </c:pt>
                <c:pt idx="3293">
                  <c:v>42614</c:v>
                </c:pt>
                <c:pt idx="3294">
                  <c:v>42615</c:v>
                </c:pt>
                <c:pt idx="3295">
                  <c:v>42618</c:v>
                </c:pt>
                <c:pt idx="3296">
                  <c:v>42619</c:v>
                </c:pt>
                <c:pt idx="3297">
                  <c:v>42620</c:v>
                </c:pt>
                <c:pt idx="3298">
                  <c:v>42621</c:v>
                </c:pt>
                <c:pt idx="3299">
                  <c:v>42622</c:v>
                </c:pt>
                <c:pt idx="3300">
                  <c:v>42625</c:v>
                </c:pt>
                <c:pt idx="3301">
                  <c:v>42626</c:v>
                </c:pt>
                <c:pt idx="3302">
                  <c:v>42627</c:v>
                </c:pt>
                <c:pt idx="3303">
                  <c:v>42628</c:v>
                </c:pt>
                <c:pt idx="3304">
                  <c:v>42629</c:v>
                </c:pt>
                <c:pt idx="3305">
                  <c:v>42632</c:v>
                </c:pt>
                <c:pt idx="3306">
                  <c:v>42633</c:v>
                </c:pt>
                <c:pt idx="3307">
                  <c:v>42634</c:v>
                </c:pt>
                <c:pt idx="3308">
                  <c:v>42635</c:v>
                </c:pt>
                <c:pt idx="3309">
                  <c:v>42636</c:v>
                </c:pt>
                <c:pt idx="3310">
                  <c:v>42639</c:v>
                </c:pt>
                <c:pt idx="3311">
                  <c:v>42640</c:v>
                </c:pt>
                <c:pt idx="3312">
                  <c:v>42641</c:v>
                </c:pt>
                <c:pt idx="3313">
                  <c:v>42642</c:v>
                </c:pt>
                <c:pt idx="3314">
                  <c:v>42643</c:v>
                </c:pt>
                <c:pt idx="3315">
                  <c:v>42646</c:v>
                </c:pt>
                <c:pt idx="3316">
                  <c:v>42647</c:v>
                </c:pt>
                <c:pt idx="3317">
                  <c:v>42648</c:v>
                </c:pt>
                <c:pt idx="3318">
                  <c:v>42649</c:v>
                </c:pt>
                <c:pt idx="3319">
                  <c:v>42650</c:v>
                </c:pt>
                <c:pt idx="3320">
                  <c:v>42653</c:v>
                </c:pt>
                <c:pt idx="3321">
                  <c:v>42654</c:v>
                </c:pt>
                <c:pt idx="3322">
                  <c:v>42655</c:v>
                </c:pt>
                <c:pt idx="3323">
                  <c:v>42656</c:v>
                </c:pt>
                <c:pt idx="3324">
                  <c:v>42657</c:v>
                </c:pt>
                <c:pt idx="3325">
                  <c:v>42660</c:v>
                </c:pt>
                <c:pt idx="3326">
                  <c:v>42661</c:v>
                </c:pt>
                <c:pt idx="3327">
                  <c:v>42662</c:v>
                </c:pt>
                <c:pt idx="3328">
                  <c:v>42663</c:v>
                </c:pt>
                <c:pt idx="3329">
                  <c:v>42664</c:v>
                </c:pt>
                <c:pt idx="3330">
                  <c:v>42667</c:v>
                </c:pt>
                <c:pt idx="3331">
                  <c:v>42668</c:v>
                </c:pt>
                <c:pt idx="3332">
                  <c:v>42669</c:v>
                </c:pt>
                <c:pt idx="3333">
                  <c:v>42670</c:v>
                </c:pt>
                <c:pt idx="3334">
                  <c:v>42671</c:v>
                </c:pt>
                <c:pt idx="3335">
                  <c:v>42674</c:v>
                </c:pt>
                <c:pt idx="3336">
                  <c:v>42675</c:v>
                </c:pt>
                <c:pt idx="3337">
                  <c:v>42676</c:v>
                </c:pt>
                <c:pt idx="3338">
                  <c:v>42677</c:v>
                </c:pt>
                <c:pt idx="3339">
                  <c:v>42678</c:v>
                </c:pt>
                <c:pt idx="3340">
                  <c:v>42681</c:v>
                </c:pt>
                <c:pt idx="3341">
                  <c:v>42682</c:v>
                </c:pt>
                <c:pt idx="3342">
                  <c:v>42683</c:v>
                </c:pt>
                <c:pt idx="3343">
                  <c:v>42684</c:v>
                </c:pt>
                <c:pt idx="3344">
                  <c:v>42685</c:v>
                </c:pt>
                <c:pt idx="3345">
                  <c:v>42688</c:v>
                </c:pt>
                <c:pt idx="3346">
                  <c:v>42689</c:v>
                </c:pt>
                <c:pt idx="3347">
                  <c:v>42690</c:v>
                </c:pt>
                <c:pt idx="3348">
                  <c:v>42691</c:v>
                </c:pt>
                <c:pt idx="3349">
                  <c:v>42692</c:v>
                </c:pt>
                <c:pt idx="3350">
                  <c:v>42695</c:v>
                </c:pt>
                <c:pt idx="3351">
                  <c:v>42696</c:v>
                </c:pt>
                <c:pt idx="3352">
                  <c:v>42697</c:v>
                </c:pt>
                <c:pt idx="3353">
                  <c:v>42698</c:v>
                </c:pt>
                <c:pt idx="3354">
                  <c:v>42699</c:v>
                </c:pt>
                <c:pt idx="3355">
                  <c:v>42702</c:v>
                </c:pt>
                <c:pt idx="3356">
                  <c:v>42703</c:v>
                </c:pt>
                <c:pt idx="3357">
                  <c:v>42704</c:v>
                </c:pt>
                <c:pt idx="3358">
                  <c:v>42705</c:v>
                </c:pt>
                <c:pt idx="3359">
                  <c:v>42706</c:v>
                </c:pt>
                <c:pt idx="3360">
                  <c:v>42709</c:v>
                </c:pt>
                <c:pt idx="3361">
                  <c:v>42710</c:v>
                </c:pt>
                <c:pt idx="3362">
                  <c:v>42711</c:v>
                </c:pt>
                <c:pt idx="3363">
                  <c:v>42712</c:v>
                </c:pt>
                <c:pt idx="3364">
                  <c:v>42713</c:v>
                </c:pt>
                <c:pt idx="3365">
                  <c:v>42716</c:v>
                </c:pt>
                <c:pt idx="3366">
                  <c:v>42717</c:v>
                </c:pt>
                <c:pt idx="3367">
                  <c:v>42718</c:v>
                </c:pt>
                <c:pt idx="3368">
                  <c:v>42719</c:v>
                </c:pt>
                <c:pt idx="3369">
                  <c:v>42720</c:v>
                </c:pt>
                <c:pt idx="3370">
                  <c:v>42723</c:v>
                </c:pt>
                <c:pt idx="3371">
                  <c:v>42724</c:v>
                </c:pt>
                <c:pt idx="3372">
                  <c:v>42725</c:v>
                </c:pt>
                <c:pt idx="3373">
                  <c:v>42726</c:v>
                </c:pt>
                <c:pt idx="3374">
                  <c:v>42727</c:v>
                </c:pt>
                <c:pt idx="3375">
                  <c:v>42730</c:v>
                </c:pt>
                <c:pt idx="3376">
                  <c:v>42731</c:v>
                </c:pt>
                <c:pt idx="3377">
                  <c:v>42732</c:v>
                </c:pt>
                <c:pt idx="3378">
                  <c:v>42733</c:v>
                </c:pt>
                <c:pt idx="3379">
                  <c:v>42734</c:v>
                </c:pt>
                <c:pt idx="3380">
                  <c:v>42737</c:v>
                </c:pt>
                <c:pt idx="3381">
                  <c:v>42738</c:v>
                </c:pt>
                <c:pt idx="3382">
                  <c:v>42739</c:v>
                </c:pt>
                <c:pt idx="3383">
                  <c:v>42740</c:v>
                </c:pt>
                <c:pt idx="3384">
                  <c:v>42741</c:v>
                </c:pt>
                <c:pt idx="3385">
                  <c:v>42744</c:v>
                </c:pt>
                <c:pt idx="3386">
                  <c:v>42745</c:v>
                </c:pt>
                <c:pt idx="3387">
                  <c:v>42746</c:v>
                </c:pt>
                <c:pt idx="3388">
                  <c:v>42747</c:v>
                </c:pt>
                <c:pt idx="3389">
                  <c:v>42748</c:v>
                </c:pt>
                <c:pt idx="3390">
                  <c:v>42751</c:v>
                </c:pt>
                <c:pt idx="3391">
                  <c:v>42752</c:v>
                </c:pt>
                <c:pt idx="3392">
                  <c:v>42753</c:v>
                </c:pt>
                <c:pt idx="3393">
                  <c:v>42754</c:v>
                </c:pt>
                <c:pt idx="3394">
                  <c:v>42755</c:v>
                </c:pt>
                <c:pt idx="3395">
                  <c:v>42758</c:v>
                </c:pt>
                <c:pt idx="3396">
                  <c:v>42759</c:v>
                </c:pt>
                <c:pt idx="3397">
                  <c:v>42760</c:v>
                </c:pt>
                <c:pt idx="3398">
                  <c:v>42761</c:v>
                </c:pt>
                <c:pt idx="3399">
                  <c:v>42762</c:v>
                </c:pt>
                <c:pt idx="3400">
                  <c:v>42765</c:v>
                </c:pt>
                <c:pt idx="3401">
                  <c:v>42766</c:v>
                </c:pt>
                <c:pt idx="3402">
                  <c:v>42767</c:v>
                </c:pt>
                <c:pt idx="3403">
                  <c:v>42768</c:v>
                </c:pt>
                <c:pt idx="3404">
                  <c:v>42769</c:v>
                </c:pt>
                <c:pt idx="3405">
                  <c:v>42772</c:v>
                </c:pt>
                <c:pt idx="3406">
                  <c:v>42773</c:v>
                </c:pt>
                <c:pt idx="3407">
                  <c:v>42774</c:v>
                </c:pt>
                <c:pt idx="3408">
                  <c:v>42775</c:v>
                </c:pt>
                <c:pt idx="3409">
                  <c:v>42776</c:v>
                </c:pt>
                <c:pt idx="3410">
                  <c:v>42779</c:v>
                </c:pt>
                <c:pt idx="3411">
                  <c:v>42780</c:v>
                </c:pt>
                <c:pt idx="3412">
                  <c:v>42781</c:v>
                </c:pt>
                <c:pt idx="3413">
                  <c:v>42782</c:v>
                </c:pt>
                <c:pt idx="3414">
                  <c:v>42783</c:v>
                </c:pt>
                <c:pt idx="3415">
                  <c:v>42786</c:v>
                </c:pt>
                <c:pt idx="3416">
                  <c:v>42787</c:v>
                </c:pt>
                <c:pt idx="3417">
                  <c:v>42788</c:v>
                </c:pt>
                <c:pt idx="3418">
                  <c:v>42789</c:v>
                </c:pt>
                <c:pt idx="3419">
                  <c:v>42790</c:v>
                </c:pt>
                <c:pt idx="3420">
                  <c:v>42793</c:v>
                </c:pt>
                <c:pt idx="3421">
                  <c:v>42794</c:v>
                </c:pt>
                <c:pt idx="3422">
                  <c:v>42795</c:v>
                </c:pt>
                <c:pt idx="3423">
                  <c:v>42796</c:v>
                </c:pt>
                <c:pt idx="3424">
                  <c:v>42797</c:v>
                </c:pt>
                <c:pt idx="3425">
                  <c:v>42800</c:v>
                </c:pt>
                <c:pt idx="3426">
                  <c:v>42801</c:v>
                </c:pt>
                <c:pt idx="3427">
                  <c:v>42802</c:v>
                </c:pt>
                <c:pt idx="3428">
                  <c:v>42803</c:v>
                </c:pt>
                <c:pt idx="3429">
                  <c:v>42804</c:v>
                </c:pt>
                <c:pt idx="3430">
                  <c:v>42807</c:v>
                </c:pt>
                <c:pt idx="3431">
                  <c:v>42808</c:v>
                </c:pt>
                <c:pt idx="3432">
                  <c:v>42809</c:v>
                </c:pt>
                <c:pt idx="3433">
                  <c:v>42810</c:v>
                </c:pt>
                <c:pt idx="3434">
                  <c:v>42811</c:v>
                </c:pt>
                <c:pt idx="3435">
                  <c:v>42814</c:v>
                </c:pt>
                <c:pt idx="3436">
                  <c:v>42815</c:v>
                </c:pt>
                <c:pt idx="3437">
                  <c:v>42816</c:v>
                </c:pt>
                <c:pt idx="3438">
                  <c:v>42817</c:v>
                </c:pt>
                <c:pt idx="3439">
                  <c:v>42818</c:v>
                </c:pt>
                <c:pt idx="3440">
                  <c:v>42821</c:v>
                </c:pt>
                <c:pt idx="3441">
                  <c:v>42822</c:v>
                </c:pt>
                <c:pt idx="3442">
                  <c:v>42823</c:v>
                </c:pt>
                <c:pt idx="3443">
                  <c:v>42824</c:v>
                </c:pt>
                <c:pt idx="3444">
                  <c:v>42825</c:v>
                </c:pt>
                <c:pt idx="3445">
                  <c:v>42828</c:v>
                </c:pt>
                <c:pt idx="3446">
                  <c:v>42829</c:v>
                </c:pt>
                <c:pt idx="3447">
                  <c:v>42830</c:v>
                </c:pt>
                <c:pt idx="3448">
                  <c:v>42831</c:v>
                </c:pt>
                <c:pt idx="3449">
                  <c:v>42832</c:v>
                </c:pt>
                <c:pt idx="3450">
                  <c:v>42835</c:v>
                </c:pt>
                <c:pt idx="3451">
                  <c:v>42836</c:v>
                </c:pt>
                <c:pt idx="3452">
                  <c:v>42837</c:v>
                </c:pt>
                <c:pt idx="3453">
                  <c:v>42838</c:v>
                </c:pt>
                <c:pt idx="3454">
                  <c:v>42839</c:v>
                </c:pt>
                <c:pt idx="3455">
                  <c:v>42842</c:v>
                </c:pt>
                <c:pt idx="3456">
                  <c:v>42843</c:v>
                </c:pt>
                <c:pt idx="3457">
                  <c:v>42844</c:v>
                </c:pt>
                <c:pt idx="3458">
                  <c:v>42845</c:v>
                </c:pt>
                <c:pt idx="3459">
                  <c:v>42846</c:v>
                </c:pt>
                <c:pt idx="3460">
                  <c:v>42849</c:v>
                </c:pt>
                <c:pt idx="3461">
                  <c:v>42850</c:v>
                </c:pt>
                <c:pt idx="3462">
                  <c:v>42851</c:v>
                </c:pt>
                <c:pt idx="3463">
                  <c:v>42852</c:v>
                </c:pt>
                <c:pt idx="3464">
                  <c:v>42853</c:v>
                </c:pt>
                <c:pt idx="3465">
                  <c:v>42856</c:v>
                </c:pt>
                <c:pt idx="3466">
                  <c:v>42857</c:v>
                </c:pt>
                <c:pt idx="3467">
                  <c:v>42858</c:v>
                </c:pt>
                <c:pt idx="3468">
                  <c:v>42859</c:v>
                </c:pt>
                <c:pt idx="3469">
                  <c:v>42860</c:v>
                </c:pt>
                <c:pt idx="3470">
                  <c:v>42863</c:v>
                </c:pt>
                <c:pt idx="3471">
                  <c:v>42864</c:v>
                </c:pt>
                <c:pt idx="3472">
                  <c:v>42865</c:v>
                </c:pt>
                <c:pt idx="3473">
                  <c:v>42866</c:v>
                </c:pt>
                <c:pt idx="3474">
                  <c:v>42867</c:v>
                </c:pt>
                <c:pt idx="3475">
                  <c:v>42870</c:v>
                </c:pt>
                <c:pt idx="3476">
                  <c:v>42871</c:v>
                </c:pt>
                <c:pt idx="3477">
                  <c:v>42872</c:v>
                </c:pt>
                <c:pt idx="3478">
                  <c:v>42873</c:v>
                </c:pt>
                <c:pt idx="3479">
                  <c:v>42874</c:v>
                </c:pt>
                <c:pt idx="3480">
                  <c:v>42877</c:v>
                </c:pt>
                <c:pt idx="3481">
                  <c:v>42878</c:v>
                </c:pt>
                <c:pt idx="3482">
                  <c:v>42879</c:v>
                </c:pt>
                <c:pt idx="3483">
                  <c:v>42880</c:v>
                </c:pt>
                <c:pt idx="3484">
                  <c:v>42881</c:v>
                </c:pt>
                <c:pt idx="3485">
                  <c:v>42884</c:v>
                </c:pt>
                <c:pt idx="3486">
                  <c:v>42885</c:v>
                </c:pt>
                <c:pt idx="3487">
                  <c:v>42886</c:v>
                </c:pt>
                <c:pt idx="3488">
                  <c:v>42887</c:v>
                </c:pt>
                <c:pt idx="3489">
                  <c:v>42888</c:v>
                </c:pt>
                <c:pt idx="3490">
                  <c:v>42891</c:v>
                </c:pt>
                <c:pt idx="3491">
                  <c:v>42892</c:v>
                </c:pt>
                <c:pt idx="3492">
                  <c:v>42893</c:v>
                </c:pt>
                <c:pt idx="3493">
                  <c:v>42894</c:v>
                </c:pt>
                <c:pt idx="3494">
                  <c:v>42895</c:v>
                </c:pt>
                <c:pt idx="3495">
                  <c:v>42898</c:v>
                </c:pt>
                <c:pt idx="3496">
                  <c:v>42899</c:v>
                </c:pt>
                <c:pt idx="3497">
                  <c:v>42900</c:v>
                </c:pt>
                <c:pt idx="3498">
                  <c:v>42901</c:v>
                </c:pt>
                <c:pt idx="3499">
                  <c:v>42902</c:v>
                </c:pt>
                <c:pt idx="3500">
                  <c:v>42905</c:v>
                </c:pt>
                <c:pt idx="3501">
                  <c:v>42906</c:v>
                </c:pt>
                <c:pt idx="3502">
                  <c:v>42907</c:v>
                </c:pt>
                <c:pt idx="3503">
                  <c:v>42908</c:v>
                </c:pt>
                <c:pt idx="3504">
                  <c:v>42909</c:v>
                </c:pt>
                <c:pt idx="3505">
                  <c:v>42912</c:v>
                </c:pt>
                <c:pt idx="3506">
                  <c:v>42913</c:v>
                </c:pt>
                <c:pt idx="3507">
                  <c:v>42914</c:v>
                </c:pt>
                <c:pt idx="3508">
                  <c:v>42915</c:v>
                </c:pt>
                <c:pt idx="3509">
                  <c:v>42916</c:v>
                </c:pt>
                <c:pt idx="3510">
                  <c:v>42919</c:v>
                </c:pt>
                <c:pt idx="3511">
                  <c:v>42920</c:v>
                </c:pt>
                <c:pt idx="3512">
                  <c:v>42921</c:v>
                </c:pt>
                <c:pt idx="3513">
                  <c:v>42922</c:v>
                </c:pt>
                <c:pt idx="3514">
                  <c:v>42923</c:v>
                </c:pt>
                <c:pt idx="3515">
                  <c:v>42926</c:v>
                </c:pt>
                <c:pt idx="3516">
                  <c:v>42927</c:v>
                </c:pt>
                <c:pt idx="3517">
                  <c:v>42928</c:v>
                </c:pt>
                <c:pt idx="3518">
                  <c:v>42929</c:v>
                </c:pt>
                <c:pt idx="3519">
                  <c:v>42930</c:v>
                </c:pt>
                <c:pt idx="3520">
                  <c:v>42933</c:v>
                </c:pt>
                <c:pt idx="3521">
                  <c:v>42934</c:v>
                </c:pt>
                <c:pt idx="3522">
                  <c:v>42935</c:v>
                </c:pt>
                <c:pt idx="3523">
                  <c:v>42936</c:v>
                </c:pt>
                <c:pt idx="3524">
                  <c:v>42937</c:v>
                </c:pt>
                <c:pt idx="3525">
                  <c:v>42940</c:v>
                </c:pt>
                <c:pt idx="3526">
                  <c:v>42941</c:v>
                </c:pt>
                <c:pt idx="3527">
                  <c:v>42942</c:v>
                </c:pt>
                <c:pt idx="3528">
                  <c:v>42943</c:v>
                </c:pt>
                <c:pt idx="3529">
                  <c:v>42944</c:v>
                </c:pt>
                <c:pt idx="3530">
                  <c:v>42947</c:v>
                </c:pt>
                <c:pt idx="3531">
                  <c:v>42948</c:v>
                </c:pt>
                <c:pt idx="3532">
                  <c:v>42949</c:v>
                </c:pt>
                <c:pt idx="3533">
                  <c:v>42950</c:v>
                </c:pt>
                <c:pt idx="3534">
                  <c:v>42951</c:v>
                </c:pt>
                <c:pt idx="3535">
                  <c:v>42954</c:v>
                </c:pt>
                <c:pt idx="3536">
                  <c:v>42955</c:v>
                </c:pt>
                <c:pt idx="3537">
                  <c:v>42956</c:v>
                </c:pt>
                <c:pt idx="3538">
                  <c:v>42957</c:v>
                </c:pt>
                <c:pt idx="3539">
                  <c:v>42958</c:v>
                </c:pt>
                <c:pt idx="3540">
                  <c:v>42961</c:v>
                </c:pt>
                <c:pt idx="3541">
                  <c:v>42962</c:v>
                </c:pt>
                <c:pt idx="3542">
                  <c:v>42963</c:v>
                </c:pt>
                <c:pt idx="3543">
                  <c:v>42964</c:v>
                </c:pt>
                <c:pt idx="3544">
                  <c:v>42965</c:v>
                </c:pt>
                <c:pt idx="3545">
                  <c:v>42968</c:v>
                </c:pt>
                <c:pt idx="3546">
                  <c:v>42969</c:v>
                </c:pt>
                <c:pt idx="3547">
                  <c:v>42970</c:v>
                </c:pt>
                <c:pt idx="3548">
                  <c:v>42971</c:v>
                </c:pt>
                <c:pt idx="3549">
                  <c:v>42972</c:v>
                </c:pt>
                <c:pt idx="3550">
                  <c:v>42975</c:v>
                </c:pt>
                <c:pt idx="3551">
                  <c:v>42976</c:v>
                </c:pt>
                <c:pt idx="3552">
                  <c:v>42977</c:v>
                </c:pt>
                <c:pt idx="3553">
                  <c:v>42978</c:v>
                </c:pt>
                <c:pt idx="3554">
                  <c:v>42979</c:v>
                </c:pt>
                <c:pt idx="3555">
                  <c:v>42982</c:v>
                </c:pt>
                <c:pt idx="3556">
                  <c:v>42983</c:v>
                </c:pt>
                <c:pt idx="3557">
                  <c:v>42984</c:v>
                </c:pt>
                <c:pt idx="3558">
                  <c:v>42985</c:v>
                </c:pt>
                <c:pt idx="3559">
                  <c:v>42986</c:v>
                </c:pt>
                <c:pt idx="3560">
                  <c:v>42989</c:v>
                </c:pt>
                <c:pt idx="3561">
                  <c:v>42990</c:v>
                </c:pt>
                <c:pt idx="3562">
                  <c:v>42991</c:v>
                </c:pt>
                <c:pt idx="3563">
                  <c:v>42992</c:v>
                </c:pt>
                <c:pt idx="3564">
                  <c:v>42993</c:v>
                </c:pt>
                <c:pt idx="3565">
                  <c:v>42996</c:v>
                </c:pt>
                <c:pt idx="3566">
                  <c:v>42997</c:v>
                </c:pt>
                <c:pt idx="3567">
                  <c:v>42998</c:v>
                </c:pt>
                <c:pt idx="3568">
                  <c:v>42999</c:v>
                </c:pt>
                <c:pt idx="3569">
                  <c:v>43000</c:v>
                </c:pt>
                <c:pt idx="3570">
                  <c:v>43003</c:v>
                </c:pt>
                <c:pt idx="3571">
                  <c:v>43004</c:v>
                </c:pt>
                <c:pt idx="3572">
                  <c:v>43005</c:v>
                </c:pt>
                <c:pt idx="3573">
                  <c:v>43006</c:v>
                </c:pt>
                <c:pt idx="3574">
                  <c:v>43007</c:v>
                </c:pt>
                <c:pt idx="3575">
                  <c:v>43010</c:v>
                </c:pt>
                <c:pt idx="3576">
                  <c:v>43011</c:v>
                </c:pt>
                <c:pt idx="3577">
                  <c:v>43012</c:v>
                </c:pt>
                <c:pt idx="3578">
                  <c:v>43013</c:v>
                </c:pt>
                <c:pt idx="3579">
                  <c:v>43014</c:v>
                </c:pt>
                <c:pt idx="3580">
                  <c:v>43017</c:v>
                </c:pt>
                <c:pt idx="3581">
                  <c:v>43018</c:v>
                </c:pt>
                <c:pt idx="3582">
                  <c:v>43019</c:v>
                </c:pt>
                <c:pt idx="3583">
                  <c:v>43020</c:v>
                </c:pt>
                <c:pt idx="3584">
                  <c:v>43021</c:v>
                </c:pt>
                <c:pt idx="3585">
                  <c:v>43024</c:v>
                </c:pt>
                <c:pt idx="3586">
                  <c:v>43025</c:v>
                </c:pt>
                <c:pt idx="3587">
                  <c:v>43026</c:v>
                </c:pt>
                <c:pt idx="3588">
                  <c:v>43027</c:v>
                </c:pt>
                <c:pt idx="3589">
                  <c:v>43028</c:v>
                </c:pt>
                <c:pt idx="3590">
                  <c:v>43031</c:v>
                </c:pt>
                <c:pt idx="3591">
                  <c:v>43032</c:v>
                </c:pt>
                <c:pt idx="3592">
                  <c:v>43033</c:v>
                </c:pt>
                <c:pt idx="3593">
                  <c:v>43034</c:v>
                </c:pt>
                <c:pt idx="3594">
                  <c:v>43035</c:v>
                </c:pt>
                <c:pt idx="3595">
                  <c:v>43038</c:v>
                </c:pt>
                <c:pt idx="3596">
                  <c:v>43039</c:v>
                </c:pt>
                <c:pt idx="3597">
                  <c:v>43040</c:v>
                </c:pt>
                <c:pt idx="3598">
                  <c:v>43041</c:v>
                </c:pt>
                <c:pt idx="3599">
                  <c:v>43042</c:v>
                </c:pt>
                <c:pt idx="3600">
                  <c:v>43045</c:v>
                </c:pt>
                <c:pt idx="3601">
                  <c:v>43046</c:v>
                </c:pt>
                <c:pt idx="3602">
                  <c:v>43047</c:v>
                </c:pt>
                <c:pt idx="3603">
                  <c:v>43048</c:v>
                </c:pt>
                <c:pt idx="3604">
                  <c:v>43049</c:v>
                </c:pt>
                <c:pt idx="3605">
                  <c:v>43052</c:v>
                </c:pt>
                <c:pt idx="3606">
                  <c:v>43053</c:v>
                </c:pt>
                <c:pt idx="3607">
                  <c:v>43054</c:v>
                </c:pt>
                <c:pt idx="3608">
                  <c:v>43055</c:v>
                </c:pt>
                <c:pt idx="3609">
                  <c:v>43056</c:v>
                </c:pt>
                <c:pt idx="3610">
                  <c:v>43059</c:v>
                </c:pt>
                <c:pt idx="3611">
                  <c:v>43060</c:v>
                </c:pt>
                <c:pt idx="3612">
                  <c:v>43061</c:v>
                </c:pt>
                <c:pt idx="3613">
                  <c:v>43062</c:v>
                </c:pt>
                <c:pt idx="3614">
                  <c:v>43063</c:v>
                </c:pt>
                <c:pt idx="3615">
                  <c:v>43066</c:v>
                </c:pt>
                <c:pt idx="3616">
                  <c:v>43067</c:v>
                </c:pt>
                <c:pt idx="3617">
                  <c:v>43068</c:v>
                </c:pt>
                <c:pt idx="3618">
                  <c:v>43069</c:v>
                </c:pt>
                <c:pt idx="3619">
                  <c:v>43070</c:v>
                </c:pt>
                <c:pt idx="3620">
                  <c:v>43073</c:v>
                </c:pt>
                <c:pt idx="3621">
                  <c:v>43074</c:v>
                </c:pt>
                <c:pt idx="3622">
                  <c:v>43075</c:v>
                </c:pt>
                <c:pt idx="3623">
                  <c:v>43076</c:v>
                </c:pt>
                <c:pt idx="3624">
                  <c:v>43077</c:v>
                </c:pt>
                <c:pt idx="3625">
                  <c:v>43080</c:v>
                </c:pt>
                <c:pt idx="3626">
                  <c:v>43081</c:v>
                </c:pt>
                <c:pt idx="3627">
                  <c:v>43082</c:v>
                </c:pt>
                <c:pt idx="3628">
                  <c:v>43083</c:v>
                </c:pt>
                <c:pt idx="3629">
                  <c:v>43084</c:v>
                </c:pt>
                <c:pt idx="3630">
                  <c:v>43087</c:v>
                </c:pt>
                <c:pt idx="3631">
                  <c:v>43088</c:v>
                </c:pt>
                <c:pt idx="3632">
                  <c:v>43089</c:v>
                </c:pt>
                <c:pt idx="3633">
                  <c:v>43090</c:v>
                </c:pt>
                <c:pt idx="3634">
                  <c:v>43091</c:v>
                </c:pt>
                <c:pt idx="3635">
                  <c:v>43094</c:v>
                </c:pt>
                <c:pt idx="3636">
                  <c:v>43095</c:v>
                </c:pt>
                <c:pt idx="3637">
                  <c:v>43096</c:v>
                </c:pt>
                <c:pt idx="3638">
                  <c:v>43097</c:v>
                </c:pt>
                <c:pt idx="3639">
                  <c:v>43098</c:v>
                </c:pt>
                <c:pt idx="3640">
                  <c:v>43101</c:v>
                </c:pt>
                <c:pt idx="3641">
                  <c:v>43102</c:v>
                </c:pt>
                <c:pt idx="3642">
                  <c:v>43103</c:v>
                </c:pt>
                <c:pt idx="3643">
                  <c:v>43104</c:v>
                </c:pt>
                <c:pt idx="3644">
                  <c:v>43105</c:v>
                </c:pt>
                <c:pt idx="3645">
                  <c:v>43108</c:v>
                </c:pt>
                <c:pt idx="3646">
                  <c:v>43109</c:v>
                </c:pt>
                <c:pt idx="3647">
                  <c:v>43110</c:v>
                </c:pt>
                <c:pt idx="3648">
                  <c:v>43111</c:v>
                </c:pt>
                <c:pt idx="3649">
                  <c:v>43112</c:v>
                </c:pt>
                <c:pt idx="3650">
                  <c:v>43115</c:v>
                </c:pt>
                <c:pt idx="3651">
                  <c:v>43116</c:v>
                </c:pt>
                <c:pt idx="3652">
                  <c:v>43117</c:v>
                </c:pt>
                <c:pt idx="3653">
                  <c:v>43118</c:v>
                </c:pt>
                <c:pt idx="3654">
                  <c:v>43119</c:v>
                </c:pt>
                <c:pt idx="3655">
                  <c:v>43122</c:v>
                </c:pt>
                <c:pt idx="3656">
                  <c:v>43123</c:v>
                </c:pt>
                <c:pt idx="3657">
                  <c:v>43124</c:v>
                </c:pt>
                <c:pt idx="3658">
                  <c:v>43125</c:v>
                </c:pt>
                <c:pt idx="3659">
                  <c:v>43126</c:v>
                </c:pt>
                <c:pt idx="3660">
                  <c:v>43129</c:v>
                </c:pt>
                <c:pt idx="3661">
                  <c:v>43130</c:v>
                </c:pt>
                <c:pt idx="3662">
                  <c:v>43131</c:v>
                </c:pt>
                <c:pt idx="3663">
                  <c:v>43132</c:v>
                </c:pt>
                <c:pt idx="3664">
                  <c:v>43133</c:v>
                </c:pt>
                <c:pt idx="3665">
                  <c:v>43136</c:v>
                </c:pt>
                <c:pt idx="3666">
                  <c:v>43137</c:v>
                </c:pt>
                <c:pt idx="3667">
                  <c:v>43138</c:v>
                </c:pt>
                <c:pt idx="3668">
                  <c:v>43139</c:v>
                </c:pt>
                <c:pt idx="3669">
                  <c:v>43140</c:v>
                </c:pt>
                <c:pt idx="3670">
                  <c:v>43143</c:v>
                </c:pt>
                <c:pt idx="3671">
                  <c:v>43144</c:v>
                </c:pt>
                <c:pt idx="3672">
                  <c:v>43145</c:v>
                </c:pt>
                <c:pt idx="3673">
                  <c:v>43146</c:v>
                </c:pt>
                <c:pt idx="3674">
                  <c:v>43147</c:v>
                </c:pt>
                <c:pt idx="3675">
                  <c:v>43150</c:v>
                </c:pt>
                <c:pt idx="3676">
                  <c:v>43151</c:v>
                </c:pt>
                <c:pt idx="3677">
                  <c:v>43152</c:v>
                </c:pt>
                <c:pt idx="3678">
                  <c:v>43153</c:v>
                </c:pt>
                <c:pt idx="3679">
                  <c:v>43154</c:v>
                </c:pt>
                <c:pt idx="3680">
                  <c:v>43157</c:v>
                </c:pt>
                <c:pt idx="3681">
                  <c:v>43158</c:v>
                </c:pt>
                <c:pt idx="3682">
                  <c:v>43159</c:v>
                </c:pt>
                <c:pt idx="3683">
                  <c:v>43160</c:v>
                </c:pt>
                <c:pt idx="3684">
                  <c:v>43161</c:v>
                </c:pt>
                <c:pt idx="3685">
                  <c:v>43164</c:v>
                </c:pt>
                <c:pt idx="3686">
                  <c:v>43165</c:v>
                </c:pt>
                <c:pt idx="3687">
                  <c:v>43166</c:v>
                </c:pt>
                <c:pt idx="3688">
                  <c:v>43167</c:v>
                </c:pt>
                <c:pt idx="3689">
                  <c:v>43168</c:v>
                </c:pt>
                <c:pt idx="3690">
                  <c:v>43171</c:v>
                </c:pt>
                <c:pt idx="3691">
                  <c:v>43172</c:v>
                </c:pt>
                <c:pt idx="3692">
                  <c:v>43173</c:v>
                </c:pt>
                <c:pt idx="3693">
                  <c:v>43174</c:v>
                </c:pt>
                <c:pt idx="3694">
                  <c:v>43175</c:v>
                </c:pt>
                <c:pt idx="3695">
                  <c:v>43178</c:v>
                </c:pt>
                <c:pt idx="3696">
                  <c:v>43179</c:v>
                </c:pt>
                <c:pt idx="3697">
                  <c:v>43180</c:v>
                </c:pt>
                <c:pt idx="3698">
                  <c:v>43181</c:v>
                </c:pt>
                <c:pt idx="3699">
                  <c:v>43182</c:v>
                </c:pt>
                <c:pt idx="3700">
                  <c:v>43185</c:v>
                </c:pt>
                <c:pt idx="3701">
                  <c:v>43186</c:v>
                </c:pt>
                <c:pt idx="3702">
                  <c:v>43187</c:v>
                </c:pt>
                <c:pt idx="3703">
                  <c:v>43188</c:v>
                </c:pt>
                <c:pt idx="3704">
                  <c:v>43189</c:v>
                </c:pt>
                <c:pt idx="3705">
                  <c:v>43192</c:v>
                </c:pt>
                <c:pt idx="3706">
                  <c:v>43193</c:v>
                </c:pt>
                <c:pt idx="3707">
                  <c:v>43194</c:v>
                </c:pt>
                <c:pt idx="3708">
                  <c:v>43195</c:v>
                </c:pt>
                <c:pt idx="3709">
                  <c:v>43196</c:v>
                </c:pt>
                <c:pt idx="3710">
                  <c:v>43199</c:v>
                </c:pt>
                <c:pt idx="3711">
                  <c:v>43200</c:v>
                </c:pt>
                <c:pt idx="3712">
                  <c:v>43201</c:v>
                </c:pt>
                <c:pt idx="3713">
                  <c:v>43202</c:v>
                </c:pt>
                <c:pt idx="3714">
                  <c:v>43203</c:v>
                </c:pt>
                <c:pt idx="3715">
                  <c:v>43206</c:v>
                </c:pt>
                <c:pt idx="3716">
                  <c:v>43207</c:v>
                </c:pt>
                <c:pt idx="3717">
                  <c:v>43208</c:v>
                </c:pt>
                <c:pt idx="3718">
                  <c:v>43209</c:v>
                </c:pt>
                <c:pt idx="3719">
                  <c:v>43210</c:v>
                </c:pt>
                <c:pt idx="3720">
                  <c:v>43213</c:v>
                </c:pt>
                <c:pt idx="3721">
                  <c:v>43214</c:v>
                </c:pt>
                <c:pt idx="3722">
                  <c:v>43215</c:v>
                </c:pt>
                <c:pt idx="3723">
                  <c:v>43216</c:v>
                </c:pt>
                <c:pt idx="3724">
                  <c:v>43217</c:v>
                </c:pt>
                <c:pt idx="3725">
                  <c:v>43220</c:v>
                </c:pt>
                <c:pt idx="3726">
                  <c:v>43221</c:v>
                </c:pt>
                <c:pt idx="3727">
                  <c:v>43222</c:v>
                </c:pt>
                <c:pt idx="3728">
                  <c:v>43223</c:v>
                </c:pt>
                <c:pt idx="3729">
                  <c:v>43224</c:v>
                </c:pt>
                <c:pt idx="3730">
                  <c:v>43227</c:v>
                </c:pt>
                <c:pt idx="3731">
                  <c:v>43228</c:v>
                </c:pt>
                <c:pt idx="3732">
                  <c:v>43229</c:v>
                </c:pt>
                <c:pt idx="3733">
                  <c:v>43230</c:v>
                </c:pt>
                <c:pt idx="3734">
                  <c:v>43231</c:v>
                </c:pt>
                <c:pt idx="3735">
                  <c:v>43234</c:v>
                </c:pt>
                <c:pt idx="3736">
                  <c:v>43235</c:v>
                </c:pt>
                <c:pt idx="3737">
                  <c:v>43236</c:v>
                </c:pt>
                <c:pt idx="3738">
                  <c:v>43237</c:v>
                </c:pt>
                <c:pt idx="3739">
                  <c:v>43238</c:v>
                </c:pt>
                <c:pt idx="3740">
                  <c:v>43241</c:v>
                </c:pt>
                <c:pt idx="3741">
                  <c:v>43242</c:v>
                </c:pt>
                <c:pt idx="3742">
                  <c:v>43243</c:v>
                </c:pt>
                <c:pt idx="3743">
                  <c:v>43244</c:v>
                </c:pt>
                <c:pt idx="3744">
                  <c:v>43245</c:v>
                </c:pt>
                <c:pt idx="3745">
                  <c:v>43248</c:v>
                </c:pt>
                <c:pt idx="3746">
                  <c:v>43249</c:v>
                </c:pt>
                <c:pt idx="3747">
                  <c:v>43250</c:v>
                </c:pt>
                <c:pt idx="3748">
                  <c:v>43251</c:v>
                </c:pt>
                <c:pt idx="3749">
                  <c:v>43252</c:v>
                </c:pt>
                <c:pt idx="3750">
                  <c:v>43255</c:v>
                </c:pt>
                <c:pt idx="3751">
                  <c:v>43256</c:v>
                </c:pt>
                <c:pt idx="3752">
                  <c:v>43257</c:v>
                </c:pt>
                <c:pt idx="3753">
                  <c:v>43258</c:v>
                </c:pt>
                <c:pt idx="3754">
                  <c:v>43259</c:v>
                </c:pt>
                <c:pt idx="3755">
                  <c:v>43262</c:v>
                </c:pt>
                <c:pt idx="3756">
                  <c:v>43263</c:v>
                </c:pt>
                <c:pt idx="3757">
                  <c:v>43264</c:v>
                </c:pt>
                <c:pt idx="3758">
                  <c:v>43265</c:v>
                </c:pt>
                <c:pt idx="3759">
                  <c:v>43266</c:v>
                </c:pt>
                <c:pt idx="3760">
                  <c:v>43269</c:v>
                </c:pt>
                <c:pt idx="3761">
                  <c:v>43270</c:v>
                </c:pt>
                <c:pt idx="3762">
                  <c:v>43271</c:v>
                </c:pt>
                <c:pt idx="3763">
                  <c:v>43272</c:v>
                </c:pt>
                <c:pt idx="3764">
                  <c:v>43273</c:v>
                </c:pt>
                <c:pt idx="3765">
                  <c:v>43276</c:v>
                </c:pt>
                <c:pt idx="3766">
                  <c:v>43277</c:v>
                </c:pt>
                <c:pt idx="3767">
                  <c:v>43278</c:v>
                </c:pt>
                <c:pt idx="3768">
                  <c:v>43279</c:v>
                </c:pt>
                <c:pt idx="3769">
                  <c:v>43280</c:v>
                </c:pt>
                <c:pt idx="3770">
                  <c:v>43283</c:v>
                </c:pt>
                <c:pt idx="3771">
                  <c:v>43284</c:v>
                </c:pt>
                <c:pt idx="3772">
                  <c:v>43285</c:v>
                </c:pt>
                <c:pt idx="3773">
                  <c:v>43286</c:v>
                </c:pt>
                <c:pt idx="3774">
                  <c:v>43287</c:v>
                </c:pt>
                <c:pt idx="3775">
                  <c:v>43290</c:v>
                </c:pt>
                <c:pt idx="3776">
                  <c:v>43291</c:v>
                </c:pt>
                <c:pt idx="3777">
                  <c:v>43292</c:v>
                </c:pt>
                <c:pt idx="3778">
                  <c:v>43293</c:v>
                </c:pt>
                <c:pt idx="3779">
                  <c:v>43294</c:v>
                </c:pt>
                <c:pt idx="3780">
                  <c:v>43297</c:v>
                </c:pt>
                <c:pt idx="3781">
                  <c:v>43298</c:v>
                </c:pt>
                <c:pt idx="3782">
                  <c:v>43299</c:v>
                </c:pt>
                <c:pt idx="3783">
                  <c:v>43300</c:v>
                </c:pt>
                <c:pt idx="3784">
                  <c:v>43301</c:v>
                </c:pt>
                <c:pt idx="3785">
                  <c:v>43304</c:v>
                </c:pt>
                <c:pt idx="3786">
                  <c:v>43305</c:v>
                </c:pt>
                <c:pt idx="3787">
                  <c:v>43306</c:v>
                </c:pt>
                <c:pt idx="3788">
                  <c:v>43307</c:v>
                </c:pt>
                <c:pt idx="3789">
                  <c:v>43308</c:v>
                </c:pt>
                <c:pt idx="3790">
                  <c:v>43311</c:v>
                </c:pt>
                <c:pt idx="3791">
                  <c:v>43312</c:v>
                </c:pt>
                <c:pt idx="3792">
                  <c:v>43313</c:v>
                </c:pt>
                <c:pt idx="3793">
                  <c:v>43314</c:v>
                </c:pt>
                <c:pt idx="3794">
                  <c:v>43315</c:v>
                </c:pt>
                <c:pt idx="3795">
                  <c:v>43318</c:v>
                </c:pt>
                <c:pt idx="3796">
                  <c:v>43319</c:v>
                </c:pt>
                <c:pt idx="3797">
                  <c:v>43320</c:v>
                </c:pt>
                <c:pt idx="3798">
                  <c:v>43321</c:v>
                </c:pt>
                <c:pt idx="3799">
                  <c:v>43322</c:v>
                </c:pt>
                <c:pt idx="3800">
                  <c:v>43325</c:v>
                </c:pt>
                <c:pt idx="3801">
                  <c:v>43326</c:v>
                </c:pt>
                <c:pt idx="3802">
                  <c:v>43327</c:v>
                </c:pt>
                <c:pt idx="3803">
                  <c:v>43328</c:v>
                </c:pt>
                <c:pt idx="3804">
                  <c:v>43329</c:v>
                </c:pt>
                <c:pt idx="3805">
                  <c:v>43332</c:v>
                </c:pt>
                <c:pt idx="3806">
                  <c:v>43333</c:v>
                </c:pt>
                <c:pt idx="3807">
                  <c:v>43334</c:v>
                </c:pt>
                <c:pt idx="3808">
                  <c:v>43335</c:v>
                </c:pt>
                <c:pt idx="3809">
                  <c:v>43336</c:v>
                </c:pt>
                <c:pt idx="3810">
                  <c:v>43339</c:v>
                </c:pt>
                <c:pt idx="3811">
                  <c:v>43340</c:v>
                </c:pt>
                <c:pt idx="3812">
                  <c:v>43341</c:v>
                </c:pt>
                <c:pt idx="3813">
                  <c:v>43342</c:v>
                </c:pt>
                <c:pt idx="3814">
                  <c:v>43343</c:v>
                </c:pt>
                <c:pt idx="3815">
                  <c:v>43346</c:v>
                </c:pt>
                <c:pt idx="3816">
                  <c:v>43347</c:v>
                </c:pt>
                <c:pt idx="3817">
                  <c:v>43348</c:v>
                </c:pt>
                <c:pt idx="3818">
                  <c:v>43349</c:v>
                </c:pt>
                <c:pt idx="3819">
                  <c:v>43350</c:v>
                </c:pt>
                <c:pt idx="3820">
                  <c:v>43353</c:v>
                </c:pt>
                <c:pt idx="3821">
                  <c:v>43354</c:v>
                </c:pt>
                <c:pt idx="3822">
                  <c:v>43355</c:v>
                </c:pt>
                <c:pt idx="3823">
                  <c:v>43356</c:v>
                </c:pt>
                <c:pt idx="3824">
                  <c:v>43357</c:v>
                </c:pt>
                <c:pt idx="3825">
                  <c:v>43360</c:v>
                </c:pt>
                <c:pt idx="3826">
                  <c:v>43361</c:v>
                </c:pt>
                <c:pt idx="3827">
                  <c:v>43362</c:v>
                </c:pt>
                <c:pt idx="3828">
                  <c:v>43363</c:v>
                </c:pt>
                <c:pt idx="3829">
                  <c:v>43364</c:v>
                </c:pt>
                <c:pt idx="3830">
                  <c:v>43367</c:v>
                </c:pt>
                <c:pt idx="3831">
                  <c:v>43368</c:v>
                </c:pt>
                <c:pt idx="3832">
                  <c:v>43369</c:v>
                </c:pt>
                <c:pt idx="3833">
                  <c:v>43370</c:v>
                </c:pt>
                <c:pt idx="3834">
                  <c:v>43371</c:v>
                </c:pt>
                <c:pt idx="3835">
                  <c:v>43374</c:v>
                </c:pt>
                <c:pt idx="3836">
                  <c:v>43375</c:v>
                </c:pt>
                <c:pt idx="3837">
                  <c:v>43376</c:v>
                </c:pt>
                <c:pt idx="3838">
                  <c:v>43377</c:v>
                </c:pt>
                <c:pt idx="3839">
                  <c:v>43378</c:v>
                </c:pt>
                <c:pt idx="3840">
                  <c:v>43381</c:v>
                </c:pt>
                <c:pt idx="3841">
                  <c:v>43382</c:v>
                </c:pt>
                <c:pt idx="3842">
                  <c:v>43383</c:v>
                </c:pt>
                <c:pt idx="3843">
                  <c:v>43384</c:v>
                </c:pt>
                <c:pt idx="3844">
                  <c:v>43385</c:v>
                </c:pt>
                <c:pt idx="3845">
                  <c:v>43388</c:v>
                </c:pt>
                <c:pt idx="3846">
                  <c:v>43389</c:v>
                </c:pt>
                <c:pt idx="3847">
                  <c:v>43390</c:v>
                </c:pt>
                <c:pt idx="3848">
                  <c:v>43391</c:v>
                </c:pt>
                <c:pt idx="3849">
                  <c:v>43392</c:v>
                </c:pt>
                <c:pt idx="3850">
                  <c:v>43395</c:v>
                </c:pt>
                <c:pt idx="3851">
                  <c:v>43396</c:v>
                </c:pt>
                <c:pt idx="3852">
                  <c:v>43397</c:v>
                </c:pt>
                <c:pt idx="3853">
                  <c:v>43398</c:v>
                </c:pt>
                <c:pt idx="3854">
                  <c:v>43399</c:v>
                </c:pt>
                <c:pt idx="3855">
                  <c:v>43402</c:v>
                </c:pt>
                <c:pt idx="3856">
                  <c:v>43403</c:v>
                </c:pt>
                <c:pt idx="3857">
                  <c:v>43404</c:v>
                </c:pt>
                <c:pt idx="3858">
                  <c:v>43405</c:v>
                </c:pt>
                <c:pt idx="3859">
                  <c:v>43406</c:v>
                </c:pt>
                <c:pt idx="3860">
                  <c:v>43409</c:v>
                </c:pt>
                <c:pt idx="3861">
                  <c:v>43410</c:v>
                </c:pt>
                <c:pt idx="3862">
                  <c:v>43411</c:v>
                </c:pt>
                <c:pt idx="3863">
                  <c:v>43412</c:v>
                </c:pt>
                <c:pt idx="3864">
                  <c:v>43413</c:v>
                </c:pt>
                <c:pt idx="3865">
                  <c:v>43416</c:v>
                </c:pt>
                <c:pt idx="3866">
                  <c:v>43417</c:v>
                </c:pt>
                <c:pt idx="3867">
                  <c:v>43418</c:v>
                </c:pt>
                <c:pt idx="3868">
                  <c:v>43419</c:v>
                </c:pt>
                <c:pt idx="3869">
                  <c:v>43420</c:v>
                </c:pt>
                <c:pt idx="3870">
                  <c:v>43423</c:v>
                </c:pt>
                <c:pt idx="3871">
                  <c:v>43424</c:v>
                </c:pt>
                <c:pt idx="3872">
                  <c:v>43425</c:v>
                </c:pt>
                <c:pt idx="3873">
                  <c:v>43426</c:v>
                </c:pt>
                <c:pt idx="3874">
                  <c:v>43427</c:v>
                </c:pt>
                <c:pt idx="3875">
                  <c:v>43430</c:v>
                </c:pt>
                <c:pt idx="3876">
                  <c:v>43431</c:v>
                </c:pt>
                <c:pt idx="3877">
                  <c:v>43432</c:v>
                </c:pt>
                <c:pt idx="3878">
                  <c:v>43433</c:v>
                </c:pt>
                <c:pt idx="3879">
                  <c:v>43434</c:v>
                </c:pt>
                <c:pt idx="3880">
                  <c:v>43437</c:v>
                </c:pt>
                <c:pt idx="3881">
                  <c:v>43438</c:v>
                </c:pt>
                <c:pt idx="3882">
                  <c:v>43439</c:v>
                </c:pt>
                <c:pt idx="3883">
                  <c:v>43440</c:v>
                </c:pt>
                <c:pt idx="3884">
                  <c:v>43441</c:v>
                </c:pt>
                <c:pt idx="3885">
                  <c:v>43444</c:v>
                </c:pt>
                <c:pt idx="3886">
                  <c:v>43445</c:v>
                </c:pt>
                <c:pt idx="3887">
                  <c:v>43446</c:v>
                </c:pt>
                <c:pt idx="3888">
                  <c:v>43447</c:v>
                </c:pt>
                <c:pt idx="3889">
                  <c:v>43448</c:v>
                </c:pt>
                <c:pt idx="3890">
                  <c:v>43451</c:v>
                </c:pt>
                <c:pt idx="3891">
                  <c:v>43452</c:v>
                </c:pt>
                <c:pt idx="3892">
                  <c:v>43453</c:v>
                </c:pt>
                <c:pt idx="3893">
                  <c:v>43454</c:v>
                </c:pt>
                <c:pt idx="3894">
                  <c:v>43455</c:v>
                </c:pt>
                <c:pt idx="3895">
                  <c:v>43458</c:v>
                </c:pt>
                <c:pt idx="3896">
                  <c:v>43459</c:v>
                </c:pt>
                <c:pt idx="3897">
                  <c:v>43460</c:v>
                </c:pt>
                <c:pt idx="3898">
                  <c:v>43461</c:v>
                </c:pt>
                <c:pt idx="3899">
                  <c:v>43462</c:v>
                </c:pt>
                <c:pt idx="3900">
                  <c:v>43465</c:v>
                </c:pt>
                <c:pt idx="3901">
                  <c:v>43466</c:v>
                </c:pt>
                <c:pt idx="3902">
                  <c:v>43467</c:v>
                </c:pt>
                <c:pt idx="3903">
                  <c:v>43468</c:v>
                </c:pt>
                <c:pt idx="3904">
                  <c:v>43469</c:v>
                </c:pt>
                <c:pt idx="3905">
                  <c:v>43472</c:v>
                </c:pt>
                <c:pt idx="3906">
                  <c:v>43473</c:v>
                </c:pt>
                <c:pt idx="3907">
                  <c:v>43474</c:v>
                </c:pt>
                <c:pt idx="3908">
                  <c:v>43475</c:v>
                </c:pt>
                <c:pt idx="3909">
                  <c:v>43476</c:v>
                </c:pt>
                <c:pt idx="3910">
                  <c:v>43479</c:v>
                </c:pt>
                <c:pt idx="3911">
                  <c:v>43480</c:v>
                </c:pt>
                <c:pt idx="3912">
                  <c:v>43481</c:v>
                </c:pt>
                <c:pt idx="3913">
                  <c:v>43482</c:v>
                </c:pt>
                <c:pt idx="3914">
                  <c:v>43483</c:v>
                </c:pt>
                <c:pt idx="3915">
                  <c:v>43486</c:v>
                </c:pt>
                <c:pt idx="3916">
                  <c:v>43487</c:v>
                </c:pt>
                <c:pt idx="3917">
                  <c:v>43488</c:v>
                </c:pt>
                <c:pt idx="3918">
                  <c:v>43489</c:v>
                </c:pt>
                <c:pt idx="3919">
                  <c:v>43490</c:v>
                </c:pt>
                <c:pt idx="3920">
                  <c:v>43493</c:v>
                </c:pt>
                <c:pt idx="3921">
                  <c:v>43494</c:v>
                </c:pt>
                <c:pt idx="3922">
                  <c:v>43495</c:v>
                </c:pt>
                <c:pt idx="3923">
                  <c:v>43496</c:v>
                </c:pt>
                <c:pt idx="3924">
                  <c:v>43497</c:v>
                </c:pt>
                <c:pt idx="3925">
                  <c:v>43500</c:v>
                </c:pt>
                <c:pt idx="3926">
                  <c:v>43501</c:v>
                </c:pt>
                <c:pt idx="3927">
                  <c:v>43502</c:v>
                </c:pt>
                <c:pt idx="3928">
                  <c:v>43503</c:v>
                </c:pt>
                <c:pt idx="3929">
                  <c:v>43504</c:v>
                </c:pt>
                <c:pt idx="3930">
                  <c:v>43507</c:v>
                </c:pt>
                <c:pt idx="3931">
                  <c:v>43508</c:v>
                </c:pt>
                <c:pt idx="3932">
                  <c:v>43509</c:v>
                </c:pt>
                <c:pt idx="3933">
                  <c:v>43510</c:v>
                </c:pt>
                <c:pt idx="3934">
                  <c:v>43511</c:v>
                </c:pt>
                <c:pt idx="3935">
                  <c:v>43514</c:v>
                </c:pt>
                <c:pt idx="3936">
                  <c:v>43515</c:v>
                </c:pt>
                <c:pt idx="3937">
                  <c:v>43516</c:v>
                </c:pt>
                <c:pt idx="3938">
                  <c:v>43517</c:v>
                </c:pt>
                <c:pt idx="3939">
                  <c:v>43518</c:v>
                </c:pt>
                <c:pt idx="3940">
                  <c:v>43521</c:v>
                </c:pt>
                <c:pt idx="3941">
                  <c:v>43522</c:v>
                </c:pt>
                <c:pt idx="3942">
                  <c:v>43523</c:v>
                </c:pt>
                <c:pt idx="3943">
                  <c:v>43524</c:v>
                </c:pt>
                <c:pt idx="3944">
                  <c:v>43525</c:v>
                </c:pt>
                <c:pt idx="3945">
                  <c:v>43528</c:v>
                </c:pt>
                <c:pt idx="3946">
                  <c:v>43529</c:v>
                </c:pt>
                <c:pt idx="3947">
                  <c:v>43530</c:v>
                </c:pt>
                <c:pt idx="3948">
                  <c:v>43531</c:v>
                </c:pt>
                <c:pt idx="3949">
                  <c:v>43532</c:v>
                </c:pt>
                <c:pt idx="3950">
                  <c:v>43535</c:v>
                </c:pt>
                <c:pt idx="3951">
                  <c:v>43536</c:v>
                </c:pt>
                <c:pt idx="3952">
                  <c:v>43537</c:v>
                </c:pt>
                <c:pt idx="3953">
                  <c:v>43538</c:v>
                </c:pt>
                <c:pt idx="3954">
                  <c:v>43539</c:v>
                </c:pt>
                <c:pt idx="3955">
                  <c:v>43542</c:v>
                </c:pt>
                <c:pt idx="3956">
                  <c:v>43543</c:v>
                </c:pt>
                <c:pt idx="3957">
                  <c:v>43544</c:v>
                </c:pt>
                <c:pt idx="3958">
                  <c:v>43545</c:v>
                </c:pt>
                <c:pt idx="3959">
                  <c:v>43546</c:v>
                </c:pt>
                <c:pt idx="3960">
                  <c:v>43549</c:v>
                </c:pt>
                <c:pt idx="3961">
                  <c:v>43550</c:v>
                </c:pt>
                <c:pt idx="3962">
                  <c:v>43551</c:v>
                </c:pt>
                <c:pt idx="3963">
                  <c:v>43552</c:v>
                </c:pt>
                <c:pt idx="3964">
                  <c:v>43553</c:v>
                </c:pt>
                <c:pt idx="3965">
                  <c:v>43556</c:v>
                </c:pt>
                <c:pt idx="3966">
                  <c:v>43557</c:v>
                </c:pt>
                <c:pt idx="3967">
                  <c:v>43558</c:v>
                </c:pt>
                <c:pt idx="3968">
                  <c:v>43559</c:v>
                </c:pt>
                <c:pt idx="3969">
                  <c:v>43560</c:v>
                </c:pt>
                <c:pt idx="3970">
                  <c:v>43563</c:v>
                </c:pt>
                <c:pt idx="3971">
                  <c:v>43564</c:v>
                </c:pt>
                <c:pt idx="3972">
                  <c:v>43565</c:v>
                </c:pt>
                <c:pt idx="3973">
                  <c:v>43566</c:v>
                </c:pt>
                <c:pt idx="3974">
                  <c:v>43567</c:v>
                </c:pt>
                <c:pt idx="3975">
                  <c:v>43570</c:v>
                </c:pt>
                <c:pt idx="3976">
                  <c:v>43571</c:v>
                </c:pt>
                <c:pt idx="3977">
                  <c:v>43572</c:v>
                </c:pt>
                <c:pt idx="3978">
                  <c:v>43573</c:v>
                </c:pt>
                <c:pt idx="3979">
                  <c:v>43574</c:v>
                </c:pt>
                <c:pt idx="3980">
                  <c:v>43577</c:v>
                </c:pt>
                <c:pt idx="3981">
                  <c:v>43578</c:v>
                </c:pt>
                <c:pt idx="3982">
                  <c:v>43579</c:v>
                </c:pt>
                <c:pt idx="3983">
                  <c:v>43580</c:v>
                </c:pt>
                <c:pt idx="3984">
                  <c:v>43581</c:v>
                </c:pt>
                <c:pt idx="3985">
                  <c:v>43584</c:v>
                </c:pt>
                <c:pt idx="3986">
                  <c:v>43585</c:v>
                </c:pt>
                <c:pt idx="3987">
                  <c:v>43586</c:v>
                </c:pt>
                <c:pt idx="3988">
                  <c:v>43587</c:v>
                </c:pt>
                <c:pt idx="3989">
                  <c:v>43588</c:v>
                </c:pt>
                <c:pt idx="3990">
                  <c:v>43591</c:v>
                </c:pt>
                <c:pt idx="3991">
                  <c:v>43592</c:v>
                </c:pt>
                <c:pt idx="3992">
                  <c:v>43593</c:v>
                </c:pt>
                <c:pt idx="3993">
                  <c:v>43594</c:v>
                </c:pt>
                <c:pt idx="3994">
                  <c:v>43595</c:v>
                </c:pt>
                <c:pt idx="3995">
                  <c:v>43598</c:v>
                </c:pt>
                <c:pt idx="3996">
                  <c:v>43599</c:v>
                </c:pt>
                <c:pt idx="3997">
                  <c:v>43600</c:v>
                </c:pt>
                <c:pt idx="3998">
                  <c:v>43601</c:v>
                </c:pt>
                <c:pt idx="3999">
                  <c:v>43602</c:v>
                </c:pt>
                <c:pt idx="4000">
                  <c:v>43605</c:v>
                </c:pt>
                <c:pt idx="4001">
                  <c:v>43606</c:v>
                </c:pt>
                <c:pt idx="4002">
                  <c:v>43607</c:v>
                </c:pt>
                <c:pt idx="4003">
                  <c:v>43608</c:v>
                </c:pt>
                <c:pt idx="4004">
                  <c:v>43609</c:v>
                </c:pt>
                <c:pt idx="4005">
                  <c:v>43612</c:v>
                </c:pt>
                <c:pt idx="4006">
                  <c:v>43613</c:v>
                </c:pt>
                <c:pt idx="4007">
                  <c:v>43614</c:v>
                </c:pt>
                <c:pt idx="4008">
                  <c:v>43615</c:v>
                </c:pt>
                <c:pt idx="4009">
                  <c:v>43616</c:v>
                </c:pt>
                <c:pt idx="4010">
                  <c:v>43619</c:v>
                </c:pt>
                <c:pt idx="4011">
                  <c:v>43620</c:v>
                </c:pt>
                <c:pt idx="4012">
                  <c:v>43621</c:v>
                </c:pt>
                <c:pt idx="4013">
                  <c:v>43622</c:v>
                </c:pt>
                <c:pt idx="4014">
                  <c:v>43623</c:v>
                </c:pt>
                <c:pt idx="4015">
                  <c:v>43626</c:v>
                </c:pt>
                <c:pt idx="4016">
                  <c:v>43627</c:v>
                </c:pt>
                <c:pt idx="4017">
                  <c:v>43628</c:v>
                </c:pt>
                <c:pt idx="4018">
                  <c:v>43629</c:v>
                </c:pt>
                <c:pt idx="4019">
                  <c:v>43630</c:v>
                </c:pt>
                <c:pt idx="4020">
                  <c:v>43633</c:v>
                </c:pt>
                <c:pt idx="4021">
                  <c:v>43634</c:v>
                </c:pt>
                <c:pt idx="4022">
                  <c:v>43635</c:v>
                </c:pt>
                <c:pt idx="4023">
                  <c:v>43636</c:v>
                </c:pt>
                <c:pt idx="4024">
                  <c:v>43637</c:v>
                </c:pt>
                <c:pt idx="4025">
                  <c:v>43640</c:v>
                </c:pt>
                <c:pt idx="4026">
                  <c:v>43641</c:v>
                </c:pt>
                <c:pt idx="4027">
                  <c:v>43642</c:v>
                </c:pt>
                <c:pt idx="4028">
                  <c:v>43643</c:v>
                </c:pt>
                <c:pt idx="4029">
                  <c:v>43644</c:v>
                </c:pt>
                <c:pt idx="4030">
                  <c:v>43647</c:v>
                </c:pt>
                <c:pt idx="4031">
                  <c:v>43648</c:v>
                </c:pt>
                <c:pt idx="4032">
                  <c:v>43649</c:v>
                </c:pt>
                <c:pt idx="4033">
                  <c:v>43650</c:v>
                </c:pt>
                <c:pt idx="4034">
                  <c:v>43651</c:v>
                </c:pt>
                <c:pt idx="4035">
                  <c:v>43654</c:v>
                </c:pt>
                <c:pt idx="4036">
                  <c:v>43655</c:v>
                </c:pt>
                <c:pt idx="4037">
                  <c:v>43656</c:v>
                </c:pt>
                <c:pt idx="4038">
                  <c:v>43657</c:v>
                </c:pt>
                <c:pt idx="4039">
                  <c:v>43658</c:v>
                </c:pt>
                <c:pt idx="4040">
                  <c:v>43661</c:v>
                </c:pt>
                <c:pt idx="4041">
                  <c:v>43662</c:v>
                </c:pt>
                <c:pt idx="4042">
                  <c:v>43663</c:v>
                </c:pt>
                <c:pt idx="4043">
                  <c:v>43664</c:v>
                </c:pt>
                <c:pt idx="4044">
                  <c:v>43665</c:v>
                </c:pt>
                <c:pt idx="4045">
                  <c:v>43668</c:v>
                </c:pt>
                <c:pt idx="4046">
                  <c:v>43669</c:v>
                </c:pt>
                <c:pt idx="4047">
                  <c:v>43670</c:v>
                </c:pt>
                <c:pt idx="4048">
                  <c:v>43671</c:v>
                </c:pt>
                <c:pt idx="4049">
                  <c:v>43672</c:v>
                </c:pt>
                <c:pt idx="4050">
                  <c:v>43675</c:v>
                </c:pt>
                <c:pt idx="4051">
                  <c:v>43676</c:v>
                </c:pt>
                <c:pt idx="4052">
                  <c:v>43677</c:v>
                </c:pt>
                <c:pt idx="4053">
                  <c:v>43678</c:v>
                </c:pt>
                <c:pt idx="4054">
                  <c:v>43679</c:v>
                </c:pt>
                <c:pt idx="4055">
                  <c:v>43682</c:v>
                </c:pt>
                <c:pt idx="4056">
                  <c:v>43683</c:v>
                </c:pt>
                <c:pt idx="4057">
                  <c:v>43684</c:v>
                </c:pt>
                <c:pt idx="4058">
                  <c:v>43685</c:v>
                </c:pt>
                <c:pt idx="4059">
                  <c:v>43686</c:v>
                </c:pt>
                <c:pt idx="4060">
                  <c:v>43689</c:v>
                </c:pt>
                <c:pt idx="4061">
                  <c:v>43690</c:v>
                </c:pt>
                <c:pt idx="4062">
                  <c:v>43691</c:v>
                </c:pt>
                <c:pt idx="4063">
                  <c:v>43692</c:v>
                </c:pt>
                <c:pt idx="4064">
                  <c:v>43693</c:v>
                </c:pt>
                <c:pt idx="4065">
                  <c:v>43696</c:v>
                </c:pt>
                <c:pt idx="4066">
                  <c:v>43697</c:v>
                </c:pt>
                <c:pt idx="4067">
                  <c:v>43698</c:v>
                </c:pt>
                <c:pt idx="4068">
                  <c:v>43699</c:v>
                </c:pt>
                <c:pt idx="4069">
                  <c:v>43700</c:v>
                </c:pt>
                <c:pt idx="4070">
                  <c:v>43703</c:v>
                </c:pt>
                <c:pt idx="4071">
                  <c:v>43704</c:v>
                </c:pt>
                <c:pt idx="4072">
                  <c:v>43705</c:v>
                </c:pt>
                <c:pt idx="4073">
                  <c:v>43706</c:v>
                </c:pt>
                <c:pt idx="4074">
                  <c:v>43707</c:v>
                </c:pt>
                <c:pt idx="4075">
                  <c:v>43710</c:v>
                </c:pt>
                <c:pt idx="4076">
                  <c:v>43711</c:v>
                </c:pt>
                <c:pt idx="4077">
                  <c:v>43712</c:v>
                </c:pt>
                <c:pt idx="4078">
                  <c:v>43713</c:v>
                </c:pt>
                <c:pt idx="4079">
                  <c:v>43714</c:v>
                </c:pt>
                <c:pt idx="4080">
                  <c:v>43717</c:v>
                </c:pt>
                <c:pt idx="4081">
                  <c:v>43718</c:v>
                </c:pt>
                <c:pt idx="4082">
                  <c:v>43719</c:v>
                </c:pt>
                <c:pt idx="4083">
                  <c:v>43720</c:v>
                </c:pt>
                <c:pt idx="4084">
                  <c:v>43721</c:v>
                </c:pt>
                <c:pt idx="4085">
                  <c:v>43724</c:v>
                </c:pt>
                <c:pt idx="4086">
                  <c:v>43725</c:v>
                </c:pt>
                <c:pt idx="4087">
                  <c:v>43726</c:v>
                </c:pt>
                <c:pt idx="4088">
                  <c:v>43727</c:v>
                </c:pt>
                <c:pt idx="4089">
                  <c:v>43728</c:v>
                </c:pt>
                <c:pt idx="4090">
                  <c:v>43731</c:v>
                </c:pt>
                <c:pt idx="4091">
                  <c:v>43732</c:v>
                </c:pt>
                <c:pt idx="4092">
                  <c:v>43733</c:v>
                </c:pt>
                <c:pt idx="4093">
                  <c:v>43734</c:v>
                </c:pt>
                <c:pt idx="4094">
                  <c:v>43735</c:v>
                </c:pt>
                <c:pt idx="4095">
                  <c:v>43738</c:v>
                </c:pt>
                <c:pt idx="4096">
                  <c:v>43739</c:v>
                </c:pt>
                <c:pt idx="4097">
                  <c:v>43740</c:v>
                </c:pt>
                <c:pt idx="4098">
                  <c:v>43741</c:v>
                </c:pt>
                <c:pt idx="4099">
                  <c:v>43742</c:v>
                </c:pt>
                <c:pt idx="4100">
                  <c:v>43745</c:v>
                </c:pt>
                <c:pt idx="4101">
                  <c:v>43746</c:v>
                </c:pt>
                <c:pt idx="4102">
                  <c:v>43747</c:v>
                </c:pt>
                <c:pt idx="4103">
                  <c:v>43748</c:v>
                </c:pt>
                <c:pt idx="4104">
                  <c:v>43749</c:v>
                </c:pt>
                <c:pt idx="4105">
                  <c:v>43752</c:v>
                </c:pt>
                <c:pt idx="4106">
                  <c:v>43753</c:v>
                </c:pt>
                <c:pt idx="4107">
                  <c:v>43754</c:v>
                </c:pt>
                <c:pt idx="4108">
                  <c:v>43755</c:v>
                </c:pt>
                <c:pt idx="4109">
                  <c:v>43756</c:v>
                </c:pt>
                <c:pt idx="4110">
                  <c:v>43759</c:v>
                </c:pt>
                <c:pt idx="4111">
                  <c:v>43760</c:v>
                </c:pt>
                <c:pt idx="4112">
                  <c:v>43761</c:v>
                </c:pt>
                <c:pt idx="4113">
                  <c:v>43762</c:v>
                </c:pt>
                <c:pt idx="4114">
                  <c:v>43763</c:v>
                </c:pt>
                <c:pt idx="4115">
                  <c:v>43766</c:v>
                </c:pt>
                <c:pt idx="4116">
                  <c:v>43767</c:v>
                </c:pt>
                <c:pt idx="4117">
                  <c:v>43768</c:v>
                </c:pt>
                <c:pt idx="4118">
                  <c:v>43769</c:v>
                </c:pt>
                <c:pt idx="4119">
                  <c:v>43770</c:v>
                </c:pt>
                <c:pt idx="4120">
                  <c:v>43773</c:v>
                </c:pt>
                <c:pt idx="4121">
                  <c:v>43774</c:v>
                </c:pt>
                <c:pt idx="4122">
                  <c:v>43775</c:v>
                </c:pt>
                <c:pt idx="4123">
                  <c:v>43776</c:v>
                </c:pt>
                <c:pt idx="4124">
                  <c:v>43777</c:v>
                </c:pt>
                <c:pt idx="4125">
                  <c:v>43780</c:v>
                </c:pt>
                <c:pt idx="4126">
                  <c:v>43781</c:v>
                </c:pt>
                <c:pt idx="4127">
                  <c:v>43782</c:v>
                </c:pt>
                <c:pt idx="4128">
                  <c:v>43783</c:v>
                </c:pt>
                <c:pt idx="4129">
                  <c:v>43784</c:v>
                </c:pt>
                <c:pt idx="4130">
                  <c:v>43787</c:v>
                </c:pt>
                <c:pt idx="4131">
                  <c:v>43788</c:v>
                </c:pt>
                <c:pt idx="4132">
                  <c:v>43789</c:v>
                </c:pt>
                <c:pt idx="4133">
                  <c:v>43790</c:v>
                </c:pt>
                <c:pt idx="4134">
                  <c:v>43791</c:v>
                </c:pt>
                <c:pt idx="4135">
                  <c:v>43794</c:v>
                </c:pt>
                <c:pt idx="4136">
                  <c:v>43795</c:v>
                </c:pt>
                <c:pt idx="4137">
                  <c:v>43796</c:v>
                </c:pt>
                <c:pt idx="4138">
                  <c:v>43797</c:v>
                </c:pt>
                <c:pt idx="4139">
                  <c:v>43798</c:v>
                </c:pt>
                <c:pt idx="4140">
                  <c:v>43801</c:v>
                </c:pt>
                <c:pt idx="4141">
                  <c:v>43802</c:v>
                </c:pt>
                <c:pt idx="4142">
                  <c:v>43803</c:v>
                </c:pt>
                <c:pt idx="4143">
                  <c:v>43804</c:v>
                </c:pt>
                <c:pt idx="4144">
                  <c:v>43805</c:v>
                </c:pt>
                <c:pt idx="4145">
                  <c:v>43808</c:v>
                </c:pt>
                <c:pt idx="4146">
                  <c:v>43809</c:v>
                </c:pt>
                <c:pt idx="4147">
                  <c:v>43810</c:v>
                </c:pt>
                <c:pt idx="4148">
                  <c:v>43811</c:v>
                </c:pt>
                <c:pt idx="4149">
                  <c:v>43812</c:v>
                </c:pt>
                <c:pt idx="4150">
                  <c:v>43815</c:v>
                </c:pt>
                <c:pt idx="4151">
                  <c:v>43816</c:v>
                </c:pt>
                <c:pt idx="4152">
                  <c:v>43817</c:v>
                </c:pt>
                <c:pt idx="4153">
                  <c:v>43818</c:v>
                </c:pt>
                <c:pt idx="4154">
                  <c:v>43819</c:v>
                </c:pt>
                <c:pt idx="4155">
                  <c:v>43822</c:v>
                </c:pt>
                <c:pt idx="4156">
                  <c:v>43823</c:v>
                </c:pt>
                <c:pt idx="4157">
                  <c:v>43824</c:v>
                </c:pt>
                <c:pt idx="4158">
                  <c:v>43825</c:v>
                </c:pt>
                <c:pt idx="4159">
                  <c:v>43826</c:v>
                </c:pt>
                <c:pt idx="4160">
                  <c:v>43829</c:v>
                </c:pt>
                <c:pt idx="4161">
                  <c:v>43830</c:v>
                </c:pt>
                <c:pt idx="4162">
                  <c:v>43831</c:v>
                </c:pt>
                <c:pt idx="4163">
                  <c:v>43832</c:v>
                </c:pt>
                <c:pt idx="4164">
                  <c:v>43833</c:v>
                </c:pt>
                <c:pt idx="4165">
                  <c:v>43836</c:v>
                </c:pt>
                <c:pt idx="4166">
                  <c:v>43837</c:v>
                </c:pt>
                <c:pt idx="4167">
                  <c:v>43838</c:v>
                </c:pt>
                <c:pt idx="4168">
                  <c:v>43839</c:v>
                </c:pt>
                <c:pt idx="4169">
                  <c:v>43840</c:v>
                </c:pt>
                <c:pt idx="4170">
                  <c:v>43843</c:v>
                </c:pt>
                <c:pt idx="4171">
                  <c:v>43844</c:v>
                </c:pt>
                <c:pt idx="4172">
                  <c:v>43845</c:v>
                </c:pt>
                <c:pt idx="4173">
                  <c:v>43846</c:v>
                </c:pt>
                <c:pt idx="4174">
                  <c:v>43847</c:v>
                </c:pt>
                <c:pt idx="4175">
                  <c:v>43850</c:v>
                </c:pt>
                <c:pt idx="4176">
                  <c:v>43851</c:v>
                </c:pt>
                <c:pt idx="4177">
                  <c:v>43852</c:v>
                </c:pt>
                <c:pt idx="4178">
                  <c:v>43853</c:v>
                </c:pt>
                <c:pt idx="4179">
                  <c:v>43854</c:v>
                </c:pt>
                <c:pt idx="4180">
                  <c:v>43857</c:v>
                </c:pt>
                <c:pt idx="4181">
                  <c:v>43858</c:v>
                </c:pt>
                <c:pt idx="4182">
                  <c:v>43859</c:v>
                </c:pt>
                <c:pt idx="4183">
                  <c:v>43860</c:v>
                </c:pt>
                <c:pt idx="4184">
                  <c:v>43861</c:v>
                </c:pt>
                <c:pt idx="4185">
                  <c:v>43864</c:v>
                </c:pt>
                <c:pt idx="4186">
                  <c:v>43865</c:v>
                </c:pt>
                <c:pt idx="4187">
                  <c:v>43866</c:v>
                </c:pt>
                <c:pt idx="4188">
                  <c:v>43867</c:v>
                </c:pt>
                <c:pt idx="4189">
                  <c:v>43868</c:v>
                </c:pt>
                <c:pt idx="4190">
                  <c:v>43871</c:v>
                </c:pt>
                <c:pt idx="4191">
                  <c:v>43872</c:v>
                </c:pt>
                <c:pt idx="4192">
                  <c:v>43873</c:v>
                </c:pt>
                <c:pt idx="4193">
                  <c:v>43874</c:v>
                </c:pt>
                <c:pt idx="4194">
                  <c:v>43875</c:v>
                </c:pt>
                <c:pt idx="4195">
                  <c:v>43878</c:v>
                </c:pt>
                <c:pt idx="4196">
                  <c:v>43879</c:v>
                </c:pt>
                <c:pt idx="4197">
                  <c:v>43880</c:v>
                </c:pt>
                <c:pt idx="4198">
                  <c:v>43881</c:v>
                </c:pt>
                <c:pt idx="4199">
                  <c:v>43882</c:v>
                </c:pt>
                <c:pt idx="4200">
                  <c:v>43885</c:v>
                </c:pt>
                <c:pt idx="4201">
                  <c:v>43886</c:v>
                </c:pt>
                <c:pt idx="4202">
                  <c:v>43887</c:v>
                </c:pt>
                <c:pt idx="4203">
                  <c:v>43888</c:v>
                </c:pt>
                <c:pt idx="4204">
                  <c:v>43889</c:v>
                </c:pt>
                <c:pt idx="4205">
                  <c:v>43892</c:v>
                </c:pt>
                <c:pt idx="4206">
                  <c:v>43893</c:v>
                </c:pt>
                <c:pt idx="4207">
                  <c:v>43894</c:v>
                </c:pt>
                <c:pt idx="4208">
                  <c:v>43895</c:v>
                </c:pt>
                <c:pt idx="4209">
                  <c:v>43896</c:v>
                </c:pt>
                <c:pt idx="4210">
                  <c:v>43899</c:v>
                </c:pt>
                <c:pt idx="4211">
                  <c:v>43900</c:v>
                </c:pt>
                <c:pt idx="4212">
                  <c:v>43901</c:v>
                </c:pt>
                <c:pt idx="4213">
                  <c:v>43902</c:v>
                </c:pt>
                <c:pt idx="4214">
                  <c:v>43903</c:v>
                </c:pt>
                <c:pt idx="4215">
                  <c:v>43906</c:v>
                </c:pt>
                <c:pt idx="4216">
                  <c:v>43907</c:v>
                </c:pt>
                <c:pt idx="4217">
                  <c:v>43908</c:v>
                </c:pt>
                <c:pt idx="4218">
                  <c:v>43909</c:v>
                </c:pt>
                <c:pt idx="4219">
                  <c:v>43910</c:v>
                </c:pt>
                <c:pt idx="4220">
                  <c:v>43913</c:v>
                </c:pt>
                <c:pt idx="4221">
                  <c:v>43914</c:v>
                </c:pt>
                <c:pt idx="4222">
                  <c:v>43915</c:v>
                </c:pt>
                <c:pt idx="4223">
                  <c:v>43916</c:v>
                </c:pt>
                <c:pt idx="4224">
                  <c:v>43917</c:v>
                </c:pt>
                <c:pt idx="4225">
                  <c:v>43920</c:v>
                </c:pt>
                <c:pt idx="4226">
                  <c:v>43921</c:v>
                </c:pt>
                <c:pt idx="4227">
                  <c:v>43922</c:v>
                </c:pt>
                <c:pt idx="4228">
                  <c:v>43923</c:v>
                </c:pt>
                <c:pt idx="4229">
                  <c:v>43924</c:v>
                </c:pt>
                <c:pt idx="4230">
                  <c:v>43927</c:v>
                </c:pt>
                <c:pt idx="4231">
                  <c:v>43928</c:v>
                </c:pt>
                <c:pt idx="4232">
                  <c:v>43929</c:v>
                </c:pt>
                <c:pt idx="4233">
                  <c:v>43930</c:v>
                </c:pt>
                <c:pt idx="4234">
                  <c:v>43931</c:v>
                </c:pt>
                <c:pt idx="4235">
                  <c:v>43934</c:v>
                </c:pt>
                <c:pt idx="4236">
                  <c:v>43935</c:v>
                </c:pt>
                <c:pt idx="4237">
                  <c:v>43936</c:v>
                </c:pt>
                <c:pt idx="4238">
                  <c:v>43937</c:v>
                </c:pt>
                <c:pt idx="4239">
                  <c:v>43938</c:v>
                </c:pt>
                <c:pt idx="4240">
                  <c:v>43941</c:v>
                </c:pt>
                <c:pt idx="4241">
                  <c:v>43942</c:v>
                </c:pt>
                <c:pt idx="4242">
                  <c:v>43943</c:v>
                </c:pt>
                <c:pt idx="4243">
                  <c:v>43944</c:v>
                </c:pt>
                <c:pt idx="4244">
                  <c:v>43945</c:v>
                </c:pt>
                <c:pt idx="4245">
                  <c:v>43948</c:v>
                </c:pt>
                <c:pt idx="4246">
                  <c:v>43949</c:v>
                </c:pt>
                <c:pt idx="4247">
                  <c:v>43950</c:v>
                </c:pt>
                <c:pt idx="4248">
                  <c:v>43951</c:v>
                </c:pt>
                <c:pt idx="4249">
                  <c:v>43952</c:v>
                </c:pt>
                <c:pt idx="4250">
                  <c:v>43955</c:v>
                </c:pt>
                <c:pt idx="4251">
                  <c:v>43956</c:v>
                </c:pt>
                <c:pt idx="4252">
                  <c:v>43957</c:v>
                </c:pt>
                <c:pt idx="4253">
                  <c:v>43958</c:v>
                </c:pt>
                <c:pt idx="4254">
                  <c:v>43959</c:v>
                </c:pt>
                <c:pt idx="4255">
                  <c:v>43962</c:v>
                </c:pt>
                <c:pt idx="4256">
                  <c:v>43963</c:v>
                </c:pt>
                <c:pt idx="4257">
                  <c:v>43964</c:v>
                </c:pt>
                <c:pt idx="4258">
                  <c:v>43965</c:v>
                </c:pt>
                <c:pt idx="4259">
                  <c:v>43966</c:v>
                </c:pt>
                <c:pt idx="4260">
                  <c:v>43969</c:v>
                </c:pt>
                <c:pt idx="4261">
                  <c:v>43970</c:v>
                </c:pt>
                <c:pt idx="4262">
                  <c:v>43971</c:v>
                </c:pt>
                <c:pt idx="4263">
                  <c:v>43972</c:v>
                </c:pt>
                <c:pt idx="4264">
                  <c:v>43973</c:v>
                </c:pt>
                <c:pt idx="4265">
                  <c:v>43976</c:v>
                </c:pt>
                <c:pt idx="4266">
                  <c:v>43977</c:v>
                </c:pt>
                <c:pt idx="4267">
                  <c:v>43978</c:v>
                </c:pt>
                <c:pt idx="4268">
                  <c:v>43979</c:v>
                </c:pt>
                <c:pt idx="4269">
                  <c:v>43980</c:v>
                </c:pt>
                <c:pt idx="4270">
                  <c:v>43983</c:v>
                </c:pt>
                <c:pt idx="4271">
                  <c:v>43984</c:v>
                </c:pt>
                <c:pt idx="4272">
                  <c:v>43985</c:v>
                </c:pt>
                <c:pt idx="4273">
                  <c:v>43986</c:v>
                </c:pt>
                <c:pt idx="4274">
                  <c:v>43987</c:v>
                </c:pt>
                <c:pt idx="4275">
                  <c:v>43990</c:v>
                </c:pt>
                <c:pt idx="4276">
                  <c:v>43991</c:v>
                </c:pt>
                <c:pt idx="4277">
                  <c:v>43992</c:v>
                </c:pt>
                <c:pt idx="4278">
                  <c:v>43993</c:v>
                </c:pt>
                <c:pt idx="4279">
                  <c:v>43994</c:v>
                </c:pt>
                <c:pt idx="4280">
                  <c:v>43997</c:v>
                </c:pt>
                <c:pt idx="4281">
                  <c:v>43998</c:v>
                </c:pt>
                <c:pt idx="4282">
                  <c:v>43999</c:v>
                </c:pt>
                <c:pt idx="4283">
                  <c:v>44000</c:v>
                </c:pt>
                <c:pt idx="4284">
                  <c:v>44001</c:v>
                </c:pt>
                <c:pt idx="4285">
                  <c:v>44004</c:v>
                </c:pt>
                <c:pt idx="4286">
                  <c:v>44005</c:v>
                </c:pt>
                <c:pt idx="4287">
                  <c:v>44006</c:v>
                </c:pt>
                <c:pt idx="4288">
                  <c:v>44007</c:v>
                </c:pt>
                <c:pt idx="4289">
                  <c:v>44008</c:v>
                </c:pt>
                <c:pt idx="4290">
                  <c:v>44011</c:v>
                </c:pt>
                <c:pt idx="4291">
                  <c:v>44012</c:v>
                </c:pt>
                <c:pt idx="4292">
                  <c:v>44013</c:v>
                </c:pt>
                <c:pt idx="4293">
                  <c:v>44014</c:v>
                </c:pt>
                <c:pt idx="4294">
                  <c:v>44015</c:v>
                </c:pt>
                <c:pt idx="4295">
                  <c:v>44018</c:v>
                </c:pt>
                <c:pt idx="4296">
                  <c:v>44019</c:v>
                </c:pt>
                <c:pt idx="4297">
                  <c:v>44020</c:v>
                </c:pt>
                <c:pt idx="4298">
                  <c:v>44021</c:v>
                </c:pt>
                <c:pt idx="4299">
                  <c:v>44022</c:v>
                </c:pt>
                <c:pt idx="4300">
                  <c:v>44025</c:v>
                </c:pt>
                <c:pt idx="4301">
                  <c:v>44026</c:v>
                </c:pt>
                <c:pt idx="4302">
                  <c:v>44027</c:v>
                </c:pt>
                <c:pt idx="4303">
                  <c:v>44028</c:v>
                </c:pt>
                <c:pt idx="4304">
                  <c:v>44029</c:v>
                </c:pt>
                <c:pt idx="4305">
                  <c:v>44032</c:v>
                </c:pt>
                <c:pt idx="4306">
                  <c:v>44033</c:v>
                </c:pt>
                <c:pt idx="4307">
                  <c:v>44034</c:v>
                </c:pt>
                <c:pt idx="4308">
                  <c:v>44035</c:v>
                </c:pt>
                <c:pt idx="4309">
                  <c:v>44036</c:v>
                </c:pt>
                <c:pt idx="4310">
                  <c:v>44039</c:v>
                </c:pt>
                <c:pt idx="4311">
                  <c:v>44040</c:v>
                </c:pt>
                <c:pt idx="4312">
                  <c:v>44041</c:v>
                </c:pt>
                <c:pt idx="4313">
                  <c:v>44042</c:v>
                </c:pt>
                <c:pt idx="4314">
                  <c:v>44043</c:v>
                </c:pt>
                <c:pt idx="4315">
                  <c:v>44046</c:v>
                </c:pt>
                <c:pt idx="4316">
                  <c:v>44047</c:v>
                </c:pt>
                <c:pt idx="4317">
                  <c:v>44048</c:v>
                </c:pt>
                <c:pt idx="4318">
                  <c:v>44049</c:v>
                </c:pt>
                <c:pt idx="4319">
                  <c:v>44050</c:v>
                </c:pt>
                <c:pt idx="4320">
                  <c:v>44053</c:v>
                </c:pt>
                <c:pt idx="4321">
                  <c:v>44054</c:v>
                </c:pt>
                <c:pt idx="4322">
                  <c:v>44055</c:v>
                </c:pt>
                <c:pt idx="4323">
                  <c:v>44056</c:v>
                </c:pt>
                <c:pt idx="4324">
                  <c:v>44057</c:v>
                </c:pt>
                <c:pt idx="4325">
                  <c:v>44060</c:v>
                </c:pt>
                <c:pt idx="4326">
                  <c:v>44061</c:v>
                </c:pt>
                <c:pt idx="4327">
                  <c:v>44062</c:v>
                </c:pt>
                <c:pt idx="4328">
                  <c:v>44063</c:v>
                </c:pt>
                <c:pt idx="4329">
                  <c:v>44064</c:v>
                </c:pt>
                <c:pt idx="4330">
                  <c:v>44067</c:v>
                </c:pt>
                <c:pt idx="4331">
                  <c:v>44068</c:v>
                </c:pt>
                <c:pt idx="4332">
                  <c:v>44069</c:v>
                </c:pt>
                <c:pt idx="4333">
                  <c:v>44070</c:v>
                </c:pt>
                <c:pt idx="4334">
                  <c:v>44071</c:v>
                </c:pt>
                <c:pt idx="4335">
                  <c:v>44074</c:v>
                </c:pt>
                <c:pt idx="4336">
                  <c:v>44075</c:v>
                </c:pt>
                <c:pt idx="4337">
                  <c:v>44076</c:v>
                </c:pt>
                <c:pt idx="4338">
                  <c:v>44077</c:v>
                </c:pt>
                <c:pt idx="4339">
                  <c:v>44078</c:v>
                </c:pt>
                <c:pt idx="4340">
                  <c:v>44081</c:v>
                </c:pt>
                <c:pt idx="4341">
                  <c:v>44082</c:v>
                </c:pt>
                <c:pt idx="4342">
                  <c:v>44083</c:v>
                </c:pt>
                <c:pt idx="4343">
                  <c:v>44084</c:v>
                </c:pt>
                <c:pt idx="4344">
                  <c:v>44085</c:v>
                </c:pt>
                <c:pt idx="4345">
                  <c:v>44088</c:v>
                </c:pt>
                <c:pt idx="4346">
                  <c:v>44089</c:v>
                </c:pt>
                <c:pt idx="4347">
                  <c:v>44090</c:v>
                </c:pt>
                <c:pt idx="4348">
                  <c:v>44091</c:v>
                </c:pt>
                <c:pt idx="4349">
                  <c:v>44092</c:v>
                </c:pt>
                <c:pt idx="4350">
                  <c:v>44095</c:v>
                </c:pt>
                <c:pt idx="4351">
                  <c:v>44096</c:v>
                </c:pt>
                <c:pt idx="4352">
                  <c:v>44097</c:v>
                </c:pt>
                <c:pt idx="4353">
                  <c:v>44098</c:v>
                </c:pt>
                <c:pt idx="4354">
                  <c:v>44099</c:v>
                </c:pt>
                <c:pt idx="4355">
                  <c:v>44102</c:v>
                </c:pt>
                <c:pt idx="4356">
                  <c:v>44103</c:v>
                </c:pt>
                <c:pt idx="4357">
                  <c:v>44104</c:v>
                </c:pt>
                <c:pt idx="4358">
                  <c:v>44105</c:v>
                </c:pt>
                <c:pt idx="4359">
                  <c:v>44106</c:v>
                </c:pt>
                <c:pt idx="4360">
                  <c:v>44109</c:v>
                </c:pt>
                <c:pt idx="4361">
                  <c:v>44110</c:v>
                </c:pt>
                <c:pt idx="4362">
                  <c:v>44111</c:v>
                </c:pt>
                <c:pt idx="4363">
                  <c:v>44112</c:v>
                </c:pt>
                <c:pt idx="4364">
                  <c:v>44113</c:v>
                </c:pt>
                <c:pt idx="4365">
                  <c:v>44116</c:v>
                </c:pt>
                <c:pt idx="4366">
                  <c:v>44117</c:v>
                </c:pt>
                <c:pt idx="4367">
                  <c:v>44118</c:v>
                </c:pt>
                <c:pt idx="4368">
                  <c:v>44119</c:v>
                </c:pt>
                <c:pt idx="4369">
                  <c:v>44120</c:v>
                </c:pt>
                <c:pt idx="4370">
                  <c:v>44123</c:v>
                </c:pt>
                <c:pt idx="4371">
                  <c:v>44124</c:v>
                </c:pt>
                <c:pt idx="4372">
                  <c:v>44125</c:v>
                </c:pt>
                <c:pt idx="4373">
                  <c:v>44126</c:v>
                </c:pt>
                <c:pt idx="4374">
                  <c:v>44127</c:v>
                </c:pt>
                <c:pt idx="4375">
                  <c:v>44130</c:v>
                </c:pt>
                <c:pt idx="4376">
                  <c:v>44131</c:v>
                </c:pt>
                <c:pt idx="4377">
                  <c:v>44132</c:v>
                </c:pt>
                <c:pt idx="4378">
                  <c:v>44133</c:v>
                </c:pt>
                <c:pt idx="4379">
                  <c:v>44134</c:v>
                </c:pt>
                <c:pt idx="4380">
                  <c:v>44137</c:v>
                </c:pt>
                <c:pt idx="4381">
                  <c:v>44138</c:v>
                </c:pt>
                <c:pt idx="4382">
                  <c:v>44139</c:v>
                </c:pt>
                <c:pt idx="4383">
                  <c:v>44140</c:v>
                </c:pt>
                <c:pt idx="4384">
                  <c:v>44141</c:v>
                </c:pt>
                <c:pt idx="4385">
                  <c:v>44144</c:v>
                </c:pt>
                <c:pt idx="4386">
                  <c:v>44145</c:v>
                </c:pt>
                <c:pt idx="4387">
                  <c:v>44146</c:v>
                </c:pt>
                <c:pt idx="4388">
                  <c:v>44147</c:v>
                </c:pt>
                <c:pt idx="4389">
                  <c:v>44148</c:v>
                </c:pt>
                <c:pt idx="4390">
                  <c:v>44151</c:v>
                </c:pt>
                <c:pt idx="4391">
                  <c:v>44152</c:v>
                </c:pt>
                <c:pt idx="4392">
                  <c:v>44153</c:v>
                </c:pt>
                <c:pt idx="4393">
                  <c:v>44154</c:v>
                </c:pt>
                <c:pt idx="4394">
                  <c:v>44155</c:v>
                </c:pt>
                <c:pt idx="4395">
                  <c:v>44158</c:v>
                </c:pt>
                <c:pt idx="4396">
                  <c:v>44159</c:v>
                </c:pt>
                <c:pt idx="4397">
                  <c:v>44160</c:v>
                </c:pt>
                <c:pt idx="4398">
                  <c:v>44161</c:v>
                </c:pt>
                <c:pt idx="4399">
                  <c:v>44162</c:v>
                </c:pt>
                <c:pt idx="4400">
                  <c:v>44165</c:v>
                </c:pt>
                <c:pt idx="4401">
                  <c:v>44166</c:v>
                </c:pt>
                <c:pt idx="4402">
                  <c:v>44167</c:v>
                </c:pt>
                <c:pt idx="4403">
                  <c:v>44168</c:v>
                </c:pt>
                <c:pt idx="4404">
                  <c:v>44169</c:v>
                </c:pt>
                <c:pt idx="4405">
                  <c:v>44172</c:v>
                </c:pt>
                <c:pt idx="4406">
                  <c:v>44173</c:v>
                </c:pt>
                <c:pt idx="4407">
                  <c:v>44174</c:v>
                </c:pt>
                <c:pt idx="4408">
                  <c:v>44175</c:v>
                </c:pt>
                <c:pt idx="4409">
                  <c:v>44176</c:v>
                </c:pt>
                <c:pt idx="4410">
                  <c:v>44179</c:v>
                </c:pt>
                <c:pt idx="4411">
                  <c:v>44180</c:v>
                </c:pt>
                <c:pt idx="4412">
                  <c:v>44181</c:v>
                </c:pt>
                <c:pt idx="4413">
                  <c:v>44182</c:v>
                </c:pt>
                <c:pt idx="4414">
                  <c:v>44183</c:v>
                </c:pt>
                <c:pt idx="4415">
                  <c:v>44186</c:v>
                </c:pt>
                <c:pt idx="4416">
                  <c:v>44187</c:v>
                </c:pt>
                <c:pt idx="4417">
                  <c:v>44188</c:v>
                </c:pt>
                <c:pt idx="4418">
                  <c:v>44189</c:v>
                </c:pt>
                <c:pt idx="4419">
                  <c:v>44190</c:v>
                </c:pt>
                <c:pt idx="4420">
                  <c:v>44193</c:v>
                </c:pt>
                <c:pt idx="4421">
                  <c:v>44194</c:v>
                </c:pt>
                <c:pt idx="4422">
                  <c:v>44195</c:v>
                </c:pt>
                <c:pt idx="4423">
                  <c:v>44196</c:v>
                </c:pt>
                <c:pt idx="4424">
                  <c:v>44197</c:v>
                </c:pt>
                <c:pt idx="4425">
                  <c:v>44200</c:v>
                </c:pt>
                <c:pt idx="4426">
                  <c:v>44201</c:v>
                </c:pt>
                <c:pt idx="4427">
                  <c:v>44202</c:v>
                </c:pt>
                <c:pt idx="4428">
                  <c:v>44203</c:v>
                </c:pt>
                <c:pt idx="4429">
                  <c:v>44204</c:v>
                </c:pt>
                <c:pt idx="4430">
                  <c:v>44207</c:v>
                </c:pt>
                <c:pt idx="4431">
                  <c:v>44208</c:v>
                </c:pt>
                <c:pt idx="4432">
                  <c:v>44209</c:v>
                </c:pt>
                <c:pt idx="4433">
                  <c:v>44210</c:v>
                </c:pt>
                <c:pt idx="4434">
                  <c:v>44211</c:v>
                </c:pt>
                <c:pt idx="4435">
                  <c:v>44214</c:v>
                </c:pt>
                <c:pt idx="4436">
                  <c:v>44215</c:v>
                </c:pt>
                <c:pt idx="4437">
                  <c:v>44216</c:v>
                </c:pt>
                <c:pt idx="4438">
                  <c:v>44217</c:v>
                </c:pt>
                <c:pt idx="4439">
                  <c:v>44218</c:v>
                </c:pt>
                <c:pt idx="4440">
                  <c:v>44221</c:v>
                </c:pt>
                <c:pt idx="4441">
                  <c:v>44222</c:v>
                </c:pt>
                <c:pt idx="4442">
                  <c:v>44223</c:v>
                </c:pt>
                <c:pt idx="4443">
                  <c:v>44224</c:v>
                </c:pt>
                <c:pt idx="4444">
                  <c:v>44225</c:v>
                </c:pt>
                <c:pt idx="4445">
                  <c:v>44228</c:v>
                </c:pt>
                <c:pt idx="4446">
                  <c:v>44229</c:v>
                </c:pt>
                <c:pt idx="4447">
                  <c:v>44230</c:v>
                </c:pt>
                <c:pt idx="4448">
                  <c:v>44231</c:v>
                </c:pt>
                <c:pt idx="4449">
                  <c:v>44232</c:v>
                </c:pt>
                <c:pt idx="4450">
                  <c:v>44235</c:v>
                </c:pt>
                <c:pt idx="4451">
                  <c:v>44236</c:v>
                </c:pt>
                <c:pt idx="4452">
                  <c:v>44237</c:v>
                </c:pt>
                <c:pt idx="4453">
                  <c:v>44238</c:v>
                </c:pt>
                <c:pt idx="4454">
                  <c:v>44239</c:v>
                </c:pt>
                <c:pt idx="4455">
                  <c:v>44242</c:v>
                </c:pt>
                <c:pt idx="4456">
                  <c:v>44243</c:v>
                </c:pt>
                <c:pt idx="4457">
                  <c:v>44244</c:v>
                </c:pt>
                <c:pt idx="4458">
                  <c:v>44245</c:v>
                </c:pt>
                <c:pt idx="4459">
                  <c:v>44246</c:v>
                </c:pt>
                <c:pt idx="4460">
                  <c:v>44249</c:v>
                </c:pt>
                <c:pt idx="4461">
                  <c:v>44250</c:v>
                </c:pt>
                <c:pt idx="4462">
                  <c:v>44251</c:v>
                </c:pt>
                <c:pt idx="4463">
                  <c:v>44252</c:v>
                </c:pt>
                <c:pt idx="4464">
                  <c:v>44253</c:v>
                </c:pt>
                <c:pt idx="4465">
                  <c:v>44256</c:v>
                </c:pt>
                <c:pt idx="4466">
                  <c:v>44257</c:v>
                </c:pt>
                <c:pt idx="4467">
                  <c:v>44258</c:v>
                </c:pt>
                <c:pt idx="4468">
                  <c:v>44259</c:v>
                </c:pt>
                <c:pt idx="4469">
                  <c:v>44260</c:v>
                </c:pt>
                <c:pt idx="4470">
                  <c:v>44263</c:v>
                </c:pt>
                <c:pt idx="4471">
                  <c:v>44264</c:v>
                </c:pt>
                <c:pt idx="4472">
                  <c:v>44265</c:v>
                </c:pt>
                <c:pt idx="4473">
                  <c:v>44266</c:v>
                </c:pt>
                <c:pt idx="4474">
                  <c:v>44267</c:v>
                </c:pt>
                <c:pt idx="4475">
                  <c:v>44270</c:v>
                </c:pt>
                <c:pt idx="4476">
                  <c:v>44271</c:v>
                </c:pt>
                <c:pt idx="4477">
                  <c:v>44272</c:v>
                </c:pt>
                <c:pt idx="4478">
                  <c:v>44273</c:v>
                </c:pt>
                <c:pt idx="4479">
                  <c:v>44274</c:v>
                </c:pt>
                <c:pt idx="4480">
                  <c:v>44277</c:v>
                </c:pt>
                <c:pt idx="4481">
                  <c:v>44278</c:v>
                </c:pt>
                <c:pt idx="4482">
                  <c:v>44279</c:v>
                </c:pt>
                <c:pt idx="4483">
                  <c:v>44280</c:v>
                </c:pt>
                <c:pt idx="4484">
                  <c:v>44281</c:v>
                </c:pt>
                <c:pt idx="4485">
                  <c:v>44284</c:v>
                </c:pt>
                <c:pt idx="4486">
                  <c:v>44285</c:v>
                </c:pt>
                <c:pt idx="4487">
                  <c:v>44286</c:v>
                </c:pt>
                <c:pt idx="4488">
                  <c:v>44287</c:v>
                </c:pt>
                <c:pt idx="4489">
                  <c:v>44288</c:v>
                </c:pt>
                <c:pt idx="4490">
                  <c:v>44291</c:v>
                </c:pt>
                <c:pt idx="4491">
                  <c:v>44292</c:v>
                </c:pt>
                <c:pt idx="4492">
                  <c:v>44293</c:v>
                </c:pt>
                <c:pt idx="4493">
                  <c:v>44294</c:v>
                </c:pt>
                <c:pt idx="4494">
                  <c:v>44295</c:v>
                </c:pt>
                <c:pt idx="4495">
                  <c:v>44298</c:v>
                </c:pt>
                <c:pt idx="4496">
                  <c:v>44299</c:v>
                </c:pt>
                <c:pt idx="4497">
                  <c:v>44300</c:v>
                </c:pt>
                <c:pt idx="4498">
                  <c:v>44301</c:v>
                </c:pt>
                <c:pt idx="4499">
                  <c:v>44302</c:v>
                </c:pt>
                <c:pt idx="4500">
                  <c:v>44305</c:v>
                </c:pt>
                <c:pt idx="4501">
                  <c:v>44306</c:v>
                </c:pt>
                <c:pt idx="4502">
                  <c:v>44307</c:v>
                </c:pt>
                <c:pt idx="4503">
                  <c:v>44308</c:v>
                </c:pt>
                <c:pt idx="4504">
                  <c:v>44309</c:v>
                </c:pt>
                <c:pt idx="4505">
                  <c:v>44312</c:v>
                </c:pt>
                <c:pt idx="4506">
                  <c:v>44313</c:v>
                </c:pt>
                <c:pt idx="4507">
                  <c:v>44314</c:v>
                </c:pt>
                <c:pt idx="4508">
                  <c:v>44315</c:v>
                </c:pt>
                <c:pt idx="4509">
                  <c:v>44316</c:v>
                </c:pt>
                <c:pt idx="4510">
                  <c:v>44319</c:v>
                </c:pt>
                <c:pt idx="4511">
                  <c:v>44320</c:v>
                </c:pt>
                <c:pt idx="4512">
                  <c:v>44321</c:v>
                </c:pt>
                <c:pt idx="4513">
                  <c:v>44322</c:v>
                </c:pt>
                <c:pt idx="4514">
                  <c:v>44323</c:v>
                </c:pt>
                <c:pt idx="4515">
                  <c:v>44326</c:v>
                </c:pt>
                <c:pt idx="4516">
                  <c:v>44327</c:v>
                </c:pt>
                <c:pt idx="4517">
                  <c:v>44328</c:v>
                </c:pt>
                <c:pt idx="4518">
                  <c:v>44329</c:v>
                </c:pt>
                <c:pt idx="4519">
                  <c:v>44330</c:v>
                </c:pt>
                <c:pt idx="4520">
                  <c:v>44333</c:v>
                </c:pt>
                <c:pt idx="4521">
                  <c:v>44334</c:v>
                </c:pt>
                <c:pt idx="4522">
                  <c:v>44335</c:v>
                </c:pt>
                <c:pt idx="4523">
                  <c:v>44336</c:v>
                </c:pt>
                <c:pt idx="4524">
                  <c:v>44337</c:v>
                </c:pt>
                <c:pt idx="4525">
                  <c:v>44340</c:v>
                </c:pt>
                <c:pt idx="4526">
                  <c:v>44341</c:v>
                </c:pt>
                <c:pt idx="4527">
                  <c:v>44342</c:v>
                </c:pt>
                <c:pt idx="4528">
                  <c:v>44343</c:v>
                </c:pt>
                <c:pt idx="4529">
                  <c:v>44344</c:v>
                </c:pt>
                <c:pt idx="4530">
                  <c:v>44347</c:v>
                </c:pt>
                <c:pt idx="4531">
                  <c:v>44348</c:v>
                </c:pt>
                <c:pt idx="4532">
                  <c:v>44349</c:v>
                </c:pt>
                <c:pt idx="4533">
                  <c:v>44350</c:v>
                </c:pt>
                <c:pt idx="4534">
                  <c:v>44351</c:v>
                </c:pt>
                <c:pt idx="4535">
                  <c:v>44354</c:v>
                </c:pt>
                <c:pt idx="4536">
                  <c:v>44355</c:v>
                </c:pt>
                <c:pt idx="4537">
                  <c:v>44356</c:v>
                </c:pt>
                <c:pt idx="4538">
                  <c:v>44357</c:v>
                </c:pt>
                <c:pt idx="4539">
                  <c:v>44358</c:v>
                </c:pt>
                <c:pt idx="4540">
                  <c:v>44361</c:v>
                </c:pt>
                <c:pt idx="4541">
                  <c:v>44362</c:v>
                </c:pt>
                <c:pt idx="4542">
                  <c:v>44363</c:v>
                </c:pt>
                <c:pt idx="4543">
                  <c:v>44364</c:v>
                </c:pt>
                <c:pt idx="4544">
                  <c:v>44365</c:v>
                </c:pt>
                <c:pt idx="4545">
                  <c:v>44368</c:v>
                </c:pt>
                <c:pt idx="4546">
                  <c:v>44369</c:v>
                </c:pt>
                <c:pt idx="4547">
                  <c:v>44370</c:v>
                </c:pt>
                <c:pt idx="4548">
                  <c:v>44371</c:v>
                </c:pt>
                <c:pt idx="4549">
                  <c:v>44372</c:v>
                </c:pt>
                <c:pt idx="4550">
                  <c:v>44375</c:v>
                </c:pt>
                <c:pt idx="4551">
                  <c:v>44376</c:v>
                </c:pt>
                <c:pt idx="4552">
                  <c:v>44377</c:v>
                </c:pt>
                <c:pt idx="4553">
                  <c:v>44378</c:v>
                </c:pt>
                <c:pt idx="4554">
                  <c:v>44379</c:v>
                </c:pt>
                <c:pt idx="4555">
                  <c:v>44382</c:v>
                </c:pt>
                <c:pt idx="4556">
                  <c:v>44383</c:v>
                </c:pt>
                <c:pt idx="4557">
                  <c:v>44384</c:v>
                </c:pt>
                <c:pt idx="4558">
                  <c:v>44385</c:v>
                </c:pt>
                <c:pt idx="4559">
                  <c:v>44386</c:v>
                </c:pt>
                <c:pt idx="4560">
                  <c:v>44389</c:v>
                </c:pt>
                <c:pt idx="4561">
                  <c:v>44390</c:v>
                </c:pt>
                <c:pt idx="4562">
                  <c:v>44391</c:v>
                </c:pt>
                <c:pt idx="4563">
                  <c:v>44392</c:v>
                </c:pt>
                <c:pt idx="4564">
                  <c:v>44393</c:v>
                </c:pt>
                <c:pt idx="4565">
                  <c:v>44396</c:v>
                </c:pt>
                <c:pt idx="4566">
                  <c:v>44397</c:v>
                </c:pt>
                <c:pt idx="4567">
                  <c:v>44398</c:v>
                </c:pt>
                <c:pt idx="4568">
                  <c:v>44399</c:v>
                </c:pt>
                <c:pt idx="4569">
                  <c:v>44400</c:v>
                </c:pt>
                <c:pt idx="4570">
                  <c:v>44403</c:v>
                </c:pt>
                <c:pt idx="4571">
                  <c:v>44404</c:v>
                </c:pt>
                <c:pt idx="4572">
                  <c:v>44405</c:v>
                </c:pt>
                <c:pt idx="4573">
                  <c:v>44406</c:v>
                </c:pt>
                <c:pt idx="4574">
                  <c:v>44407</c:v>
                </c:pt>
                <c:pt idx="4575">
                  <c:v>44410</c:v>
                </c:pt>
                <c:pt idx="4576">
                  <c:v>44411</c:v>
                </c:pt>
                <c:pt idx="4577">
                  <c:v>44412</c:v>
                </c:pt>
                <c:pt idx="4578">
                  <c:v>44413</c:v>
                </c:pt>
                <c:pt idx="4579">
                  <c:v>44414</c:v>
                </c:pt>
                <c:pt idx="4580">
                  <c:v>44417</c:v>
                </c:pt>
                <c:pt idx="4581">
                  <c:v>44418</c:v>
                </c:pt>
                <c:pt idx="4582">
                  <c:v>44419</c:v>
                </c:pt>
                <c:pt idx="4583">
                  <c:v>44420</c:v>
                </c:pt>
                <c:pt idx="4584">
                  <c:v>44421</c:v>
                </c:pt>
                <c:pt idx="4585">
                  <c:v>44424</c:v>
                </c:pt>
                <c:pt idx="4586">
                  <c:v>44425</c:v>
                </c:pt>
                <c:pt idx="4587">
                  <c:v>44426</c:v>
                </c:pt>
                <c:pt idx="4588">
                  <c:v>44427</c:v>
                </c:pt>
                <c:pt idx="4589">
                  <c:v>44428</c:v>
                </c:pt>
                <c:pt idx="4590">
                  <c:v>44431</c:v>
                </c:pt>
                <c:pt idx="4591">
                  <c:v>44432</c:v>
                </c:pt>
                <c:pt idx="4592">
                  <c:v>44433</c:v>
                </c:pt>
                <c:pt idx="4593">
                  <c:v>44434</c:v>
                </c:pt>
                <c:pt idx="4594">
                  <c:v>44435</c:v>
                </c:pt>
                <c:pt idx="4595">
                  <c:v>44438</c:v>
                </c:pt>
                <c:pt idx="4596">
                  <c:v>44439</c:v>
                </c:pt>
                <c:pt idx="4597">
                  <c:v>44440</c:v>
                </c:pt>
                <c:pt idx="4598">
                  <c:v>44441</c:v>
                </c:pt>
                <c:pt idx="4599">
                  <c:v>44442</c:v>
                </c:pt>
                <c:pt idx="4600">
                  <c:v>44445</c:v>
                </c:pt>
                <c:pt idx="4601">
                  <c:v>44446</c:v>
                </c:pt>
                <c:pt idx="4602">
                  <c:v>44447</c:v>
                </c:pt>
                <c:pt idx="4603">
                  <c:v>44448</c:v>
                </c:pt>
                <c:pt idx="4604">
                  <c:v>44449</c:v>
                </c:pt>
                <c:pt idx="4605">
                  <c:v>44452</c:v>
                </c:pt>
                <c:pt idx="4606">
                  <c:v>44453</c:v>
                </c:pt>
                <c:pt idx="4607">
                  <c:v>44454</c:v>
                </c:pt>
                <c:pt idx="4608">
                  <c:v>44455</c:v>
                </c:pt>
                <c:pt idx="4609">
                  <c:v>44456</c:v>
                </c:pt>
                <c:pt idx="4610">
                  <c:v>44459</c:v>
                </c:pt>
                <c:pt idx="4611">
                  <c:v>44460</c:v>
                </c:pt>
                <c:pt idx="4612">
                  <c:v>44461</c:v>
                </c:pt>
                <c:pt idx="4613">
                  <c:v>44462</c:v>
                </c:pt>
                <c:pt idx="4614">
                  <c:v>44463</c:v>
                </c:pt>
                <c:pt idx="4615">
                  <c:v>44466</c:v>
                </c:pt>
                <c:pt idx="4616">
                  <c:v>44467</c:v>
                </c:pt>
                <c:pt idx="4617">
                  <c:v>44468</c:v>
                </c:pt>
                <c:pt idx="4618">
                  <c:v>44469</c:v>
                </c:pt>
                <c:pt idx="4619">
                  <c:v>44470</c:v>
                </c:pt>
                <c:pt idx="4620">
                  <c:v>44473</c:v>
                </c:pt>
                <c:pt idx="4621">
                  <c:v>44474</c:v>
                </c:pt>
                <c:pt idx="4622">
                  <c:v>44475</c:v>
                </c:pt>
                <c:pt idx="4623">
                  <c:v>44476</c:v>
                </c:pt>
                <c:pt idx="4624">
                  <c:v>44477</c:v>
                </c:pt>
                <c:pt idx="4625">
                  <c:v>44480</c:v>
                </c:pt>
                <c:pt idx="4626">
                  <c:v>44481</c:v>
                </c:pt>
                <c:pt idx="4627">
                  <c:v>44482</c:v>
                </c:pt>
                <c:pt idx="4628">
                  <c:v>44483</c:v>
                </c:pt>
                <c:pt idx="4629">
                  <c:v>44484</c:v>
                </c:pt>
                <c:pt idx="4630">
                  <c:v>44487</c:v>
                </c:pt>
                <c:pt idx="4631">
                  <c:v>44488</c:v>
                </c:pt>
                <c:pt idx="4632">
                  <c:v>44489</c:v>
                </c:pt>
                <c:pt idx="4633">
                  <c:v>44490</c:v>
                </c:pt>
                <c:pt idx="4634">
                  <c:v>44491</c:v>
                </c:pt>
                <c:pt idx="4635">
                  <c:v>44494</c:v>
                </c:pt>
                <c:pt idx="4636">
                  <c:v>44495</c:v>
                </c:pt>
                <c:pt idx="4637">
                  <c:v>44496</c:v>
                </c:pt>
                <c:pt idx="4638">
                  <c:v>44497</c:v>
                </c:pt>
                <c:pt idx="4639">
                  <c:v>44498</c:v>
                </c:pt>
                <c:pt idx="4640">
                  <c:v>44501</c:v>
                </c:pt>
                <c:pt idx="4641">
                  <c:v>44502</c:v>
                </c:pt>
                <c:pt idx="4642">
                  <c:v>44503</c:v>
                </c:pt>
                <c:pt idx="4643">
                  <c:v>44504</c:v>
                </c:pt>
                <c:pt idx="4644">
                  <c:v>44505</c:v>
                </c:pt>
                <c:pt idx="4645">
                  <c:v>44508</c:v>
                </c:pt>
                <c:pt idx="4646">
                  <c:v>44509</c:v>
                </c:pt>
                <c:pt idx="4647">
                  <c:v>44510</c:v>
                </c:pt>
                <c:pt idx="4648">
                  <c:v>44511</c:v>
                </c:pt>
                <c:pt idx="4649">
                  <c:v>44512</c:v>
                </c:pt>
                <c:pt idx="4650">
                  <c:v>44515</c:v>
                </c:pt>
                <c:pt idx="4651">
                  <c:v>44516</c:v>
                </c:pt>
                <c:pt idx="4652">
                  <c:v>44517</c:v>
                </c:pt>
                <c:pt idx="4653">
                  <c:v>44518</c:v>
                </c:pt>
                <c:pt idx="4654">
                  <c:v>44519</c:v>
                </c:pt>
                <c:pt idx="4655">
                  <c:v>44522</c:v>
                </c:pt>
                <c:pt idx="4656">
                  <c:v>44523</c:v>
                </c:pt>
                <c:pt idx="4657">
                  <c:v>44524</c:v>
                </c:pt>
                <c:pt idx="4658">
                  <c:v>44525</c:v>
                </c:pt>
                <c:pt idx="4659">
                  <c:v>44526</c:v>
                </c:pt>
                <c:pt idx="4660">
                  <c:v>44529</c:v>
                </c:pt>
                <c:pt idx="4661">
                  <c:v>44530</c:v>
                </c:pt>
                <c:pt idx="4662">
                  <c:v>44531</c:v>
                </c:pt>
                <c:pt idx="4663">
                  <c:v>44532</c:v>
                </c:pt>
                <c:pt idx="4664">
                  <c:v>44533</c:v>
                </c:pt>
                <c:pt idx="4665">
                  <c:v>44536</c:v>
                </c:pt>
                <c:pt idx="4666">
                  <c:v>44537</c:v>
                </c:pt>
                <c:pt idx="4667">
                  <c:v>44538</c:v>
                </c:pt>
                <c:pt idx="4668">
                  <c:v>44539</c:v>
                </c:pt>
                <c:pt idx="4669">
                  <c:v>44540</c:v>
                </c:pt>
                <c:pt idx="4670">
                  <c:v>44543</c:v>
                </c:pt>
                <c:pt idx="4671">
                  <c:v>44544</c:v>
                </c:pt>
                <c:pt idx="4672">
                  <c:v>44545</c:v>
                </c:pt>
                <c:pt idx="4673">
                  <c:v>44546</c:v>
                </c:pt>
                <c:pt idx="4674">
                  <c:v>44547</c:v>
                </c:pt>
                <c:pt idx="4675">
                  <c:v>44550</c:v>
                </c:pt>
                <c:pt idx="4676">
                  <c:v>44551</c:v>
                </c:pt>
                <c:pt idx="4677">
                  <c:v>44552</c:v>
                </c:pt>
                <c:pt idx="4678">
                  <c:v>44553</c:v>
                </c:pt>
                <c:pt idx="4679">
                  <c:v>44554</c:v>
                </c:pt>
                <c:pt idx="4680">
                  <c:v>44557</c:v>
                </c:pt>
                <c:pt idx="4681">
                  <c:v>44558</c:v>
                </c:pt>
                <c:pt idx="4682">
                  <c:v>44559</c:v>
                </c:pt>
                <c:pt idx="4683">
                  <c:v>44560</c:v>
                </c:pt>
                <c:pt idx="4684">
                  <c:v>44561</c:v>
                </c:pt>
                <c:pt idx="4685">
                  <c:v>44564</c:v>
                </c:pt>
                <c:pt idx="4686">
                  <c:v>44565</c:v>
                </c:pt>
                <c:pt idx="4687">
                  <c:v>44566</c:v>
                </c:pt>
                <c:pt idx="4688">
                  <c:v>44567</c:v>
                </c:pt>
                <c:pt idx="4689">
                  <c:v>44568</c:v>
                </c:pt>
                <c:pt idx="4690">
                  <c:v>44571</c:v>
                </c:pt>
                <c:pt idx="4691">
                  <c:v>44572</c:v>
                </c:pt>
                <c:pt idx="4692">
                  <c:v>44573</c:v>
                </c:pt>
                <c:pt idx="4693">
                  <c:v>44574</c:v>
                </c:pt>
                <c:pt idx="4694">
                  <c:v>44575</c:v>
                </c:pt>
                <c:pt idx="4695">
                  <c:v>44578</c:v>
                </c:pt>
                <c:pt idx="4696">
                  <c:v>44579</c:v>
                </c:pt>
                <c:pt idx="4697">
                  <c:v>44580</c:v>
                </c:pt>
                <c:pt idx="4698">
                  <c:v>44581</c:v>
                </c:pt>
                <c:pt idx="4699">
                  <c:v>44582</c:v>
                </c:pt>
                <c:pt idx="4700">
                  <c:v>44585</c:v>
                </c:pt>
                <c:pt idx="4701">
                  <c:v>44586</c:v>
                </c:pt>
                <c:pt idx="4702">
                  <c:v>44587</c:v>
                </c:pt>
                <c:pt idx="4703">
                  <c:v>44588</c:v>
                </c:pt>
                <c:pt idx="4704">
                  <c:v>44589</c:v>
                </c:pt>
                <c:pt idx="4705">
                  <c:v>44592</c:v>
                </c:pt>
                <c:pt idx="4706">
                  <c:v>44593</c:v>
                </c:pt>
                <c:pt idx="4707">
                  <c:v>44594</c:v>
                </c:pt>
                <c:pt idx="4708">
                  <c:v>44595</c:v>
                </c:pt>
                <c:pt idx="4709">
                  <c:v>44596</c:v>
                </c:pt>
                <c:pt idx="4710">
                  <c:v>44599</c:v>
                </c:pt>
                <c:pt idx="4711">
                  <c:v>44600</c:v>
                </c:pt>
                <c:pt idx="4712">
                  <c:v>44601</c:v>
                </c:pt>
                <c:pt idx="4713">
                  <c:v>44602</c:v>
                </c:pt>
                <c:pt idx="4714">
                  <c:v>44603</c:v>
                </c:pt>
                <c:pt idx="4715">
                  <c:v>44606</c:v>
                </c:pt>
                <c:pt idx="4716">
                  <c:v>44607</c:v>
                </c:pt>
                <c:pt idx="4717">
                  <c:v>44608</c:v>
                </c:pt>
                <c:pt idx="4718">
                  <c:v>44609</c:v>
                </c:pt>
                <c:pt idx="4719">
                  <c:v>44610</c:v>
                </c:pt>
                <c:pt idx="4720">
                  <c:v>44613</c:v>
                </c:pt>
                <c:pt idx="4721">
                  <c:v>44614</c:v>
                </c:pt>
                <c:pt idx="4722">
                  <c:v>44615</c:v>
                </c:pt>
                <c:pt idx="4723">
                  <c:v>44616</c:v>
                </c:pt>
                <c:pt idx="4724">
                  <c:v>44617</c:v>
                </c:pt>
                <c:pt idx="4725">
                  <c:v>44620</c:v>
                </c:pt>
                <c:pt idx="4726">
                  <c:v>44621</c:v>
                </c:pt>
                <c:pt idx="4727">
                  <c:v>44622</c:v>
                </c:pt>
                <c:pt idx="4728">
                  <c:v>44623</c:v>
                </c:pt>
                <c:pt idx="4729">
                  <c:v>44624</c:v>
                </c:pt>
                <c:pt idx="4730">
                  <c:v>44627</c:v>
                </c:pt>
                <c:pt idx="4731">
                  <c:v>44628</c:v>
                </c:pt>
                <c:pt idx="4732">
                  <c:v>44629</c:v>
                </c:pt>
                <c:pt idx="4733">
                  <c:v>44630</c:v>
                </c:pt>
                <c:pt idx="4734">
                  <c:v>44631</c:v>
                </c:pt>
                <c:pt idx="4735">
                  <c:v>44634</c:v>
                </c:pt>
                <c:pt idx="4736">
                  <c:v>44635</c:v>
                </c:pt>
                <c:pt idx="4737">
                  <c:v>44636</c:v>
                </c:pt>
                <c:pt idx="4738">
                  <c:v>44637</c:v>
                </c:pt>
                <c:pt idx="4739">
                  <c:v>44638</c:v>
                </c:pt>
                <c:pt idx="4740">
                  <c:v>44641</c:v>
                </c:pt>
                <c:pt idx="4741">
                  <c:v>44642</c:v>
                </c:pt>
                <c:pt idx="4742">
                  <c:v>44643</c:v>
                </c:pt>
                <c:pt idx="4743">
                  <c:v>44644</c:v>
                </c:pt>
                <c:pt idx="4744">
                  <c:v>44645</c:v>
                </c:pt>
                <c:pt idx="4745">
                  <c:v>44648</c:v>
                </c:pt>
                <c:pt idx="4746">
                  <c:v>44649</c:v>
                </c:pt>
                <c:pt idx="4747">
                  <c:v>44650</c:v>
                </c:pt>
                <c:pt idx="4748">
                  <c:v>44651</c:v>
                </c:pt>
                <c:pt idx="4749">
                  <c:v>44652</c:v>
                </c:pt>
                <c:pt idx="4750">
                  <c:v>44655</c:v>
                </c:pt>
                <c:pt idx="4751">
                  <c:v>44656</c:v>
                </c:pt>
                <c:pt idx="4752">
                  <c:v>44657</c:v>
                </c:pt>
                <c:pt idx="4753">
                  <c:v>44658</c:v>
                </c:pt>
                <c:pt idx="4754">
                  <c:v>44659</c:v>
                </c:pt>
                <c:pt idx="4755">
                  <c:v>44662</c:v>
                </c:pt>
                <c:pt idx="4756">
                  <c:v>44663</c:v>
                </c:pt>
                <c:pt idx="4757">
                  <c:v>44664</c:v>
                </c:pt>
                <c:pt idx="4758">
                  <c:v>44665</c:v>
                </c:pt>
                <c:pt idx="4759">
                  <c:v>44666</c:v>
                </c:pt>
                <c:pt idx="4760">
                  <c:v>44669</c:v>
                </c:pt>
                <c:pt idx="4761">
                  <c:v>44670</c:v>
                </c:pt>
                <c:pt idx="4762">
                  <c:v>44671</c:v>
                </c:pt>
                <c:pt idx="4763">
                  <c:v>44672</c:v>
                </c:pt>
                <c:pt idx="4764">
                  <c:v>44673</c:v>
                </c:pt>
                <c:pt idx="4765">
                  <c:v>44676</c:v>
                </c:pt>
                <c:pt idx="4766">
                  <c:v>44677</c:v>
                </c:pt>
                <c:pt idx="4767">
                  <c:v>44678</c:v>
                </c:pt>
                <c:pt idx="4768">
                  <c:v>44679</c:v>
                </c:pt>
                <c:pt idx="4769">
                  <c:v>44680</c:v>
                </c:pt>
                <c:pt idx="4770">
                  <c:v>44683</c:v>
                </c:pt>
                <c:pt idx="4771">
                  <c:v>44684</c:v>
                </c:pt>
                <c:pt idx="4772">
                  <c:v>44685</c:v>
                </c:pt>
                <c:pt idx="4773">
                  <c:v>44686</c:v>
                </c:pt>
                <c:pt idx="4774">
                  <c:v>44687</c:v>
                </c:pt>
                <c:pt idx="4775">
                  <c:v>44690</c:v>
                </c:pt>
                <c:pt idx="4776">
                  <c:v>44691</c:v>
                </c:pt>
                <c:pt idx="4777">
                  <c:v>44692</c:v>
                </c:pt>
                <c:pt idx="4778">
                  <c:v>44693</c:v>
                </c:pt>
                <c:pt idx="4779">
                  <c:v>44694</c:v>
                </c:pt>
                <c:pt idx="4780">
                  <c:v>44697</c:v>
                </c:pt>
                <c:pt idx="4781">
                  <c:v>44698</c:v>
                </c:pt>
                <c:pt idx="4782">
                  <c:v>44699</c:v>
                </c:pt>
                <c:pt idx="4783">
                  <c:v>44700</c:v>
                </c:pt>
                <c:pt idx="4784">
                  <c:v>44701</c:v>
                </c:pt>
                <c:pt idx="4785">
                  <c:v>44704</c:v>
                </c:pt>
                <c:pt idx="4786">
                  <c:v>44705</c:v>
                </c:pt>
                <c:pt idx="4787">
                  <c:v>44706</c:v>
                </c:pt>
                <c:pt idx="4788">
                  <c:v>44707</c:v>
                </c:pt>
                <c:pt idx="4789">
                  <c:v>44708</c:v>
                </c:pt>
                <c:pt idx="4790">
                  <c:v>44711</c:v>
                </c:pt>
                <c:pt idx="4791">
                  <c:v>44712</c:v>
                </c:pt>
                <c:pt idx="4792">
                  <c:v>44713</c:v>
                </c:pt>
                <c:pt idx="4793">
                  <c:v>44714</c:v>
                </c:pt>
                <c:pt idx="4794">
                  <c:v>44715</c:v>
                </c:pt>
                <c:pt idx="4795">
                  <c:v>44718</c:v>
                </c:pt>
                <c:pt idx="4796">
                  <c:v>44719</c:v>
                </c:pt>
                <c:pt idx="4797">
                  <c:v>44720</c:v>
                </c:pt>
                <c:pt idx="4798">
                  <c:v>44721</c:v>
                </c:pt>
                <c:pt idx="4799">
                  <c:v>44722</c:v>
                </c:pt>
                <c:pt idx="4800">
                  <c:v>44725</c:v>
                </c:pt>
                <c:pt idx="4801">
                  <c:v>44726</c:v>
                </c:pt>
                <c:pt idx="4802">
                  <c:v>44727</c:v>
                </c:pt>
                <c:pt idx="4803">
                  <c:v>44728</c:v>
                </c:pt>
                <c:pt idx="4804">
                  <c:v>44729</c:v>
                </c:pt>
                <c:pt idx="4805">
                  <c:v>44732</c:v>
                </c:pt>
                <c:pt idx="4806">
                  <c:v>44733</c:v>
                </c:pt>
                <c:pt idx="4807">
                  <c:v>44734</c:v>
                </c:pt>
                <c:pt idx="4808">
                  <c:v>44735</c:v>
                </c:pt>
                <c:pt idx="4809">
                  <c:v>44736</c:v>
                </c:pt>
                <c:pt idx="4810">
                  <c:v>44739</c:v>
                </c:pt>
                <c:pt idx="4811">
                  <c:v>44740</c:v>
                </c:pt>
                <c:pt idx="4812">
                  <c:v>44741</c:v>
                </c:pt>
                <c:pt idx="4813">
                  <c:v>44742</c:v>
                </c:pt>
                <c:pt idx="4814">
                  <c:v>44743</c:v>
                </c:pt>
                <c:pt idx="4815">
                  <c:v>44746</c:v>
                </c:pt>
                <c:pt idx="4816">
                  <c:v>44747</c:v>
                </c:pt>
                <c:pt idx="4817">
                  <c:v>44748</c:v>
                </c:pt>
                <c:pt idx="4818">
                  <c:v>44749</c:v>
                </c:pt>
                <c:pt idx="4819">
                  <c:v>44750</c:v>
                </c:pt>
                <c:pt idx="4820">
                  <c:v>44753</c:v>
                </c:pt>
                <c:pt idx="4821">
                  <c:v>44754</c:v>
                </c:pt>
                <c:pt idx="4822">
                  <c:v>44755</c:v>
                </c:pt>
                <c:pt idx="4823">
                  <c:v>44756</c:v>
                </c:pt>
                <c:pt idx="4824">
                  <c:v>44757</c:v>
                </c:pt>
                <c:pt idx="4825">
                  <c:v>44760</c:v>
                </c:pt>
                <c:pt idx="4826">
                  <c:v>44761</c:v>
                </c:pt>
                <c:pt idx="4827">
                  <c:v>44762</c:v>
                </c:pt>
                <c:pt idx="4828">
                  <c:v>44763</c:v>
                </c:pt>
                <c:pt idx="4829">
                  <c:v>44764</c:v>
                </c:pt>
                <c:pt idx="4830">
                  <c:v>44767</c:v>
                </c:pt>
                <c:pt idx="4831">
                  <c:v>44768</c:v>
                </c:pt>
                <c:pt idx="4832">
                  <c:v>44769</c:v>
                </c:pt>
                <c:pt idx="4833">
                  <c:v>44770</c:v>
                </c:pt>
                <c:pt idx="4834">
                  <c:v>44771</c:v>
                </c:pt>
                <c:pt idx="4835">
                  <c:v>44774</c:v>
                </c:pt>
                <c:pt idx="4836">
                  <c:v>44775</c:v>
                </c:pt>
                <c:pt idx="4837">
                  <c:v>44776</c:v>
                </c:pt>
                <c:pt idx="4838">
                  <c:v>44777</c:v>
                </c:pt>
                <c:pt idx="4839">
                  <c:v>44778</c:v>
                </c:pt>
                <c:pt idx="4840">
                  <c:v>44781</c:v>
                </c:pt>
                <c:pt idx="4841">
                  <c:v>44782</c:v>
                </c:pt>
                <c:pt idx="4842">
                  <c:v>44783</c:v>
                </c:pt>
                <c:pt idx="4843">
                  <c:v>44784</c:v>
                </c:pt>
                <c:pt idx="4844">
                  <c:v>44785</c:v>
                </c:pt>
                <c:pt idx="4845">
                  <c:v>44788</c:v>
                </c:pt>
                <c:pt idx="4846">
                  <c:v>44789</c:v>
                </c:pt>
                <c:pt idx="4847">
                  <c:v>44790</c:v>
                </c:pt>
                <c:pt idx="4848">
                  <c:v>44791</c:v>
                </c:pt>
                <c:pt idx="4849">
                  <c:v>44792</c:v>
                </c:pt>
                <c:pt idx="4850">
                  <c:v>44795</c:v>
                </c:pt>
                <c:pt idx="4851">
                  <c:v>44796</c:v>
                </c:pt>
                <c:pt idx="4852">
                  <c:v>44797</c:v>
                </c:pt>
                <c:pt idx="4853">
                  <c:v>44798</c:v>
                </c:pt>
                <c:pt idx="4854">
                  <c:v>44799</c:v>
                </c:pt>
                <c:pt idx="4855">
                  <c:v>44802</c:v>
                </c:pt>
                <c:pt idx="4856">
                  <c:v>44803</c:v>
                </c:pt>
                <c:pt idx="4857">
                  <c:v>44804</c:v>
                </c:pt>
                <c:pt idx="4858">
                  <c:v>44805</c:v>
                </c:pt>
                <c:pt idx="4859">
                  <c:v>44806</c:v>
                </c:pt>
                <c:pt idx="4860">
                  <c:v>44809</c:v>
                </c:pt>
                <c:pt idx="4861">
                  <c:v>44810</c:v>
                </c:pt>
                <c:pt idx="4862">
                  <c:v>44811</c:v>
                </c:pt>
                <c:pt idx="4863">
                  <c:v>44812</c:v>
                </c:pt>
                <c:pt idx="4864">
                  <c:v>44813</c:v>
                </c:pt>
                <c:pt idx="4865">
                  <c:v>44816</c:v>
                </c:pt>
                <c:pt idx="4866">
                  <c:v>44817</c:v>
                </c:pt>
                <c:pt idx="4867">
                  <c:v>44818</c:v>
                </c:pt>
                <c:pt idx="4868">
                  <c:v>44819</c:v>
                </c:pt>
                <c:pt idx="4869">
                  <c:v>44820</c:v>
                </c:pt>
                <c:pt idx="4870">
                  <c:v>44823</c:v>
                </c:pt>
                <c:pt idx="4871">
                  <c:v>44824</c:v>
                </c:pt>
                <c:pt idx="4872">
                  <c:v>44825</c:v>
                </c:pt>
                <c:pt idx="4873">
                  <c:v>44826</c:v>
                </c:pt>
                <c:pt idx="4874">
                  <c:v>44827</c:v>
                </c:pt>
                <c:pt idx="4875">
                  <c:v>44830</c:v>
                </c:pt>
                <c:pt idx="4876">
                  <c:v>44831</c:v>
                </c:pt>
                <c:pt idx="4877">
                  <c:v>44832</c:v>
                </c:pt>
                <c:pt idx="4878">
                  <c:v>44833</c:v>
                </c:pt>
                <c:pt idx="4879">
                  <c:v>44834</c:v>
                </c:pt>
                <c:pt idx="4880">
                  <c:v>44837</c:v>
                </c:pt>
                <c:pt idx="4881">
                  <c:v>44838</c:v>
                </c:pt>
                <c:pt idx="4882">
                  <c:v>44839</c:v>
                </c:pt>
                <c:pt idx="4883">
                  <c:v>44840</c:v>
                </c:pt>
                <c:pt idx="4884">
                  <c:v>44841</c:v>
                </c:pt>
                <c:pt idx="4885">
                  <c:v>44844</c:v>
                </c:pt>
                <c:pt idx="4886">
                  <c:v>44845</c:v>
                </c:pt>
                <c:pt idx="4887">
                  <c:v>44846</c:v>
                </c:pt>
                <c:pt idx="4888">
                  <c:v>44847</c:v>
                </c:pt>
                <c:pt idx="4889">
                  <c:v>44848</c:v>
                </c:pt>
                <c:pt idx="4890">
                  <c:v>44851</c:v>
                </c:pt>
                <c:pt idx="4891">
                  <c:v>44852</c:v>
                </c:pt>
                <c:pt idx="4892">
                  <c:v>44853</c:v>
                </c:pt>
                <c:pt idx="4893">
                  <c:v>44854</c:v>
                </c:pt>
                <c:pt idx="4894">
                  <c:v>44855</c:v>
                </c:pt>
                <c:pt idx="4895">
                  <c:v>44858</c:v>
                </c:pt>
                <c:pt idx="4896">
                  <c:v>44859</c:v>
                </c:pt>
                <c:pt idx="4897">
                  <c:v>44860</c:v>
                </c:pt>
                <c:pt idx="4898">
                  <c:v>44861</c:v>
                </c:pt>
                <c:pt idx="4899">
                  <c:v>44862</c:v>
                </c:pt>
                <c:pt idx="4900">
                  <c:v>44865</c:v>
                </c:pt>
                <c:pt idx="4901">
                  <c:v>44866</c:v>
                </c:pt>
                <c:pt idx="4902">
                  <c:v>44867</c:v>
                </c:pt>
                <c:pt idx="4903">
                  <c:v>44868</c:v>
                </c:pt>
                <c:pt idx="4904">
                  <c:v>44869</c:v>
                </c:pt>
                <c:pt idx="4905">
                  <c:v>44872</c:v>
                </c:pt>
                <c:pt idx="4906">
                  <c:v>44873</c:v>
                </c:pt>
                <c:pt idx="4907">
                  <c:v>44874</c:v>
                </c:pt>
                <c:pt idx="4908">
                  <c:v>44875</c:v>
                </c:pt>
                <c:pt idx="4909">
                  <c:v>44876</c:v>
                </c:pt>
                <c:pt idx="4910">
                  <c:v>44879</c:v>
                </c:pt>
                <c:pt idx="4911">
                  <c:v>44880</c:v>
                </c:pt>
                <c:pt idx="4912">
                  <c:v>44881</c:v>
                </c:pt>
                <c:pt idx="4913">
                  <c:v>44882</c:v>
                </c:pt>
                <c:pt idx="4914">
                  <c:v>44883</c:v>
                </c:pt>
                <c:pt idx="4915">
                  <c:v>44886</c:v>
                </c:pt>
                <c:pt idx="4916">
                  <c:v>44887</c:v>
                </c:pt>
                <c:pt idx="4917">
                  <c:v>44888</c:v>
                </c:pt>
                <c:pt idx="4918">
                  <c:v>44889</c:v>
                </c:pt>
                <c:pt idx="4919">
                  <c:v>44890</c:v>
                </c:pt>
                <c:pt idx="4920">
                  <c:v>44893</c:v>
                </c:pt>
                <c:pt idx="4921">
                  <c:v>44894</c:v>
                </c:pt>
                <c:pt idx="4922">
                  <c:v>44895</c:v>
                </c:pt>
                <c:pt idx="4923">
                  <c:v>44896</c:v>
                </c:pt>
                <c:pt idx="4924">
                  <c:v>44897</c:v>
                </c:pt>
                <c:pt idx="4925">
                  <c:v>44900</c:v>
                </c:pt>
                <c:pt idx="4926">
                  <c:v>44901</c:v>
                </c:pt>
                <c:pt idx="4927">
                  <c:v>44902</c:v>
                </c:pt>
                <c:pt idx="4928">
                  <c:v>44903</c:v>
                </c:pt>
                <c:pt idx="4929">
                  <c:v>44904</c:v>
                </c:pt>
                <c:pt idx="4930">
                  <c:v>44907</c:v>
                </c:pt>
                <c:pt idx="4931">
                  <c:v>44908</c:v>
                </c:pt>
                <c:pt idx="4932">
                  <c:v>44909</c:v>
                </c:pt>
                <c:pt idx="4933">
                  <c:v>44910</c:v>
                </c:pt>
                <c:pt idx="4934">
                  <c:v>44911</c:v>
                </c:pt>
                <c:pt idx="4935">
                  <c:v>44914</c:v>
                </c:pt>
                <c:pt idx="4936">
                  <c:v>44915</c:v>
                </c:pt>
                <c:pt idx="4937">
                  <c:v>44916</c:v>
                </c:pt>
                <c:pt idx="4938">
                  <c:v>44917</c:v>
                </c:pt>
                <c:pt idx="4939">
                  <c:v>44918</c:v>
                </c:pt>
                <c:pt idx="4940">
                  <c:v>44921</c:v>
                </c:pt>
                <c:pt idx="4941">
                  <c:v>44922</c:v>
                </c:pt>
                <c:pt idx="4942">
                  <c:v>44923</c:v>
                </c:pt>
                <c:pt idx="4943">
                  <c:v>44924</c:v>
                </c:pt>
                <c:pt idx="4944">
                  <c:v>44925</c:v>
                </c:pt>
                <c:pt idx="4945">
                  <c:v>44928</c:v>
                </c:pt>
                <c:pt idx="4946">
                  <c:v>44929</c:v>
                </c:pt>
                <c:pt idx="4947">
                  <c:v>44930</c:v>
                </c:pt>
                <c:pt idx="4948">
                  <c:v>44931</c:v>
                </c:pt>
                <c:pt idx="4949">
                  <c:v>44932</c:v>
                </c:pt>
                <c:pt idx="4950">
                  <c:v>44935</c:v>
                </c:pt>
                <c:pt idx="4951">
                  <c:v>44936</c:v>
                </c:pt>
                <c:pt idx="4952">
                  <c:v>44937</c:v>
                </c:pt>
                <c:pt idx="4953">
                  <c:v>44938</c:v>
                </c:pt>
                <c:pt idx="4954">
                  <c:v>44939</c:v>
                </c:pt>
                <c:pt idx="4955">
                  <c:v>44942</c:v>
                </c:pt>
                <c:pt idx="4956">
                  <c:v>44943</c:v>
                </c:pt>
                <c:pt idx="4957">
                  <c:v>44944</c:v>
                </c:pt>
                <c:pt idx="4958">
                  <c:v>44945</c:v>
                </c:pt>
                <c:pt idx="4959">
                  <c:v>44946</c:v>
                </c:pt>
                <c:pt idx="4960">
                  <c:v>44949</c:v>
                </c:pt>
                <c:pt idx="4961">
                  <c:v>44950</c:v>
                </c:pt>
                <c:pt idx="4962">
                  <c:v>44951</c:v>
                </c:pt>
                <c:pt idx="4963">
                  <c:v>44952</c:v>
                </c:pt>
                <c:pt idx="4964">
                  <c:v>44953</c:v>
                </c:pt>
                <c:pt idx="4965">
                  <c:v>44956</c:v>
                </c:pt>
                <c:pt idx="4966">
                  <c:v>44957</c:v>
                </c:pt>
                <c:pt idx="4967">
                  <c:v>44958</c:v>
                </c:pt>
                <c:pt idx="4968">
                  <c:v>44959</c:v>
                </c:pt>
                <c:pt idx="4969">
                  <c:v>44960</c:v>
                </c:pt>
                <c:pt idx="4970">
                  <c:v>44963</c:v>
                </c:pt>
                <c:pt idx="4971">
                  <c:v>44964</c:v>
                </c:pt>
                <c:pt idx="4972">
                  <c:v>44965</c:v>
                </c:pt>
                <c:pt idx="4973">
                  <c:v>44966</c:v>
                </c:pt>
                <c:pt idx="4974">
                  <c:v>44967</c:v>
                </c:pt>
                <c:pt idx="4975">
                  <c:v>44970</c:v>
                </c:pt>
                <c:pt idx="4976">
                  <c:v>44971</c:v>
                </c:pt>
                <c:pt idx="4977">
                  <c:v>44972</c:v>
                </c:pt>
                <c:pt idx="4978">
                  <c:v>44973</c:v>
                </c:pt>
                <c:pt idx="4979">
                  <c:v>44974</c:v>
                </c:pt>
                <c:pt idx="4980">
                  <c:v>44977</c:v>
                </c:pt>
                <c:pt idx="4981">
                  <c:v>44978</c:v>
                </c:pt>
                <c:pt idx="4982">
                  <c:v>44979</c:v>
                </c:pt>
                <c:pt idx="4983">
                  <c:v>44980</c:v>
                </c:pt>
                <c:pt idx="4984">
                  <c:v>44981</c:v>
                </c:pt>
                <c:pt idx="4985">
                  <c:v>44984</c:v>
                </c:pt>
                <c:pt idx="4986">
                  <c:v>44985</c:v>
                </c:pt>
                <c:pt idx="4987">
                  <c:v>44986</c:v>
                </c:pt>
                <c:pt idx="4988">
                  <c:v>44987</c:v>
                </c:pt>
                <c:pt idx="4989">
                  <c:v>44988</c:v>
                </c:pt>
                <c:pt idx="4990">
                  <c:v>44991</c:v>
                </c:pt>
                <c:pt idx="4991">
                  <c:v>44992</c:v>
                </c:pt>
                <c:pt idx="4992">
                  <c:v>44993</c:v>
                </c:pt>
                <c:pt idx="4993">
                  <c:v>44994</c:v>
                </c:pt>
                <c:pt idx="4994">
                  <c:v>44995</c:v>
                </c:pt>
                <c:pt idx="4995">
                  <c:v>44998</c:v>
                </c:pt>
                <c:pt idx="4996">
                  <c:v>44999</c:v>
                </c:pt>
                <c:pt idx="4997">
                  <c:v>45000</c:v>
                </c:pt>
                <c:pt idx="4998">
                  <c:v>45001</c:v>
                </c:pt>
                <c:pt idx="4999">
                  <c:v>45002</c:v>
                </c:pt>
                <c:pt idx="5000">
                  <c:v>45005</c:v>
                </c:pt>
                <c:pt idx="5001">
                  <c:v>45006</c:v>
                </c:pt>
                <c:pt idx="5002">
                  <c:v>45007</c:v>
                </c:pt>
                <c:pt idx="5003">
                  <c:v>45008</c:v>
                </c:pt>
                <c:pt idx="5004">
                  <c:v>45009</c:v>
                </c:pt>
                <c:pt idx="5005">
                  <c:v>45012</c:v>
                </c:pt>
                <c:pt idx="5006">
                  <c:v>45013</c:v>
                </c:pt>
                <c:pt idx="5007">
                  <c:v>45014</c:v>
                </c:pt>
                <c:pt idx="5008">
                  <c:v>45015</c:v>
                </c:pt>
                <c:pt idx="5009">
                  <c:v>45016</c:v>
                </c:pt>
                <c:pt idx="5010">
                  <c:v>45019</c:v>
                </c:pt>
                <c:pt idx="5011">
                  <c:v>45020</c:v>
                </c:pt>
                <c:pt idx="5012">
                  <c:v>45021</c:v>
                </c:pt>
                <c:pt idx="5013">
                  <c:v>45022</c:v>
                </c:pt>
                <c:pt idx="5014">
                  <c:v>45023</c:v>
                </c:pt>
                <c:pt idx="5015">
                  <c:v>45026</c:v>
                </c:pt>
                <c:pt idx="5016">
                  <c:v>45027</c:v>
                </c:pt>
                <c:pt idx="5017">
                  <c:v>45028</c:v>
                </c:pt>
                <c:pt idx="5018">
                  <c:v>45029</c:v>
                </c:pt>
                <c:pt idx="5019">
                  <c:v>45030</c:v>
                </c:pt>
                <c:pt idx="5020">
                  <c:v>45033</c:v>
                </c:pt>
                <c:pt idx="5021">
                  <c:v>45034</c:v>
                </c:pt>
                <c:pt idx="5022">
                  <c:v>45035</c:v>
                </c:pt>
                <c:pt idx="5023">
                  <c:v>45036</c:v>
                </c:pt>
                <c:pt idx="5024">
                  <c:v>45037</c:v>
                </c:pt>
                <c:pt idx="5025">
                  <c:v>45040</c:v>
                </c:pt>
                <c:pt idx="5026">
                  <c:v>45041</c:v>
                </c:pt>
                <c:pt idx="5027">
                  <c:v>45042</c:v>
                </c:pt>
                <c:pt idx="5028">
                  <c:v>45043</c:v>
                </c:pt>
                <c:pt idx="5029">
                  <c:v>45044</c:v>
                </c:pt>
                <c:pt idx="5030">
                  <c:v>45047</c:v>
                </c:pt>
                <c:pt idx="5031">
                  <c:v>45048</c:v>
                </c:pt>
                <c:pt idx="5032">
                  <c:v>45049</c:v>
                </c:pt>
                <c:pt idx="5033">
                  <c:v>45050</c:v>
                </c:pt>
                <c:pt idx="5034">
                  <c:v>45051</c:v>
                </c:pt>
                <c:pt idx="5035">
                  <c:v>45054</c:v>
                </c:pt>
                <c:pt idx="5036">
                  <c:v>45055</c:v>
                </c:pt>
                <c:pt idx="5037">
                  <c:v>45056</c:v>
                </c:pt>
                <c:pt idx="5038">
                  <c:v>45057</c:v>
                </c:pt>
                <c:pt idx="5039">
                  <c:v>45058</c:v>
                </c:pt>
                <c:pt idx="5040">
                  <c:v>45061</c:v>
                </c:pt>
                <c:pt idx="5041">
                  <c:v>45062</c:v>
                </c:pt>
                <c:pt idx="5042">
                  <c:v>45063</c:v>
                </c:pt>
                <c:pt idx="5043">
                  <c:v>45064</c:v>
                </c:pt>
                <c:pt idx="5044">
                  <c:v>45065</c:v>
                </c:pt>
                <c:pt idx="5045">
                  <c:v>45068</c:v>
                </c:pt>
                <c:pt idx="5046">
                  <c:v>45069</c:v>
                </c:pt>
                <c:pt idx="5047">
                  <c:v>45070</c:v>
                </c:pt>
                <c:pt idx="5048">
                  <c:v>45071</c:v>
                </c:pt>
                <c:pt idx="5049">
                  <c:v>45072</c:v>
                </c:pt>
                <c:pt idx="5050">
                  <c:v>45075</c:v>
                </c:pt>
                <c:pt idx="5051">
                  <c:v>45076</c:v>
                </c:pt>
                <c:pt idx="5052">
                  <c:v>45077</c:v>
                </c:pt>
                <c:pt idx="5053">
                  <c:v>45078</c:v>
                </c:pt>
                <c:pt idx="5054">
                  <c:v>45079</c:v>
                </c:pt>
                <c:pt idx="5055">
                  <c:v>45082</c:v>
                </c:pt>
                <c:pt idx="5056">
                  <c:v>45083</c:v>
                </c:pt>
                <c:pt idx="5057">
                  <c:v>45084</c:v>
                </c:pt>
                <c:pt idx="5058">
                  <c:v>45085</c:v>
                </c:pt>
                <c:pt idx="5059">
                  <c:v>45086</c:v>
                </c:pt>
                <c:pt idx="5060">
                  <c:v>45089</c:v>
                </c:pt>
                <c:pt idx="5061">
                  <c:v>45090</c:v>
                </c:pt>
                <c:pt idx="5062">
                  <c:v>45091</c:v>
                </c:pt>
                <c:pt idx="5063">
                  <c:v>45092</c:v>
                </c:pt>
                <c:pt idx="5064">
                  <c:v>45093</c:v>
                </c:pt>
                <c:pt idx="5065">
                  <c:v>45096</c:v>
                </c:pt>
                <c:pt idx="5066">
                  <c:v>45097</c:v>
                </c:pt>
                <c:pt idx="5067">
                  <c:v>45098</c:v>
                </c:pt>
                <c:pt idx="5068">
                  <c:v>45099</c:v>
                </c:pt>
                <c:pt idx="5069">
                  <c:v>45100</c:v>
                </c:pt>
                <c:pt idx="5070">
                  <c:v>45103</c:v>
                </c:pt>
                <c:pt idx="5071">
                  <c:v>45104</c:v>
                </c:pt>
                <c:pt idx="5072">
                  <c:v>45105</c:v>
                </c:pt>
                <c:pt idx="5073">
                  <c:v>45106</c:v>
                </c:pt>
                <c:pt idx="5074">
                  <c:v>45107</c:v>
                </c:pt>
                <c:pt idx="5075">
                  <c:v>45110</c:v>
                </c:pt>
                <c:pt idx="5076">
                  <c:v>45111</c:v>
                </c:pt>
                <c:pt idx="5077">
                  <c:v>45112</c:v>
                </c:pt>
                <c:pt idx="5078">
                  <c:v>45113</c:v>
                </c:pt>
                <c:pt idx="5079">
                  <c:v>45114</c:v>
                </c:pt>
                <c:pt idx="5080">
                  <c:v>45117</c:v>
                </c:pt>
                <c:pt idx="5081">
                  <c:v>45118</c:v>
                </c:pt>
                <c:pt idx="5082">
                  <c:v>45119</c:v>
                </c:pt>
                <c:pt idx="5083">
                  <c:v>45120</c:v>
                </c:pt>
                <c:pt idx="5084">
                  <c:v>45121</c:v>
                </c:pt>
                <c:pt idx="5085">
                  <c:v>45124</c:v>
                </c:pt>
                <c:pt idx="5086">
                  <c:v>45125</c:v>
                </c:pt>
                <c:pt idx="5087">
                  <c:v>45126</c:v>
                </c:pt>
                <c:pt idx="5088">
                  <c:v>45127</c:v>
                </c:pt>
                <c:pt idx="5089">
                  <c:v>45128</c:v>
                </c:pt>
                <c:pt idx="5090">
                  <c:v>45131</c:v>
                </c:pt>
                <c:pt idx="5091">
                  <c:v>45132</c:v>
                </c:pt>
                <c:pt idx="5092">
                  <c:v>45133</c:v>
                </c:pt>
                <c:pt idx="5093">
                  <c:v>45134</c:v>
                </c:pt>
                <c:pt idx="5094">
                  <c:v>45135</c:v>
                </c:pt>
                <c:pt idx="5095">
                  <c:v>45138</c:v>
                </c:pt>
                <c:pt idx="5096">
                  <c:v>45139</c:v>
                </c:pt>
                <c:pt idx="5097">
                  <c:v>45140</c:v>
                </c:pt>
                <c:pt idx="5098">
                  <c:v>45141</c:v>
                </c:pt>
                <c:pt idx="5099">
                  <c:v>45142</c:v>
                </c:pt>
                <c:pt idx="5100">
                  <c:v>45145</c:v>
                </c:pt>
                <c:pt idx="5101">
                  <c:v>45146</c:v>
                </c:pt>
                <c:pt idx="5102">
                  <c:v>45147</c:v>
                </c:pt>
                <c:pt idx="5103">
                  <c:v>45148</c:v>
                </c:pt>
                <c:pt idx="5104">
                  <c:v>45149</c:v>
                </c:pt>
                <c:pt idx="5105">
                  <c:v>45152</c:v>
                </c:pt>
                <c:pt idx="5106">
                  <c:v>45153</c:v>
                </c:pt>
                <c:pt idx="5107">
                  <c:v>45154</c:v>
                </c:pt>
                <c:pt idx="5108">
                  <c:v>45155</c:v>
                </c:pt>
                <c:pt idx="5109">
                  <c:v>45156</c:v>
                </c:pt>
                <c:pt idx="5110">
                  <c:v>45159</c:v>
                </c:pt>
                <c:pt idx="5111">
                  <c:v>45160</c:v>
                </c:pt>
                <c:pt idx="5112">
                  <c:v>45161</c:v>
                </c:pt>
                <c:pt idx="5113">
                  <c:v>45162</c:v>
                </c:pt>
                <c:pt idx="5114">
                  <c:v>45163</c:v>
                </c:pt>
                <c:pt idx="5115">
                  <c:v>45166</c:v>
                </c:pt>
                <c:pt idx="5116">
                  <c:v>45167</c:v>
                </c:pt>
                <c:pt idx="5117">
                  <c:v>45168</c:v>
                </c:pt>
                <c:pt idx="5118">
                  <c:v>45169</c:v>
                </c:pt>
                <c:pt idx="5119">
                  <c:v>45170</c:v>
                </c:pt>
                <c:pt idx="5120">
                  <c:v>45173</c:v>
                </c:pt>
                <c:pt idx="5121">
                  <c:v>45174</c:v>
                </c:pt>
                <c:pt idx="5122">
                  <c:v>45175</c:v>
                </c:pt>
                <c:pt idx="5123">
                  <c:v>45176</c:v>
                </c:pt>
                <c:pt idx="5124">
                  <c:v>45177</c:v>
                </c:pt>
                <c:pt idx="5125">
                  <c:v>45180</c:v>
                </c:pt>
                <c:pt idx="5126">
                  <c:v>45181</c:v>
                </c:pt>
                <c:pt idx="5127">
                  <c:v>45182</c:v>
                </c:pt>
                <c:pt idx="5128">
                  <c:v>45183</c:v>
                </c:pt>
                <c:pt idx="5129">
                  <c:v>45184</c:v>
                </c:pt>
                <c:pt idx="5130">
                  <c:v>45187</c:v>
                </c:pt>
                <c:pt idx="5131">
                  <c:v>45188</c:v>
                </c:pt>
                <c:pt idx="5132">
                  <c:v>45189</c:v>
                </c:pt>
                <c:pt idx="5133">
                  <c:v>45190</c:v>
                </c:pt>
                <c:pt idx="5134">
                  <c:v>45191</c:v>
                </c:pt>
                <c:pt idx="5135">
                  <c:v>45194</c:v>
                </c:pt>
                <c:pt idx="5136">
                  <c:v>45195</c:v>
                </c:pt>
                <c:pt idx="5137">
                  <c:v>45196</c:v>
                </c:pt>
                <c:pt idx="5138">
                  <c:v>45197</c:v>
                </c:pt>
                <c:pt idx="5139">
                  <c:v>45198</c:v>
                </c:pt>
                <c:pt idx="5140">
                  <c:v>45201</c:v>
                </c:pt>
                <c:pt idx="5141">
                  <c:v>45202</c:v>
                </c:pt>
                <c:pt idx="5142">
                  <c:v>45203</c:v>
                </c:pt>
                <c:pt idx="5143">
                  <c:v>45204</c:v>
                </c:pt>
                <c:pt idx="5144">
                  <c:v>45205</c:v>
                </c:pt>
                <c:pt idx="5145">
                  <c:v>45208</c:v>
                </c:pt>
                <c:pt idx="5146">
                  <c:v>45209</c:v>
                </c:pt>
                <c:pt idx="5147">
                  <c:v>45210</c:v>
                </c:pt>
                <c:pt idx="5148">
                  <c:v>45211</c:v>
                </c:pt>
                <c:pt idx="5149">
                  <c:v>45212</c:v>
                </c:pt>
                <c:pt idx="5150">
                  <c:v>45215</c:v>
                </c:pt>
                <c:pt idx="5151">
                  <c:v>45216</c:v>
                </c:pt>
                <c:pt idx="5152">
                  <c:v>45217</c:v>
                </c:pt>
                <c:pt idx="5153">
                  <c:v>45218</c:v>
                </c:pt>
                <c:pt idx="5154">
                  <c:v>45219</c:v>
                </c:pt>
                <c:pt idx="5155">
                  <c:v>45222</c:v>
                </c:pt>
                <c:pt idx="5156">
                  <c:v>45223</c:v>
                </c:pt>
                <c:pt idx="5157">
                  <c:v>45224</c:v>
                </c:pt>
                <c:pt idx="5158">
                  <c:v>45225</c:v>
                </c:pt>
                <c:pt idx="5159">
                  <c:v>45226</c:v>
                </c:pt>
                <c:pt idx="5160">
                  <c:v>45229</c:v>
                </c:pt>
                <c:pt idx="5161">
                  <c:v>45230</c:v>
                </c:pt>
                <c:pt idx="5162">
                  <c:v>45231</c:v>
                </c:pt>
                <c:pt idx="5163">
                  <c:v>45232</c:v>
                </c:pt>
                <c:pt idx="5164">
                  <c:v>45233</c:v>
                </c:pt>
                <c:pt idx="5165">
                  <c:v>45236</c:v>
                </c:pt>
                <c:pt idx="5166">
                  <c:v>45237</c:v>
                </c:pt>
                <c:pt idx="5167">
                  <c:v>45238</c:v>
                </c:pt>
                <c:pt idx="5168">
                  <c:v>45239</c:v>
                </c:pt>
                <c:pt idx="5169">
                  <c:v>45240</c:v>
                </c:pt>
                <c:pt idx="5170">
                  <c:v>45243</c:v>
                </c:pt>
                <c:pt idx="5171">
                  <c:v>45244</c:v>
                </c:pt>
                <c:pt idx="5172">
                  <c:v>45245</c:v>
                </c:pt>
                <c:pt idx="5173">
                  <c:v>45246</c:v>
                </c:pt>
                <c:pt idx="5174">
                  <c:v>45247</c:v>
                </c:pt>
                <c:pt idx="5175">
                  <c:v>45250</c:v>
                </c:pt>
                <c:pt idx="5176">
                  <c:v>45251</c:v>
                </c:pt>
                <c:pt idx="5177">
                  <c:v>45252</c:v>
                </c:pt>
                <c:pt idx="5178">
                  <c:v>45253</c:v>
                </c:pt>
                <c:pt idx="5179">
                  <c:v>45254</c:v>
                </c:pt>
                <c:pt idx="5180">
                  <c:v>45257</c:v>
                </c:pt>
                <c:pt idx="5181">
                  <c:v>45258</c:v>
                </c:pt>
                <c:pt idx="5182">
                  <c:v>45259</c:v>
                </c:pt>
                <c:pt idx="5183">
                  <c:v>45260</c:v>
                </c:pt>
                <c:pt idx="5184">
                  <c:v>45261</c:v>
                </c:pt>
                <c:pt idx="5185">
                  <c:v>45264</c:v>
                </c:pt>
                <c:pt idx="5186">
                  <c:v>45265</c:v>
                </c:pt>
                <c:pt idx="5187">
                  <c:v>45266</c:v>
                </c:pt>
                <c:pt idx="5188">
                  <c:v>45267</c:v>
                </c:pt>
                <c:pt idx="5189">
                  <c:v>45268</c:v>
                </c:pt>
                <c:pt idx="5190">
                  <c:v>45271</c:v>
                </c:pt>
                <c:pt idx="5191">
                  <c:v>45272</c:v>
                </c:pt>
                <c:pt idx="5192">
                  <c:v>45273</c:v>
                </c:pt>
                <c:pt idx="5193">
                  <c:v>45274</c:v>
                </c:pt>
                <c:pt idx="5194">
                  <c:v>45275</c:v>
                </c:pt>
                <c:pt idx="5195">
                  <c:v>45278</c:v>
                </c:pt>
                <c:pt idx="5196">
                  <c:v>45279</c:v>
                </c:pt>
                <c:pt idx="5197">
                  <c:v>45280</c:v>
                </c:pt>
                <c:pt idx="5198">
                  <c:v>45281</c:v>
                </c:pt>
                <c:pt idx="5199">
                  <c:v>45282</c:v>
                </c:pt>
                <c:pt idx="5200">
                  <c:v>45285</c:v>
                </c:pt>
                <c:pt idx="5201">
                  <c:v>45286</c:v>
                </c:pt>
                <c:pt idx="5202">
                  <c:v>45287</c:v>
                </c:pt>
                <c:pt idx="5203">
                  <c:v>45288</c:v>
                </c:pt>
                <c:pt idx="5204">
                  <c:v>45289</c:v>
                </c:pt>
                <c:pt idx="5205">
                  <c:v>45292</c:v>
                </c:pt>
                <c:pt idx="5206">
                  <c:v>45293</c:v>
                </c:pt>
                <c:pt idx="5207">
                  <c:v>45294</c:v>
                </c:pt>
                <c:pt idx="5208">
                  <c:v>45295</c:v>
                </c:pt>
                <c:pt idx="5209">
                  <c:v>45296</c:v>
                </c:pt>
                <c:pt idx="5210">
                  <c:v>45299</c:v>
                </c:pt>
                <c:pt idx="5211">
                  <c:v>45300</c:v>
                </c:pt>
                <c:pt idx="5212">
                  <c:v>45301</c:v>
                </c:pt>
                <c:pt idx="5213">
                  <c:v>45302</c:v>
                </c:pt>
                <c:pt idx="5214">
                  <c:v>45303</c:v>
                </c:pt>
                <c:pt idx="5215">
                  <c:v>45306</c:v>
                </c:pt>
                <c:pt idx="5216">
                  <c:v>45307</c:v>
                </c:pt>
                <c:pt idx="5217">
                  <c:v>45308</c:v>
                </c:pt>
                <c:pt idx="5218">
                  <c:v>45309</c:v>
                </c:pt>
                <c:pt idx="5219">
                  <c:v>45310</c:v>
                </c:pt>
              </c:numCache>
            </c:numRef>
          </c:cat>
          <c:val>
            <c:numRef>
              <c:f>'Portfolio 30-70'!$D:$D</c:f>
              <c:numCache>
                <c:formatCode>0.00%</c:formatCode>
                <c:ptCount val="1048576"/>
                <c:pt idx="0">
                  <c:v>0</c:v>
                </c:pt>
                <c:pt idx="1">
                  <c:v>0</c:v>
                </c:pt>
                <c:pt idx="2">
                  <c:v>-2.194999999999947E-3</c:v>
                </c:pt>
                <c:pt idx="3">
                  <c:v>-3.1940000000000301E-3</c:v>
                </c:pt>
                <c:pt idx="4">
                  <c:v>-3.3339999999999481E-3</c:v>
                </c:pt>
                <c:pt idx="5">
                  <c:v>-2.310999999999952E-3</c:v>
                </c:pt>
                <c:pt idx="6">
                  <c:v>-3.4089999999999954E-3</c:v>
                </c:pt>
                <c:pt idx="7">
                  <c:v>-2.078999999999942E-3</c:v>
                </c:pt>
                <c:pt idx="8">
                  <c:v>-4.6749999999999847E-3</c:v>
                </c:pt>
                <c:pt idx="9">
                  <c:v>-5.6760000000000144E-3</c:v>
                </c:pt>
                <c:pt idx="10">
                  <c:v>-2.110999999999974E-3</c:v>
                </c:pt>
                <c:pt idx="11">
                  <c:v>-2.3520000000000207E-3</c:v>
                </c:pt>
                <c:pt idx="12">
                  <c:v>-4.2369999999999353E-3</c:v>
                </c:pt>
                <c:pt idx="13">
                  <c:v>-5.9980000000000588E-3</c:v>
                </c:pt>
                <c:pt idx="14">
                  <c:v>-7.093000000000016E-3</c:v>
                </c:pt>
                <c:pt idx="15">
                  <c:v>-5.5749999999999966E-3</c:v>
                </c:pt>
                <c:pt idx="16">
                  <c:v>-4.9529999999999852E-3</c:v>
                </c:pt>
                <c:pt idx="17">
                  <c:v>-4.7129999999999672E-3</c:v>
                </c:pt>
                <c:pt idx="18">
                  <c:v>-1.7919999999999048E-3</c:v>
                </c:pt>
                <c:pt idx="19">
                  <c:v>-4.9059999999999659E-3</c:v>
                </c:pt>
                <c:pt idx="20">
                  <c:v>-5.2119999999998834E-3</c:v>
                </c:pt>
                <c:pt idx="21">
                  <c:v>-4.8239999999999394E-3</c:v>
                </c:pt>
                <c:pt idx="22">
                  <c:v>-2.0980000000000443E-3</c:v>
                </c:pt>
                <c:pt idx="23">
                  <c:v>-4.1370000000000573E-3</c:v>
                </c:pt>
                <c:pt idx="24">
                  <c:v>-3.0639999999999556E-3</c:v>
                </c:pt>
                <c:pt idx="25">
                  <c:v>-1.3290000000000246E-3</c:v>
                </c:pt>
                <c:pt idx="26">
                  <c:v>-1.0729999999999906E-3</c:v>
                </c:pt>
                <c:pt idx="27">
                  <c:v>-2.4769999999999515E-3</c:v>
                </c:pt>
                <c:pt idx="28">
                  <c:v>-1.4740000000000864E-3</c:v>
                </c:pt>
                <c:pt idx="29">
                  <c:v>0</c:v>
                </c:pt>
                <c:pt idx="30">
                  <c:v>0</c:v>
                </c:pt>
                <c:pt idx="31">
                  <c:v>0</c:v>
                </c:pt>
                <c:pt idx="32">
                  <c:v>0</c:v>
                </c:pt>
                <c:pt idx="33">
                  <c:v>0</c:v>
                </c:pt>
                <c:pt idx="34">
                  <c:v>0</c:v>
                </c:pt>
                <c:pt idx="35">
                  <c:v>-1.0151159270302967E-3</c:v>
                </c:pt>
                <c:pt idx="36">
                  <c:v>-2.5635140028612557E-3</c:v>
                </c:pt>
                <c:pt idx="37">
                  <c:v>-7.0118192737468332E-3</c:v>
                </c:pt>
                <c:pt idx="38">
                  <c:v>-8.5028326285565559E-3</c:v>
                </c:pt>
                <c:pt idx="39">
                  <c:v>-1.2217009227067366E-2</c:v>
                </c:pt>
                <c:pt idx="40">
                  <c:v>-1.0275822629763565E-2</c:v>
                </c:pt>
                <c:pt idx="41">
                  <c:v>-1.3750566426772082E-2</c:v>
                </c:pt>
                <c:pt idx="42">
                  <c:v>-1.6272525976480212E-2</c:v>
                </c:pt>
                <c:pt idx="43">
                  <c:v>-6.4013645690901289E-3</c:v>
                </c:pt>
                <c:pt idx="44">
                  <c:v>-1.1801464695534447E-2</c:v>
                </c:pt>
                <c:pt idx="45">
                  <c:v>-1.2937286415057647E-2</c:v>
                </c:pt>
                <c:pt idx="46">
                  <c:v>-1.7038315184590758E-2</c:v>
                </c:pt>
                <c:pt idx="47">
                  <c:v>-1.6921566959064771E-2</c:v>
                </c:pt>
                <c:pt idx="48">
                  <c:v>-1.3889081270616388E-2</c:v>
                </c:pt>
                <c:pt idx="49">
                  <c:v>-9.654484615947756E-3</c:v>
                </c:pt>
                <c:pt idx="50">
                  <c:v>-8.7353396878666612E-3</c:v>
                </c:pt>
                <c:pt idx="51">
                  <c:v>-8.2554846931204295E-3</c:v>
                </c:pt>
                <c:pt idx="52">
                  <c:v>-5.0834947690857613E-3</c:v>
                </c:pt>
                <c:pt idx="53">
                  <c:v>-6.2816481683390935E-3</c:v>
                </c:pt>
                <c:pt idx="54">
                  <c:v>-8.1149910657926094E-3</c:v>
                </c:pt>
                <c:pt idx="55">
                  <c:v>-3.9615245339469363E-3</c:v>
                </c:pt>
                <c:pt idx="56">
                  <c:v>0</c:v>
                </c:pt>
                <c:pt idx="57">
                  <c:v>-2.3346763468723442E-4</c:v>
                </c:pt>
                <c:pt idx="58">
                  <c:v>-2.9907499532080273E-3</c:v>
                </c:pt>
                <c:pt idx="59">
                  <c:v>-2.8853447341720129E-3</c:v>
                </c:pt>
                <c:pt idx="60">
                  <c:v>-3.2330834474403325E-3</c:v>
                </c:pt>
                <c:pt idx="61">
                  <c:v>-1.270773201461961E-3</c:v>
                </c:pt>
                <c:pt idx="62">
                  <c:v>-2.7651630825609175E-3</c:v>
                </c:pt>
                <c:pt idx="63">
                  <c:v>-3.9492478795819519E-3</c:v>
                </c:pt>
                <c:pt idx="64">
                  <c:v>-3.2074709643100663E-3</c:v>
                </c:pt>
                <c:pt idx="65">
                  <c:v>-1.9169958527479602E-3</c:v>
                </c:pt>
                <c:pt idx="66">
                  <c:v>-3.5561947730833321E-3</c:v>
                </c:pt>
                <c:pt idx="67">
                  <c:v>-4.4378552500665691E-3</c:v>
                </c:pt>
                <c:pt idx="68">
                  <c:v>-3.2449045935003529E-3</c:v>
                </c:pt>
                <c:pt idx="69">
                  <c:v>0</c:v>
                </c:pt>
                <c:pt idx="70">
                  <c:v>0</c:v>
                </c:pt>
                <c:pt idx="71">
                  <c:v>-1.5743894075082032E-4</c:v>
                </c:pt>
                <c:pt idx="72">
                  <c:v>-1.1483202741011667E-3</c:v>
                </c:pt>
                <c:pt idx="73">
                  <c:v>-4.1376921616071982E-3</c:v>
                </c:pt>
                <c:pt idx="74">
                  <c:v>-7.6475965469703366E-3</c:v>
                </c:pt>
                <c:pt idx="75">
                  <c:v>-1.0499209361319317E-2</c:v>
                </c:pt>
                <c:pt idx="76">
                  <c:v>-8.4033034625743408E-3</c:v>
                </c:pt>
                <c:pt idx="77">
                  <c:v>-8.8903801855220177E-3</c:v>
                </c:pt>
                <c:pt idx="78">
                  <c:v>-9.0497871130323926E-3</c:v>
                </c:pt>
                <c:pt idx="79">
                  <c:v>-1.3340982241871524E-2</c:v>
                </c:pt>
                <c:pt idx="80">
                  <c:v>-1.4848460099560423E-2</c:v>
                </c:pt>
                <c:pt idx="81">
                  <c:v>-1.7046701309793577E-2</c:v>
                </c:pt>
                <c:pt idx="82">
                  <c:v>-1.373556358712813E-2</c:v>
                </c:pt>
                <c:pt idx="83">
                  <c:v>-1.6217194890712716E-2</c:v>
                </c:pt>
                <c:pt idx="84">
                  <c:v>-1.5331600848989435E-2</c:v>
                </c:pt>
                <c:pt idx="85">
                  <c:v>-1.4369255323650187E-2</c:v>
                </c:pt>
                <c:pt idx="86">
                  <c:v>-1.9975065607758635E-2</c:v>
                </c:pt>
                <c:pt idx="87">
                  <c:v>-1.9769410991402836E-2</c:v>
                </c:pt>
                <c:pt idx="88">
                  <c:v>-1.8979264307509736E-2</c:v>
                </c:pt>
                <c:pt idx="89">
                  <c:v>-1.6028268161811798E-2</c:v>
                </c:pt>
                <c:pt idx="90">
                  <c:v>-1.5987924433244372E-2</c:v>
                </c:pt>
                <c:pt idx="91">
                  <c:v>-1.5444760087654053E-2</c:v>
                </c:pt>
                <c:pt idx="92">
                  <c:v>-1.4445022813886488E-2</c:v>
                </c:pt>
                <c:pt idx="93">
                  <c:v>-1.2252685563931442E-2</c:v>
                </c:pt>
                <c:pt idx="94">
                  <c:v>-1.2834225651329745E-2</c:v>
                </c:pt>
                <c:pt idx="95">
                  <c:v>-1.4949811417668823E-2</c:v>
                </c:pt>
                <c:pt idx="96">
                  <c:v>-1.3491533228964459E-2</c:v>
                </c:pt>
                <c:pt idx="97">
                  <c:v>-1.524599342495625E-2</c:v>
                </c:pt>
                <c:pt idx="98">
                  <c:v>-1.4890771814887294E-2</c:v>
                </c:pt>
                <c:pt idx="99">
                  <c:v>-1.5275513226347015E-2</c:v>
                </c:pt>
                <c:pt idx="100">
                  <c:v>-1.4285615886376335E-2</c:v>
                </c:pt>
                <c:pt idx="101">
                  <c:v>-9.8694535983161469E-3</c:v>
                </c:pt>
                <c:pt idx="102">
                  <c:v>-7.9683783887501969E-3</c:v>
                </c:pt>
                <c:pt idx="103">
                  <c:v>-8.7713169865794027E-3</c:v>
                </c:pt>
                <c:pt idx="104">
                  <c:v>-6.9430572871106433E-3</c:v>
                </c:pt>
                <c:pt idx="105">
                  <c:v>-6.6803310547326467E-3</c:v>
                </c:pt>
                <c:pt idx="106">
                  <c:v>-1.0006228678093421E-2</c:v>
                </c:pt>
                <c:pt idx="107">
                  <c:v>-5.4660832241920643E-3</c:v>
                </c:pt>
                <c:pt idx="108">
                  <c:v>-6.227694100074177E-3</c:v>
                </c:pt>
                <c:pt idx="109">
                  <c:v>-6.0525432784888089E-3</c:v>
                </c:pt>
                <c:pt idx="110">
                  <c:v>-5.3509559987681143E-3</c:v>
                </c:pt>
                <c:pt idx="111">
                  <c:v>-6.2906696763744829E-3</c:v>
                </c:pt>
                <c:pt idx="112">
                  <c:v>-7.8138914281384864E-3</c:v>
                </c:pt>
                <c:pt idx="113">
                  <c:v>-5.1039736604652219E-3</c:v>
                </c:pt>
                <c:pt idx="114">
                  <c:v>-3.2412741927071442E-3</c:v>
                </c:pt>
                <c:pt idx="115">
                  <c:v>-7.1929916055524235E-3</c:v>
                </c:pt>
                <c:pt idx="116">
                  <c:v>-7.8070034744807115E-3</c:v>
                </c:pt>
                <c:pt idx="117">
                  <c:v>-5.3785078133994357E-3</c:v>
                </c:pt>
                <c:pt idx="118">
                  <c:v>-4.4112423211617457E-3</c:v>
                </c:pt>
                <c:pt idx="119">
                  <c:v>-7.4576858246898636E-3</c:v>
                </c:pt>
                <c:pt idx="120">
                  <c:v>-9.0556910733103901E-3</c:v>
                </c:pt>
                <c:pt idx="121">
                  <c:v>-1.159537798629684E-2</c:v>
                </c:pt>
                <c:pt idx="122">
                  <c:v>-1.3438397586461037E-2</c:v>
                </c:pt>
                <c:pt idx="123">
                  <c:v>-1.3958930084318366E-2</c:v>
                </c:pt>
                <c:pt idx="124">
                  <c:v>-1.6488777063507931E-2</c:v>
                </c:pt>
                <c:pt idx="125">
                  <c:v>-1.5573663220393885E-2</c:v>
                </c:pt>
                <c:pt idx="126">
                  <c:v>-1.486322000025575E-2</c:v>
                </c:pt>
                <c:pt idx="127">
                  <c:v>-1.5745862061840032E-2</c:v>
                </c:pt>
                <c:pt idx="128">
                  <c:v>-1.6018428228014803E-2</c:v>
                </c:pt>
                <c:pt idx="129">
                  <c:v>-1.7574121761308792E-2</c:v>
                </c:pt>
                <c:pt idx="130">
                  <c:v>-1.6960109892380726E-2</c:v>
                </c:pt>
                <c:pt idx="131">
                  <c:v>-1.9118991367426008E-2</c:v>
                </c:pt>
                <c:pt idx="132">
                  <c:v>-1.7826024066510016E-2</c:v>
                </c:pt>
                <c:pt idx="133">
                  <c:v>-1.8993040214825396E-2</c:v>
                </c:pt>
                <c:pt idx="134">
                  <c:v>-1.678397507741558E-2</c:v>
                </c:pt>
                <c:pt idx="135">
                  <c:v>-1.768137703969519E-2</c:v>
                </c:pt>
                <c:pt idx="136">
                  <c:v>-2.0280103555463169E-2</c:v>
                </c:pt>
                <c:pt idx="137">
                  <c:v>-1.7076221111184342E-2</c:v>
                </c:pt>
                <c:pt idx="138">
                  <c:v>-1.5942660737778502E-2</c:v>
                </c:pt>
                <c:pt idx="139">
                  <c:v>-1.3208143135612915E-2</c:v>
                </c:pt>
                <c:pt idx="140">
                  <c:v>-1.040277801010947E-2</c:v>
                </c:pt>
                <c:pt idx="141">
                  <c:v>-1.1305099939287633E-2</c:v>
                </c:pt>
                <c:pt idx="142">
                  <c:v>-1.2715162452386908E-2</c:v>
                </c:pt>
                <c:pt idx="143">
                  <c:v>-1.3734579593748464E-2</c:v>
                </c:pt>
                <c:pt idx="144">
                  <c:v>-1.5630734836415972E-2</c:v>
                </c:pt>
                <c:pt idx="145">
                  <c:v>-2.1663598247311011E-2</c:v>
                </c:pt>
                <c:pt idx="146">
                  <c:v>-2.5331925566804747E-2</c:v>
                </c:pt>
                <c:pt idx="147">
                  <c:v>-2.3239955641578436E-2</c:v>
                </c:pt>
                <c:pt idx="148">
                  <c:v>-2.3918911073566362E-2</c:v>
                </c:pt>
                <c:pt idx="149">
                  <c:v>-2.4582122611479074E-2</c:v>
                </c:pt>
                <c:pt idx="150">
                  <c:v>-2.6992906391725802E-2</c:v>
                </c:pt>
                <c:pt idx="151">
                  <c:v>-2.5826874236790198E-2</c:v>
                </c:pt>
                <c:pt idx="152">
                  <c:v>-2.3141556303609145E-2</c:v>
                </c:pt>
                <c:pt idx="153">
                  <c:v>-2.1287712776268397E-2</c:v>
                </c:pt>
                <c:pt idx="154">
                  <c:v>-2.1168649577325671E-2</c:v>
                </c:pt>
                <c:pt idx="155">
                  <c:v>-1.9438789215826091E-2</c:v>
                </c:pt>
                <c:pt idx="156">
                  <c:v>-1.9133751268121557E-2</c:v>
                </c:pt>
                <c:pt idx="157">
                  <c:v>-1.5498879723537251E-2</c:v>
                </c:pt>
                <c:pt idx="158">
                  <c:v>-1.2245797610273668E-2</c:v>
                </c:pt>
                <c:pt idx="159">
                  <c:v>-1.2209389855225017E-2</c:v>
                </c:pt>
                <c:pt idx="160">
                  <c:v>-1.0186299466577231E-2</c:v>
                </c:pt>
                <c:pt idx="161">
                  <c:v>-1.1980119397756672E-2</c:v>
                </c:pt>
                <c:pt idx="162">
                  <c:v>-1.2022431113083543E-2</c:v>
                </c:pt>
                <c:pt idx="163">
                  <c:v>-1.3508261116419229E-2</c:v>
                </c:pt>
                <c:pt idx="164">
                  <c:v>-1.1427115118369469E-2</c:v>
                </c:pt>
                <c:pt idx="165">
                  <c:v>-1.2566579452053528E-2</c:v>
                </c:pt>
                <c:pt idx="166">
                  <c:v>-8.3354079193754815E-3</c:v>
                </c:pt>
                <c:pt idx="167">
                  <c:v>-7.7932275671649398E-3</c:v>
                </c:pt>
                <c:pt idx="168">
                  <c:v>-8.8923481722814612E-3</c:v>
                </c:pt>
                <c:pt idx="169">
                  <c:v>-8.7024374500008772E-3</c:v>
                </c:pt>
                <c:pt idx="170">
                  <c:v>-1.0210899301069554E-2</c:v>
                </c:pt>
                <c:pt idx="171">
                  <c:v>-9.9944207575370925E-3</c:v>
                </c:pt>
                <c:pt idx="172">
                  <c:v>-8.9326919008488881E-3</c:v>
                </c:pt>
                <c:pt idx="173">
                  <c:v>-9.4856961802360917E-3</c:v>
                </c:pt>
                <c:pt idx="174">
                  <c:v>-7.9654264086110871E-3</c:v>
                </c:pt>
                <c:pt idx="175">
                  <c:v>-6.6025955777370138E-3</c:v>
                </c:pt>
                <c:pt idx="176">
                  <c:v>-7.6643244344251071E-3</c:v>
                </c:pt>
                <c:pt idx="177">
                  <c:v>-8.6178140193472474E-3</c:v>
                </c:pt>
                <c:pt idx="178">
                  <c:v>-1.0116435936618928E-2</c:v>
                </c:pt>
                <c:pt idx="179">
                  <c:v>-1.2235957676476672E-2</c:v>
                </c:pt>
                <c:pt idx="180">
                  <c:v>-1.3887098567600842E-2</c:v>
                </c:pt>
                <c:pt idx="181">
                  <c:v>-1.3944170183623039E-2</c:v>
                </c:pt>
                <c:pt idx="182">
                  <c:v>-1.4358431396473526E-2</c:v>
                </c:pt>
                <c:pt idx="183">
                  <c:v>-1.4632965549407739E-2</c:v>
                </c:pt>
                <c:pt idx="184">
                  <c:v>-1.4260032058504346E-2</c:v>
                </c:pt>
                <c:pt idx="185">
                  <c:v>-1.0596624705908941E-2</c:v>
                </c:pt>
                <c:pt idx="186">
                  <c:v>-6.1253587885861105E-3</c:v>
                </c:pt>
                <c:pt idx="187">
                  <c:v>-4.7910637657230248E-3</c:v>
                </c:pt>
                <c:pt idx="188">
                  <c:v>-4.8382954479482265E-3</c:v>
                </c:pt>
                <c:pt idx="189">
                  <c:v>-7.1575678438835499E-3</c:v>
                </c:pt>
                <c:pt idx="190">
                  <c:v>-7.1920076121728682E-3</c:v>
                </c:pt>
                <c:pt idx="191">
                  <c:v>-8.9602437154803205E-3</c:v>
                </c:pt>
                <c:pt idx="192">
                  <c:v>-7.808971461239933E-3</c:v>
                </c:pt>
                <c:pt idx="193">
                  <c:v>-9.6982387502497769E-3</c:v>
                </c:pt>
                <c:pt idx="194">
                  <c:v>-1.3066448088937199E-2</c:v>
                </c:pt>
                <c:pt idx="195">
                  <c:v>-1.4834684192244763E-2</c:v>
                </c:pt>
                <c:pt idx="196">
                  <c:v>-1.4698893105847155E-2</c:v>
                </c:pt>
                <c:pt idx="197">
                  <c:v>-1.6222114857611269E-2</c:v>
                </c:pt>
                <c:pt idx="198">
                  <c:v>-1.6122731526262202E-2</c:v>
                </c:pt>
                <c:pt idx="199">
                  <c:v>-1.709393299201889E-2</c:v>
                </c:pt>
                <c:pt idx="200">
                  <c:v>-1.8606330816606231E-2</c:v>
                </c:pt>
                <c:pt idx="201">
                  <c:v>-2.1644902373096797E-2</c:v>
                </c:pt>
                <c:pt idx="202">
                  <c:v>-2.0159072369761111E-2</c:v>
                </c:pt>
                <c:pt idx="203">
                  <c:v>-1.7118532826511101E-2</c:v>
                </c:pt>
                <c:pt idx="204">
                  <c:v>-1.6300834327986569E-2</c:v>
                </c:pt>
                <c:pt idx="205">
                  <c:v>-1.3760163421620453E-2</c:v>
                </c:pt>
                <c:pt idx="206">
                  <c:v>-1.3665700057170049E-2</c:v>
                </c:pt>
                <c:pt idx="207">
                  <c:v>-1.3580092633136753E-2</c:v>
                </c:pt>
                <c:pt idx="208">
                  <c:v>-1.0781615461291083E-2</c:v>
                </c:pt>
                <c:pt idx="209">
                  <c:v>-8.0411938988474985E-3</c:v>
                </c:pt>
                <c:pt idx="210">
                  <c:v>-1.0855414964768162E-2</c:v>
                </c:pt>
                <c:pt idx="211">
                  <c:v>-9.7228385847419885E-3</c:v>
                </c:pt>
                <c:pt idx="212">
                  <c:v>-8.58632623119715E-3</c:v>
                </c:pt>
                <c:pt idx="213">
                  <c:v>-9.7523583861327534E-3</c:v>
                </c:pt>
                <c:pt idx="214">
                  <c:v>-5.6087622642474466E-3</c:v>
                </c:pt>
                <c:pt idx="215">
                  <c:v>-4.0176449692845839E-3</c:v>
                </c:pt>
                <c:pt idx="216">
                  <c:v>-4.8737192096172111E-3</c:v>
                </c:pt>
                <c:pt idx="217">
                  <c:v>-6.6636031672778762E-3</c:v>
                </c:pt>
                <c:pt idx="218">
                  <c:v>-6.7354346839954005E-3</c:v>
                </c:pt>
                <c:pt idx="219">
                  <c:v>-6.7797143860814923E-3</c:v>
                </c:pt>
                <c:pt idx="220">
                  <c:v>-7.8621071037434653E-3</c:v>
                </c:pt>
                <c:pt idx="221">
                  <c:v>-7.2490792281949545E-3</c:v>
                </c:pt>
                <c:pt idx="222">
                  <c:v>-8.538110555592171E-3</c:v>
                </c:pt>
                <c:pt idx="223">
                  <c:v>-8.8510204503344792E-3</c:v>
                </c:pt>
                <c:pt idx="224">
                  <c:v>-8.3344239259958153E-3</c:v>
                </c:pt>
                <c:pt idx="225">
                  <c:v>-9.7887661411814042E-3</c:v>
                </c:pt>
                <c:pt idx="226">
                  <c:v>-1.1506818582124545E-2</c:v>
                </c:pt>
                <c:pt idx="227">
                  <c:v>-1.1346427661234615E-2</c:v>
                </c:pt>
                <c:pt idx="228">
                  <c:v>-8.9189159935332274E-3</c:v>
                </c:pt>
                <c:pt idx="229">
                  <c:v>-9.5270239021831848E-3</c:v>
                </c:pt>
                <c:pt idx="230">
                  <c:v>-6.5789797366243574E-3</c:v>
                </c:pt>
                <c:pt idx="231">
                  <c:v>-8.9936994903898615E-3</c:v>
                </c:pt>
                <c:pt idx="232">
                  <c:v>-1.2007671212387994E-2</c:v>
                </c:pt>
                <c:pt idx="233">
                  <c:v>-9.5713036042693878E-3</c:v>
                </c:pt>
                <c:pt idx="234">
                  <c:v>-9.4837281934767592E-3</c:v>
                </c:pt>
                <c:pt idx="235">
                  <c:v>-9.8448537638239353E-3</c:v>
                </c:pt>
                <c:pt idx="236">
                  <c:v>-8.1208973626025749E-3</c:v>
                </c:pt>
                <c:pt idx="237">
                  <c:v>-7.5787170103920332E-3</c:v>
                </c:pt>
                <c:pt idx="238">
                  <c:v>-6.8850016777086687E-3</c:v>
                </c:pt>
                <c:pt idx="239">
                  <c:v>-8.0185620511145084E-3</c:v>
                </c:pt>
                <c:pt idx="240">
                  <c:v>-9.2918494844366206E-3</c:v>
                </c:pt>
                <c:pt idx="241">
                  <c:v>-8.3964155089164549E-3</c:v>
                </c:pt>
                <c:pt idx="242">
                  <c:v>-8.9080920663565655E-3</c:v>
                </c:pt>
                <c:pt idx="243">
                  <c:v>-6.7797143860814923E-3</c:v>
                </c:pt>
                <c:pt idx="244">
                  <c:v>-6.6350673592667775E-3</c:v>
                </c:pt>
                <c:pt idx="245">
                  <c:v>-7.8562031434652457E-3</c:v>
                </c:pt>
                <c:pt idx="246">
                  <c:v>-9.7808941941438521E-3</c:v>
                </c:pt>
                <c:pt idx="247">
                  <c:v>-8.1090894420462467E-3</c:v>
                </c:pt>
                <c:pt idx="248">
                  <c:v>-1.1770528807882208E-2</c:v>
                </c:pt>
                <c:pt idx="249">
                  <c:v>-7.1310000226317838E-3</c:v>
                </c:pt>
                <c:pt idx="250">
                  <c:v>-7.3642064536190155E-3</c:v>
                </c:pt>
                <c:pt idx="251">
                  <c:v>-6.5091162066661656E-3</c:v>
                </c:pt>
                <c:pt idx="252">
                  <c:v>-5.022302209950813E-3</c:v>
                </c:pt>
                <c:pt idx="253">
                  <c:v>-7.1447759299475555E-3</c:v>
                </c:pt>
                <c:pt idx="254">
                  <c:v>-3.5482801271713438E-3</c:v>
                </c:pt>
                <c:pt idx="255">
                  <c:v>-2.0152184416103447E-3</c:v>
                </c:pt>
                <c:pt idx="256">
                  <c:v>-1.9463389050318192E-3</c:v>
                </c:pt>
                <c:pt idx="257">
                  <c:v>-4.8628952824405491E-3</c:v>
                </c:pt>
                <c:pt idx="258">
                  <c:v>-6.432364723050199E-3</c:v>
                </c:pt>
                <c:pt idx="259">
                  <c:v>-5.0291901636085878E-3</c:v>
                </c:pt>
                <c:pt idx="260">
                  <c:v>-3.2225783184930412E-3</c:v>
                </c:pt>
                <c:pt idx="261">
                  <c:v>-1.8745073883142949E-3</c:v>
                </c:pt>
                <c:pt idx="262">
                  <c:v>-8.1671450514519961E-5</c:v>
                </c:pt>
                <c:pt idx="263">
                  <c:v>-1.1994879298451444E-3</c:v>
                </c:pt>
                <c:pt idx="264">
                  <c:v>-4.6296888514534285E-3</c:v>
                </c:pt>
                <c:pt idx="265">
                  <c:v>-4.092428466141218E-3</c:v>
                </c:pt>
                <c:pt idx="266">
                  <c:v>-4.516529612788811E-3</c:v>
                </c:pt>
                <c:pt idx="267">
                  <c:v>-3.2766979543761288E-3</c:v>
                </c:pt>
                <c:pt idx="268">
                  <c:v>-4.2469154267530396E-3</c:v>
                </c:pt>
                <c:pt idx="269">
                  <c:v>-3.6634073525952937E-3</c:v>
                </c:pt>
                <c:pt idx="270">
                  <c:v>-2.0102984747119024E-3</c:v>
                </c:pt>
                <c:pt idx="271">
                  <c:v>-7.8424272361499181E-4</c:v>
                </c:pt>
                <c:pt idx="272">
                  <c:v>0</c:v>
                </c:pt>
                <c:pt idx="273">
                  <c:v>0</c:v>
                </c:pt>
                <c:pt idx="274">
                  <c:v>0</c:v>
                </c:pt>
                <c:pt idx="275">
                  <c:v>0</c:v>
                </c:pt>
                <c:pt idx="276">
                  <c:v>0</c:v>
                </c:pt>
                <c:pt idx="277">
                  <c:v>0</c:v>
                </c:pt>
                <c:pt idx="278">
                  <c:v>-6.6966551866864954E-4</c:v>
                </c:pt>
                <c:pt idx="279">
                  <c:v>-2.1554248764145134E-3</c:v>
                </c:pt>
                <c:pt idx="280">
                  <c:v>-7.9071293020638311E-4</c:v>
                </c:pt>
                <c:pt idx="281">
                  <c:v>-1.4867355465485455E-3</c:v>
                </c:pt>
                <c:pt idx="282">
                  <c:v>-3.9828503151140282E-4</c:v>
                </c:pt>
                <c:pt idx="283">
                  <c:v>-2.0021632343868445E-3</c:v>
                </c:pt>
                <c:pt idx="284">
                  <c:v>-3.764184023303585E-3</c:v>
                </c:pt>
                <c:pt idx="285">
                  <c:v>-5.5515857210910458E-3</c:v>
                </c:pt>
                <c:pt idx="286">
                  <c:v>-4.2942545431826629E-3</c:v>
                </c:pt>
                <c:pt idx="287">
                  <c:v>-7.6337964373013323E-3</c:v>
                </c:pt>
                <c:pt idx="288">
                  <c:v>-7.4688205296410404E-3</c:v>
                </c:pt>
                <c:pt idx="289">
                  <c:v>-7.9286054557240471E-3</c:v>
                </c:pt>
                <c:pt idx="290">
                  <c:v>-2.9217330865528579E-3</c:v>
                </c:pt>
                <c:pt idx="291">
                  <c:v>-4.564658841537228E-3</c:v>
                </c:pt>
                <c:pt idx="292">
                  <c:v>-3.5884700388132407E-3</c:v>
                </c:pt>
                <c:pt idx="293">
                  <c:v>-2.8992807440900714E-3</c:v>
                </c:pt>
                <c:pt idx="294">
                  <c:v>-7.0285593796126644E-4</c:v>
                </c:pt>
                <c:pt idx="295">
                  <c:v>0</c:v>
                </c:pt>
                <c:pt idx="296">
                  <c:v>-8.087595479921994E-5</c:v>
                </c:pt>
                <c:pt idx="297">
                  <c:v>-5.6710609268773027E-3</c:v>
                </c:pt>
                <c:pt idx="298">
                  <c:v>-8.2863749350801097E-3</c:v>
                </c:pt>
                <c:pt idx="299">
                  <c:v>-8.9752821645133762E-3</c:v>
                </c:pt>
                <c:pt idx="300">
                  <c:v>-9.0814927557556491E-3</c:v>
                </c:pt>
                <c:pt idx="301">
                  <c:v>-8.1704202528980474E-3</c:v>
                </c:pt>
                <c:pt idx="302">
                  <c:v>-5.3582756077145133E-3</c:v>
                </c:pt>
                <c:pt idx="303">
                  <c:v>-1.0475872169219858E-2</c:v>
                </c:pt>
                <c:pt idx="304">
                  <c:v>-1.1177446716874706E-2</c:v>
                </c:pt>
                <c:pt idx="305">
                  <c:v>-9.557978802704592E-3</c:v>
                </c:pt>
                <c:pt idx="306">
                  <c:v>-9.3114533019313939E-3</c:v>
                </c:pt>
                <c:pt idx="307">
                  <c:v>-8.7570145274652456E-3</c:v>
                </c:pt>
                <c:pt idx="308">
                  <c:v>-9.7343468487122164E-3</c:v>
                </c:pt>
                <c:pt idx="309">
                  <c:v>-6.3541217017470952E-3</c:v>
                </c:pt>
                <c:pt idx="310">
                  <c:v>-7.2232946135639686E-3</c:v>
                </c:pt>
                <c:pt idx="311">
                  <c:v>-5.3202736530499894E-3</c:v>
                </c:pt>
                <c:pt idx="312">
                  <c:v>-7.1638556588321523E-3</c:v>
                </c:pt>
                <c:pt idx="313">
                  <c:v>-5.5677735629170444E-3</c:v>
                </c:pt>
                <c:pt idx="314">
                  <c:v>-4.624545559958726E-3</c:v>
                </c:pt>
                <c:pt idx="315">
                  <c:v>-6.0345155189264199E-3</c:v>
                </c:pt>
                <c:pt idx="316">
                  <c:v>-3.8148116028736689E-3</c:v>
                </c:pt>
                <c:pt idx="317">
                  <c:v>-3.8459926938806399E-3</c:v>
                </c:pt>
                <c:pt idx="318">
                  <c:v>-2.5061801896784086E-3</c:v>
                </c:pt>
                <c:pt idx="319">
                  <c:v>-6.3726354745319291E-4</c:v>
                </c:pt>
                <c:pt idx="320">
                  <c:v>-3.4289456016635134E-3</c:v>
                </c:pt>
                <c:pt idx="321">
                  <c:v>-3.3441720104885331E-3</c:v>
                </c:pt>
                <c:pt idx="322">
                  <c:v>-2.4759735077655165E-3</c:v>
                </c:pt>
                <c:pt idx="323">
                  <c:v>-3.8031186937460548E-3</c:v>
                </c:pt>
                <c:pt idx="324">
                  <c:v>-6.0471828371478908E-3</c:v>
                </c:pt>
                <c:pt idx="325">
                  <c:v>-1.0669779578918792E-2</c:v>
                </c:pt>
                <c:pt idx="326">
                  <c:v>-1.4209807817294307E-2</c:v>
                </c:pt>
                <c:pt idx="327">
                  <c:v>-1.2617623357755292E-2</c:v>
                </c:pt>
                <c:pt idx="328">
                  <c:v>-1.6431460551535104E-2</c:v>
                </c:pt>
                <c:pt idx="329">
                  <c:v>-1.4275093226590152E-2</c:v>
                </c:pt>
                <c:pt idx="330">
                  <c:v>-1.3239296359705111E-2</c:v>
                </c:pt>
                <c:pt idx="331">
                  <c:v>-9.0074376646143151E-3</c:v>
                </c:pt>
                <c:pt idx="332">
                  <c:v>-1.1330428944627324E-2</c:v>
                </c:pt>
                <c:pt idx="333">
                  <c:v>-1.1050773534659331E-2</c:v>
                </c:pt>
                <c:pt idx="334">
                  <c:v>-1.2920664585978514E-2</c:v>
                </c:pt>
                <c:pt idx="335">
                  <c:v>-1.0298529714118154E-2</c:v>
                </c:pt>
                <c:pt idx="336">
                  <c:v>-8.5260795721954219E-3</c:v>
                </c:pt>
                <c:pt idx="337">
                  <c:v>-8.2746820259523846E-3</c:v>
                </c:pt>
                <c:pt idx="338">
                  <c:v>-8.698549981827286E-3</c:v>
                </c:pt>
                <c:pt idx="339">
                  <c:v>-6.2586296105384687E-3</c:v>
                </c:pt>
                <c:pt idx="340">
                  <c:v>-6.299554792485007E-3</c:v>
                </c:pt>
                <c:pt idx="341">
                  <c:v>-2.4964360987388412E-3</c:v>
                </c:pt>
                <c:pt idx="342">
                  <c:v>-5.06985051590092E-3</c:v>
                </c:pt>
                <c:pt idx="343">
                  <c:v>-4.4199196502260341E-3</c:v>
                </c:pt>
                <c:pt idx="344">
                  <c:v>-5.8513266092609095E-3</c:v>
                </c:pt>
                <c:pt idx="345">
                  <c:v>-4.7346537875768702E-3</c:v>
                </c:pt>
                <c:pt idx="346">
                  <c:v>-4.4130987865683702E-3</c:v>
                </c:pt>
                <c:pt idx="347">
                  <c:v>-3.332479101360919E-3</c:v>
                </c:pt>
                <c:pt idx="348">
                  <c:v>0</c:v>
                </c:pt>
                <c:pt idx="349">
                  <c:v>0</c:v>
                </c:pt>
                <c:pt idx="350">
                  <c:v>0</c:v>
                </c:pt>
                <c:pt idx="351">
                  <c:v>0</c:v>
                </c:pt>
                <c:pt idx="352">
                  <c:v>-3.4713603078062594E-4</c:v>
                </c:pt>
                <c:pt idx="353">
                  <c:v>-2.214689090232036E-3</c:v>
                </c:pt>
                <c:pt idx="354">
                  <c:v>-6.903934466921946E-4</c:v>
                </c:pt>
                <c:pt idx="355">
                  <c:v>-4.6155516941792651E-4</c:v>
                </c:pt>
                <c:pt idx="356">
                  <c:v>0</c:v>
                </c:pt>
                <c:pt idx="357">
                  <c:v>0</c:v>
                </c:pt>
                <c:pt idx="358">
                  <c:v>0</c:v>
                </c:pt>
                <c:pt idx="359">
                  <c:v>-1.0867486804795323E-3</c:v>
                </c:pt>
                <c:pt idx="360">
                  <c:v>-2.6885259133349049E-3</c:v>
                </c:pt>
                <c:pt idx="361">
                  <c:v>-1.436506876495991E-3</c:v>
                </c:pt>
                <c:pt idx="362">
                  <c:v>0</c:v>
                </c:pt>
                <c:pt idx="363">
                  <c:v>-2.0389199483933362E-3</c:v>
                </c:pt>
                <c:pt idx="364">
                  <c:v>-9.5514376113525756E-4</c:v>
                </c:pt>
                <c:pt idx="365">
                  <c:v>0</c:v>
                </c:pt>
                <c:pt idx="366">
                  <c:v>0</c:v>
                </c:pt>
                <c:pt idx="367">
                  <c:v>0</c:v>
                </c:pt>
                <c:pt idx="368">
                  <c:v>-2.6860586374740647E-3</c:v>
                </c:pt>
                <c:pt idx="369">
                  <c:v>0</c:v>
                </c:pt>
                <c:pt idx="370">
                  <c:v>0</c:v>
                </c:pt>
                <c:pt idx="371">
                  <c:v>-6.6881962890064095E-5</c:v>
                </c:pt>
                <c:pt idx="372">
                  <c:v>0</c:v>
                </c:pt>
                <c:pt idx="373">
                  <c:v>-9.6185621106803509E-5</c:v>
                </c:pt>
                <c:pt idx="374">
                  <c:v>-3.1969814856964707E-3</c:v>
                </c:pt>
                <c:pt idx="375">
                  <c:v>-4.9654636480254144E-3</c:v>
                </c:pt>
                <c:pt idx="376">
                  <c:v>-6.7844194531133661E-3</c:v>
                </c:pt>
                <c:pt idx="377">
                  <c:v>-5.9263675262106741E-3</c:v>
                </c:pt>
                <c:pt idx="378">
                  <c:v>-4.3169249552165168E-3</c:v>
                </c:pt>
                <c:pt idx="379">
                  <c:v>-4.5692931690115568E-3</c:v>
                </c:pt>
                <c:pt idx="380">
                  <c:v>-3.7236215695779507E-3</c:v>
                </c:pt>
                <c:pt idx="381">
                  <c:v>-2.0865613449988496E-3</c:v>
                </c:pt>
                <c:pt idx="382">
                  <c:v>-1.7265795155102515E-3</c:v>
                </c:pt>
                <c:pt idx="383">
                  <c:v>-1.5208756129452272E-3</c:v>
                </c:pt>
                <c:pt idx="384">
                  <c:v>-1.5456362678836211E-3</c:v>
                </c:pt>
                <c:pt idx="385">
                  <c:v>0</c:v>
                </c:pt>
                <c:pt idx="386">
                  <c:v>-1.5623973516365464E-3</c:v>
                </c:pt>
                <c:pt idx="387">
                  <c:v>-2.1269931039341605E-3</c:v>
                </c:pt>
                <c:pt idx="388">
                  <c:v>-9.0735202687974859E-4</c:v>
                </c:pt>
                <c:pt idx="389">
                  <c:v>0</c:v>
                </c:pt>
                <c:pt idx="390">
                  <c:v>0</c:v>
                </c:pt>
                <c:pt idx="391">
                  <c:v>0</c:v>
                </c:pt>
                <c:pt idx="392">
                  <c:v>0</c:v>
                </c:pt>
                <c:pt idx="393">
                  <c:v>0</c:v>
                </c:pt>
                <c:pt idx="394">
                  <c:v>-1.3707719895464932E-3</c:v>
                </c:pt>
                <c:pt idx="395">
                  <c:v>0</c:v>
                </c:pt>
                <c:pt idx="396">
                  <c:v>-8.1142824642388423E-4</c:v>
                </c:pt>
                <c:pt idx="397">
                  <c:v>-1.9508403401172769E-3</c:v>
                </c:pt>
                <c:pt idx="398">
                  <c:v>0</c:v>
                </c:pt>
                <c:pt idx="399">
                  <c:v>-3.2583224564730617E-4</c:v>
                </c:pt>
                <c:pt idx="400">
                  <c:v>-2.2107338992458647E-3</c:v>
                </c:pt>
                <c:pt idx="401">
                  <c:v>-4.6402679401909008E-3</c:v>
                </c:pt>
                <c:pt idx="402">
                  <c:v>-1.0769513468048553E-3</c:v>
                </c:pt>
                <c:pt idx="403">
                  <c:v>-1.5344425521758298E-3</c:v>
                </c:pt>
                <c:pt idx="404">
                  <c:v>-4.8514905878052073E-3</c:v>
                </c:pt>
                <c:pt idx="405">
                  <c:v>-8.4678496397849745E-3</c:v>
                </c:pt>
                <c:pt idx="406">
                  <c:v>-6.3186828799782768E-3</c:v>
                </c:pt>
                <c:pt idx="407">
                  <c:v>-4.8183390511841173E-3</c:v>
                </c:pt>
                <c:pt idx="408">
                  <c:v>-2.8946027404007646E-3</c:v>
                </c:pt>
                <c:pt idx="409">
                  <c:v>-2.7013766412379292E-3</c:v>
                </c:pt>
                <c:pt idx="410">
                  <c:v>-1.9000566417681775E-3</c:v>
                </c:pt>
                <c:pt idx="411">
                  <c:v>-1.053271677789791E-3</c:v>
                </c:pt>
                <c:pt idx="412">
                  <c:v>-1.9445744195165648E-3</c:v>
                </c:pt>
                <c:pt idx="413">
                  <c:v>-3.5557390993011806E-3</c:v>
                </c:pt>
                <c:pt idx="414">
                  <c:v>-9.91704538350624E-4</c:v>
                </c:pt>
                <c:pt idx="415">
                  <c:v>-8.051087465120732E-4</c:v>
                </c:pt>
                <c:pt idx="416">
                  <c:v>-5.209527183313023E-4</c:v>
                </c:pt>
                <c:pt idx="417">
                  <c:v>-9.7370798989926399E-4</c:v>
                </c:pt>
                <c:pt idx="418">
                  <c:v>-3.8171626452274676E-3</c:v>
                </c:pt>
                <c:pt idx="419">
                  <c:v>-3.9251419359360717E-3</c:v>
                </c:pt>
                <c:pt idx="420">
                  <c:v>-7.0252842033874385E-3</c:v>
                </c:pt>
                <c:pt idx="421">
                  <c:v>-5.2265765450036916E-3</c:v>
                </c:pt>
                <c:pt idx="422">
                  <c:v>-3.8427366877635816E-3</c:v>
                </c:pt>
                <c:pt idx="423">
                  <c:v>-1.7769223628900654E-3</c:v>
                </c:pt>
                <c:pt idx="424">
                  <c:v>-2.7856762629314691E-3</c:v>
                </c:pt>
                <c:pt idx="425">
                  <c:v>-6.026949357712752E-3</c:v>
                </c:pt>
                <c:pt idx="426">
                  <c:v>-4.261393235949873E-3</c:v>
                </c:pt>
                <c:pt idx="427">
                  <c:v>-2.6663307310955675E-3</c:v>
                </c:pt>
                <c:pt idx="428">
                  <c:v>-1.2313427887830075E-3</c:v>
                </c:pt>
                <c:pt idx="429">
                  <c:v>0</c:v>
                </c:pt>
                <c:pt idx="430">
                  <c:v>0</c:v>
                </c:pt>
                <c:pt idx="431">
                  <c:v>-3.4224623198242377E-4</c:v>
                </c:pt>
                <c:pt idx="432">
                  <c:v>0</c:v>
                </c:pt>
                <c:pt idx="433">
                  <c:v>-1.1358186013663563E-3</c:v>
                </c:pt>
                <c:pt idx="434">
                  <c:v>-2.0488165959808846E-4</c:v>
                </c:pt>
                <c:pt idx="435">
                  <c:v>0</c:v>
                </c:pt>
                <c:pt idx="436">
                  <c:v>0</c:v>
                </c:pt>
                <c:pt idx="437">
                  <c:v>-2.5362655908917064E-3</c:v>
                </c:pt>
                <c:pt idx="438">
                  <c:v>-3.6827065026693306E-3</c:v>
                </c:pt>
                <c:pt idx="439">
                  <c:v>-4.4870945522443861E-3</c:v>
                </c:pt>
                <c:pt idx="440">
                  <c:v>-4.1441019843764249E-3</c:v>
                </c:pt>
                <c:pt idx="441">
                  <c:v>-2.3849729787637219E-3</c:v>
                </c:pt>
                <c:pt idx="442">
                  <c:v>-4.9898370832290873E-4</c:v>
                </c:pt>
                <c:pt idx="443">
                  <c:v>0</c:v>
                </c:pt>
                <c:pt idx="444">
                  <c:v>0</c:v>
                </c:pt>
                <c:pt idx="445">
                  <c:v>0</c:v>
                </c:pt>
                <c:pt idx="446">
                  <c:v>0</c:v>
                </c:pt>
                <c:pt idx="447">
                  <c:v>0</c:v>
                </c:pt>
                <c:pt idx="448">
                  <c:v>-4.5169307703392114E-3</c:v>
                </c:pt>
                <c:pt idx="449">
                  <c:v>-1.1440645452282627E-2</c:v>
                </c:pt>
                <c:pt idx="450">
                  <c:v>-1.0623723852426381E-2</c:v>
                </c:pt>
                <c:pt idx="451">
                  <c:v>-9.3866444079703237E-3</c:v>
                </c:pt>
                <c:pt idx="452">
                  <c:v>-9.7525279652943553E-3</c:v>
                </c:pt>
                <c:pt idx="453">
                  <c:v>-1.2047956011625893E-2</c:v>
                </c:pt>
                <c:pt idx="454">
                  <c:v>-1.2662752679558964E-2</c:v>
                </c:pt>
                <c:pt idx="455">
                  <c:v>-1.1837409207539284E-2</c:v>
                </c:pt>
                <c:pt idx="456">
                  <c:v>-1.0973699428996952E-2</c:v>
                </c:pt>
                <c:pt idx="457">
                  <c:v>-1.1150558744429828E-2</c:v>
                </c:pt>
                <c:pt idx="458">
                  <c:v>-1.0684548484717893E-2</c:v>
                </c:pt>
                <c:pt idx="459">
                  <c:v>-1.4954437671595655E-2</c:v>
                </c:pt>
                <c:pt idx="460">
                  <c:v>-1.2395124297475357E-2</c:v>
                </c:pt>
                <c:pt idx="461">
                  <c:v>-9.872305702730344E-3</c:v>
                </c:pt>
                <c:pt idx="462">
                  <c:v>-1.4747633921803782E-2</c:v>
                </c:pt>
                <c:pt idx="463">
                  <c:v>-1.426571568133872E-2</c:v>
                </c:pt>
                <c:pt idx="464">
                  <c:v>-1.6797891911821017E-2</c:v>
                </c:pt>
                <c:pt idx="465">
                  <c:v>-1.2866749138629618E-2</c:v>
                </c:pt>
                <c:pt idx="466">
                  <c:v>-5.9533278559972258E-3</c:v>
                </c:pt>
                <c:pt idx="467">
                  <c:v>-8.1879312700370299E-3</c:v>
                </c:pt>
                <c:pt idx="468">
                  <c:v>-6.9321365541067381E-3</c:v>
                </c:pt>
                <c:pt idx="469">
                  <c:v>-3.0805336846814191E-3</c:v>
                </c:pt>
                <c:pt idx="470">
                  <c:v>-1.937030597596312E-4</c:v>
                </c:pt>
                <c:pt idx="471">
                  <c:v>0</c:v>
                </c:pt>
                <c:pt idx="472">
                  <c:v>0</c:v>
                </c:pt>
                <c:pt idx="473">
                  <c:v>-3.2697623898075845E-3</c:v>
                </c:pt>
                <c:pt idx="474">
                  <c:v>0</c:v>
                </c:pt>
                <c:pt idx="475">
                  <c:v>0</c:v>
                </c:pt>
                <c:pt idx="476">
                  <c:v>-1.1148157997014074E-3</c:v>
                </c:pt>
                <c:pt idx="477">
                  <c:v>-7.8567085133252057E-4</c:v>
                </c:pt>
                <c:pt idx="478">
                  <c:v>0</c:v>
                </c:pt>
                <c:pt idx="479">
                  <c:v>-1.6982516086501143E-3</c:v>
                </c:pt>
                <c:pt idx="480">
                  <c:v>-2.7456150939191293E-3</c:v>
                </c:pt>
                <c:pt idx="481">
                  <c:v>0</c:v>
                </c:pt>
                <c:pt idx="482">
                  <c:v>-1.9039872821043913E-3</c:v>
                </c:pt>
                <c:pt idx="483">
                  <c:v>-9.677061574580037E-4</c:v>
                </c:pt>
                <c:pt idx="484">
                  <c:v>0</c:v>
                </c:pt>
                <c:pt idx="485">
                  <c:v>-1.9644642449967442E-3</c:v>
                </c:pt>
                <c:pt idx="486">
                  <c:v>-3.9630850581632293E-3</c:v>
                </c:pt>
                <c:pt idx="487">
                  <c:v>-4.748686126063717E-3</c:v>
                </c:pt>
                <c:pt idx="488">
                  <c:v>-5.1345630313308632E-3</c:v>
                </c:pt>
                <c:pt idx="489">
                  <c:v>0</c:v>
                </c:pt>
                <c:pt idx="490">
                  <c:v>0</c:v>
                </c:pt>
                <c:pt idx="491">
                  <c:v>-2.8809177662429963E-3</c:v>
                </c:pt>
                <c:pt idx="492">
                  <c:v>-7.4625628099023178E-4</c:v>
                </c:pt>
                <c:pt idx="493">
                  <c:v>-2.9122421039635693E-3</c:v>
                </c:pt>
                <c:pt idx="494">
                  <c:v>-3.4419919330617166E-3</c:v>
                </c:pt>
                <c:pt idx="495">
                  <c:v>-5.691816424640006E-3</c:v>
                </c:pt>
                <c:pt idx="496">
                  <c:v>-3.3747367373675452E-3</c:v>
                </c:pt>
                <c:pt idx="497">
                  <c:v>-2.7639121518161502E-3</c:v>
                </c:pt>
                <c:pt idx="498">
                  <c:v>-3.3001111092684221E-3</c:v>
                </c:pt>
                <c:pt idx="499">
                  <c:v>-3.5322797300210151E-3</c:v>
                </c:pt>
                <c:pt idx="500">
                  <c:v>-3.2282493933212253E-3</c:v>
                </c:pt>
                <c:pt idx="501">
                  <c:v>-4.384485976831054E-3</c:v>
                </c:pt>
                <c:pt idx="502">
                  <c:v>-2.8790751581417862E-3</c:v>
                </c:pt>
                <c:pt idx="503">
                  <c:v>-1.3607660827441581E-3</c:v>
                </c:pt>
                <c:pt idx="504">
                  <c:v>0</c:v>
                </c:pt>
                <c:pt idx="505">
                  <c:v>0</c:v>
                </c:pt>
                <c:pt idx="506">
                  <c:v>-3.838877611611613E-4</c:v>
                </c:pt>
                <c:pt idx="507">
                  <c:v>-2.068575058342681E-3</c:v>
                </c:pt>
                <c:pt idx="508">
                  <c:v>-5.1829450727503001E-4</c:v>
                </c:pt>
                <c:pt idx="509">
                  <c:v>-1.6773225439699058E-3</c:v>
                </c:pt>
                <c:pt idx="510">
                  <c:v>-8.8929395031567271E-4</c:v>
                </c:pt>
                <c:pt idx="511">
                  <c:v>-1.4803153955563753E-3</c:v>
                </c:pt>
                <c:pt idx="512">
                  <c:v>-1.490441931222386E-3</c:v>
                </c:pt>
                <c:pt idx="513">
                  <c:v>0</c:v>
                </c:pt>
                <c:pt idx="514">
                  <c:v>-1.9250277498034096E-3</c:v>
                </c:pt>
                <c:pt idx="515">
                  <c:v>-2.0123201775990029E-4</c:v>
                </c:pt>
                <c:pt idx="516">
                  <c:v>0</c:v>
                </c:pt>
                <c:pt idx="517">
                  <c:v>-2.0697190741676419E-3</c:v>
                </c:pt>
                <c:pt idx="518">
                  <c:v>-7.5229150745448337E-4</c:v>
                </c:pt>
                <c:pt idx="519">
                  <c:v>0</c:v>
                </c:pt>
                <c:pt idx="520">
                  <c:v>-2.2048181734909411E-3</c:v>
                </c:pt>
                <c:pt idx="521">
                  <c:v>-3.2279930383805056E-3</c:v>
                </c:pt>
                <c:pt idx="522">
                  <c:v>-4.0386553082348842E-3</c:v>
                </c:pt>
                <c:pt idx="523">
                  <c:v>-8.1936429422002632E-3</c:v>
                </c:pt>
                <c:pt idx="524">
                  <c:v>-7.9270861958413708E-3</c:v>
                </c:pt>
                <c:pt idx="525">
                  <c:v>-9.2442978840341361E-3</c:v>
                </c:pt>
                <c:pt idx="526">
                  <c:v>-1.2270770358157046E-2</c:v>
                </c:pt>
                <c:pt idx="527">
                  <c:v>-1.0658605844096392E-2</c:v>
                </c:pt>
                <c:pt idx="528">
                  <c:v>-1.2143446001648739E-2</c:v>
                </c:pt>
                <c:pt idx="529">
                  <c:v>-9.3358981405147201E-3</c:v>
                </c:pt>
                <c:pt idx="530">
                  <c:v>-2.6536594302464245E-3</c:v>
                </c:pt>
                <c:pt idx="531">
                  <c:v>-5.9998167994868012E-4</c:v>
                </c:pt>
                <c:pt idx="532">
                  <c:v>-1.8658972245122474E-3</c:v>
                </c:pt>
                <c:pt idx="533">
                  <c:v>-2.5070990198773346E-3</c:v>
                </c:pt>
                <c:pt idx="534">
                  <c:v>-2.6215993404782312E-3</c:v>
                </c:pt>
                <c:pt idx="535">
                  <c:v>-1.3217917010167612E-3</c:v>
                </c:pt>
                <c:pt idx="536">
                  <c:v>-1.4298800036639525E-3</c:v>
                </c:pt>
                <c:pt idx="537">
                  <c:v>-3.7519465054501877E-3</c:v>
                </c:pt>
                <c:pt idx="538">
                  <c:v>-2.2423742786479295E-3</c:v>
                </c:pt>
                <c:pt idx="539">
                  <c:v>-8.720344416964787E-4</c:v>
                </c:pt>
                <c:pt idx="540">
                  <c:v>-6.8150590821647317E-4</c:v>
                </c:pt>
                <c:pt idx="541">
                  <c:v>-3.5495099386279039E-3</c:v>
                </c:pt>
                <c:pt idx="542">
                  <c:v>0</c:v>
                </c:pt>
                <c:pt idx="543">
                  <c:v>-1.01494782948508E-3</c:v>
                </c:pt>
                <c:pt idx="544">
                  <c:v>0</c:v>
                </c:pt>
                <c:pt idx="545">
                  <c:v>0</c:v>
                </c:pt>
                <c:pt idx="546">
                  <c:v>-1.5465268915723085E-3</c:v>
                </c:pt>
                <c:pt idx="547">
                  <c:v>-1.2131055593668227E-3</c:v>
                </c:pt>
                <c:pt idx="548">
                  <c:v>0</c:v>
                </c:pt>
                <c:pt idx="549">
                  <c:v>-2.9592382036284226E-3</c:v>
                </c:pt>
                <c:pt idx="550">
                  <c:v>0</c:v>
                </c:pt>
                <c:pt idx="551">
                  <c:v>0</c:v>
                </c:pt>
                <c:pt idx="552">
                  <c:v>-9.8099135689233563E-4</c:v>
                </c:pt>
                <c:pt idx="553">
                  <c:v>-2.1978942842908467E-3</c:v>
                </c:pt>
                <c:pt idx="554">
                  <c:v>-5.0525153729633621E-3</c:v>
                </c:pt>
                <c:pt idx="555">
                  <c:v>-4.8694334205628964E-3</c:v>
                </c:pt>
                <c:pt idx="556">
                  <c:v>-3.9922795889126839E-3</c:v>
                </c:pt>
                <c:pt idx="557">
                  <c:v>-4.5387928796605248E-3</c:v>
                </c:pt>
                <c:pt idx="558">
                  <c:v>-6.8341487008012347E-3</c:v>
                </c:pt>
                <c:pt idx="559">
                  <c:v>-4.8093169585806672E-3</c:v>
                </c:pt>
                <c:pt idx="560">
                  <c:v>-4.0050315656968705E-3</c:v>
                </c:pt>
                <c:pt idx="561">
                  <c:v>-1.6240553290056692E-3</c:v>
                </c:pt>
                <c:pt idx="562">
                  <c:v>0</c:v>
                </c:pt>
                <c:pt idx="563">
                  <c:v>-1.0882175633761815E-3</c:v>
                </c:pt>
                <c:pt idx="564">
                  <c:v>-1.8495145365833299E-3</c:v>
                </c:pt>
                <c:pt idx="565">
                  <c:v>-3.1307882701985257E-3</c:v>
                </c:pt>
                <c:pt idx="566">
                  <c:v>-4.9265749103477585E-4</c:v>
                </c:pt>
                <c:pt idx="567">
                  <c:v>-1.8130888440852644E-3</c:v>
                </c:pt>
                <c:pt idx="568">
                  <c:v>0</c:v>
                </c:pt>
                <c:pt idx="569">
                  <c:v>-7.1517610984239699E-4</c:v>
                </c:pt>
                <c:pt idx="570">
                  <c:v>0</c:v>
                </c:pt>
                <c:pt idx="571">
                  <c:v>-1.481703550274327E-3</c:v>
                </c:pt>
                <c:pt idx="572">
                  <c:v>-7.3449253243212942E-3</c:v>
                </c:pt>
                <c:pt idx="573">
                  <c:v>-2.0722046585994747E-3</c:v>
                </c:pt>
                <c:pt idx="574">
                  <c:v>-2.6627057669246224E-3</c:v>
                </c:pt>
                <c:pt idx="575">
                  <c:v>-2.9252516443183385E-3</c:v>
                </c:pt>
                <c:pt idx="576">
                  <c:v>-3.2704676768777752E-3</c:v>
                </c:pt>
                <c:pt idx="577">
                  <c:v>-4.1117046404302027E-3</c:v>
                </c:pt>
                <c:pt idx="578">
                  <c:v>-2.8807369453831555E-3</c:v>
                </c:pt>
                <c:pt idx="579">
                  <c:v>-1.615247647080098E-3</c:v>
                </c:pt>
                <c:pt idx="580">
                  <c:v>-7.3312983756668171E-4</c:v>
                </c:pt>
                <c:pt idx="581">
                  <c:v>-2.8071514226524208E-4</c:v>
                </c:pt>
                <c:pt idx="582">
                  <c:v>-2.2012064391874198E-3</c:v>
                </c:pt>
                <c:pt idx="583">
                  <c:v>-3.5266543115665128E-3</c:v>
                </c:pt>
                <c:pt idx="584">
                  <c:v>-4.7567135433699281E-3</c:v>
                </c:pt>
                <c:pt idx="585">
                  <c:v>-2.4655692430683995E-3</c:v>
                </c:pt>
                <c:pt idx="586">
                  <c:v>-6.1711908136196092E-3</c:v>
                </c:pt>
                <c:pt idx="587">
                  <c:v>-2.5827610014897973E-3</c:v>
                </c:pt>
                <c:pt idx="588">
                  <c:v>-1.9831752607289976E-3</c:v>
                </c:pt>
                <c:pt idx="589">
                  <c:v>-4.2152694501973453E-4</c:v>
                </c:pt>
                <c:pt idx="590">
                  <c:v>-1.0192957592934926E-3</c:v>
                </c:pt>
                <c:pt idx="591">
                  <c:v>-2.0095206947926547E-3</c:v>
                </c:pt>
                <c:pt idx="592">
                  <c:v>-5.1709727824411633E-3</c:v>
                </c:pt>
                <c:pt idx="593">
                  <c:v>-3.1051273665466672E-3</c:v>
                </c:pt>
                <c:pt idx="594">
                  <c:v>-3.8373487408699392E-3</c:v>
                </c:pt>
                <c:pt idx="595">
                  <c:v>-4.6340710054870726E-3</c:v>
                </c:pt>
                <c:pt idx="596">
                  <c:v>-5.9885897016606071E-3</c:v>
                </c:pt>
                <c:pt idx="597">
                  <c:v>-4.7603473963442333E-3</c:v>
                </c:pt>
                <c:pt idx="598">
                  <c:v>-5.462589483629432E-3</c:v>
                </c:pt>
                <c:pt idx="599">
                  <c:v>-6.7035502743558739E-3</c:v>
                </c:pt>
                <c:pt idx="600">
                  <c:v>-2.1875794905337198E-3</c:v>
                </c:pt>
                <c:pt idx="601">
                  <c:v>-2.4174206911588003E-3</c:v>
                </c:pt>
                <c:pt idx="602">
                  <c:v>-2.4065191322358848E-3</c:v>
                </c:pt>
                <c:pt idx="603">
                  <c:v>-2.7744467458845623E-3</c:v>
                </c:pt>
                <c:pt idx="604">
                  <c:v>-8.5813437988297991E-3</c:v>
                </c:pt>
                <c:pt idx="605">
                  <c:v>-1.1857262255169143E-2</c:v>
                </c:pt>
                <c:pt idx="606">
                  <c:v>-1.0581779861186802E-2</c:v>
                </c:pt>
                <c:pt idx="607">
                  <c:v>-1.2213379846651384E-2</c:v>
                </c:pt>
                <c:pt idx="608">
                  <c:v>-2.0322322758821176E-2</c:v>
                </c:pt>
                <c:pt idx="609">
                  <c:v>-1.8188342599658402E-2</c:v>
                </c:pt>
                <c:pt idx="610">
                  <c:v>-1.7948508303353927E-2</c:v>
                </c:pt>
                <c:pt idx="611">
                  <c:v>-2.203205058323332E-2</c:v>
                </c:pt>
                <c:pt idx="612">
                  <c:v>-2.4181474617536947E-2</c:v>
                </c:pt>
                <c:pt idx="613">
                  <c:v>-2.1957556597259953E-2</c:v>
                </c:pt>
                <c:pt idx="614">
                  <c:v>-2.0319597369090392E-2</c:v>
                </c:pt>
                <c:pt idx="615">
                  <c:v>-1.670300519640977E-2</c:v>
                </c:pt>
                <c:pt idx="616">
                  <c:v>-1.6851993168356283E-2</c:v>
                </c:pt>
                <c:pt idx="617">
                  <c:v>-2.4651150114466391E-2</c:v>
                </c:pt>
                <c:pt idx="618">
                  <c:v>-2.2425415167702245E-2</c:v>
                </c:pt>
                <c:pt idx="619">
                  <c:v>-1.957284058287001E-2</c:v>
                </c:pt>
                <c:pt idx="620">
                  <c:v>-1.6860169337548525E-2</c:v>
                </c:pt>
                <c:pt idx="621">
                  <c:v>-2.3650023620044203E-2</c:v>
                </c:pt>
                <c:pt idx="622">
                  <c:v>-2.5556887968312791E-2</c:v>
                </c:pt>
                <c:pt idx="623">
                  <c:v>-2.4800138086412904E-2</c:v>
                </c:pt>
                <c:pt idx="624">
                  <c:v>-2.4724735637196127E-2</c:v>
                </c:pt>
                <c:pt idx="625">
                  <c:v>-2.4691122497183748E-2</c:v>
                </c:pt>
                <c:pt idx="626">
                  <c:v>-2.6016570369562841E-2</c:v>
                </c:pt>
                <c:pt idx="627">
                  <c:v>-3.0771466986445617E-2</c:v>
                </c:pt>
                <c:pt idx="628">
                  <c:v>-3.3211599258693991E-2</c:v>
                </c:pt>
                <c:pt idx="629">
                  <c:v>-2.7921617791344167E-2</c:v>
                </c:pt>
                <c:pt idx="630">
                  <c:v>-2.5650459682401205E-2</c:v>
                </c:pt>
                <c:pt idx="631">
                  <c:v>-2.7306588175442403E-2</c:v>
                </c:pt>
                <c:pt idx="632">
                  <c:v>-2.7322940513826777E-2</c:v>
                </c:pt>
                <c:pt idx="633">
                  <c:v>-2.6226425378829132E-2</c:v>
                </c:pt>
                <c:pt idx="634">
                  <c:v>-2.5657727388349816E-2</c:v>
                </c:pt>
                <c:pt idx="635">
                  <c:v>-2.4223263926741456E-2</c:v>
                </c:pt>
                <c:pt idx="636">
                  <c:v>-2.3699080635197545E-2</c:v>
                </c:pt>
                <c:pt idx="637">
                  <c:v>-2.5579599549402143E-2</c:v>
                </c:pt>
                <c:pt idx="638">
                  <c:v>-2.4621170827428318E-2</c:v>
                </c:pt>
                <c:pt idx="639">
                  <c:v>-1.7501544387513945E-2</c:v>
                </c:pt>
                <c:pt idx="640">
                  <c:v>-2.0117010065772711E-2</c:v>
                </c:pt>
                <c:pt idx="641">
                  <c:v>-1.8689814310112962E-2</c:v>
                </c:pt>
                <c:pt idx="642">
                  <c:v>-1.7156328354954731E-2</c:v>
                </c:pt>
                <c:pt idx="643">
                  <c:v>-2.135615393001189E-2</c:v>
                </c:pt>
                <c:pt idx="644">
                  <c:v>-1.8472691594898061E-2</c:v>
                </c:pt>
                <c:pt idx="645">
                  <c:v>-1.9067735019441145E-2</c:v>
                </c:pt>
                <c:pt idx="646">
                  <c:v>-1.9303935462771094E-2</c:v>
                </c:pt>
                <c:pt idx="647">
                  <c:v>-1.7777717213561472E-2</c:v>
                </c:pt>
                <c:pt idx="648">
                  <c:v>-2.1988444347541547E-2</c:v>
                </c:pt>
                <c:pt idx="649">
                  <c:v>-2.2454485991496798E-2</c:v>
                </c:pt>
                <c:pt idx="650">
                  <c:v>-2.4519422944147662E-2</c:v>
                </c:pt>
                <c:pt idx="651">
                  <c:v>-2.5962062574948153E-2</c:v>
                </c:pt>
                <c:pt idx="652">
                  <c:v>-2.6871434281768969E-2</c:v>
                </c:pt>
                <c:pt idx="653">
                  <c:v>-2.1464261055997635E-2</c:v>
                </c:pt>
                <c:pt idx="654">
                  <c:v>-2.3391111595624792E-2</c:v>
                </c:pt>
                <c:pt idx="655">
                  <c:v>-2.4990915367564148E-2</c:v>
                </c:pt>
                <c:pt idx="656">
                  <c:v>-2.1278934554307849E-2</c:v>
                </c:pt>
                <c:pt idx="657">
                  <c:v>-1.9583742141792926E-2</c:v>
                </c:pt>
                <c:pt idx="658">
                  <c:v>-1.9913514299211399E-2</c:v>
                </c:pt>
                <c:pt idx="659">
                  <c:v>-1.8672553508484957E-2</c:v>
                </c:pt>
                <c:pt idx="660">
                  <c:v>-1.6061630146444128E-2</c:v>
                </c:pt>
                <c:pt idx="661">
                  <c:v>-1.6972818779752097E-2</c:v>
                </c:pt>
                <c:pt idx="662">
                  <c:v>-1.9037755732402961E-2</c:v>
                </c:pt>
                <c:pt idx="663">
                  <c:v>-1.7682328572985906E-2</c:v>
                </c:pt>
                <c:pt idx="664">
                  <c:v>-1.9379337911987982E-2</c:v>
                </c:pt>
                <c:pt idx="665">
                  <c:v>-1.5942621461535578E-2</c:v>
                </c:pt>
                <c:pt idx="666">
                  <c:v>-1.9739089356444639E-2</c:v>
                </c:pt>
                <c:pt idx="667">
                  <c:v>-1.9333914749809167E-2</c:v>
                </c:pt>
                <c:pt idx="668">
                  <c:v>-2.0855590682800962E-2</c:v>
                </c:pt>
                <c:pt idx="669">
                  <c:v>-1.8234674225080849E-2</c:v>
                </c:pt>
                <c:pt idx="670">
                  <c:v>-2.0421345252370937E-2</c:v>
                </c:pt>
                <c:pt idx="671">
                  <c:v>-1.8065700061775436E-2</c:v>
                </c:pt>
                <c:pt idx="672">
                  <c:v>-1.3843162905628814E-2</c:v>
                </c:pt>
                <c:pt idx="673">
                  <c:v>-1.2132526617973038E-2</c:v>
                </c:pt>
                <c:pt idx="674">
                  <c:v>-1.2515898106762458E-2</c:v>
                </c:pt>
                <c:pt idx="675">
                  <c:v>-1.1433009920418624E-2</c:v>
                </c:pt>
                <c:pt idx="676">
                  <c:v>-1.2961045096115398E-2</c:v>
                </c:pt>
                <c:pt idx="677">
                  <c:v>-9.6242596024564975E-3</c:v>
                </c:pt>
                <c:pt idx="678">
                  <c:v>-1.3283549547585261E-2</c:v>
                </c:pt>
                <c:pt idx="679">
                  <c:v>-1.2087103455794002E-2</c:v>
                </c:pt>
                <c:pt idx="680">
                  <c:v>-1.1777317489734318E-2</c:v>
                </c:pt>
                <c:pt idx="681">
                  <c:v>-1.2167048221228938E-2</c:v>
                </c:pt>
                <c:pt idx="682">
                  <c:v>-1.175823976161916E-2</c:v>
                </c:pt>
                <c:pt idx="683">
                  <c:v>-1.0209309931320076E-2</c:v>
                </c:pt>
                <c:pt idx="684">
                  <c:v>-9.1591264217448787E-3</c:v>
                </c:pt>
                <c:pt idx="685">
                  <c:v>-8.4950397906899955E-3</c:v>
                </c:pt>
                <c:pt idx="686">
                  <c:v>-8.9147498092225774E-3</c:v>
                </c:pt>
                <c:pt idx="687">
                  <c:v>-9.2172680693337616E-3</c:v>
                </c:pt>
                <c:pt idx="688">
                  <c:v>-1.21970275082669E-2</c:v>
                </c:pt>
                <c:pt idx="689">
                  <c:v>-1.1519313928558317E-2</c:v>
                </c:pt>
                <c:pt idx="690">
                  <c:v>-9.5570333224317405E-3</c:v>
                </c:pt>
                <c:pt idx="691">
                  <c:v>-1.2797521712271442E-2</c:v>
                </c:pt>
                <c:pt idx="692">
                  <c:v>-1.0759838656927867E-2</c:v>
                </c:pt>
                <c:pt idx="693">
                  <c:v>-7.3431083978341416E-3</c:v>
                </c:pt>
                <c:pt idx="694">
                  <c:v>-9.3562629456012125E-3</c:v>
                </c:pt>
                <c:pt idx="695">
                  <c:v>-6.9624622987752849E-3</c:v>
                </c:pt>
                <c:pt idx="696">
                  <c:v>-9.4734547040227213E-3</c:v>
                </c:pt>
                <c:pt idx="697">
                  <c:v>-7.1977542788618232E-3</c:v>
                </c:pt>
                <c:pt idx="698">
                  <c:v>-7.4176023838075089E-3</c:v>
                </c:pt>
                <c:pt idx="699">
                  <c:v>-7.7310222028417197E-3</c:v>
                </c:pt>
                <c:pt idx="700">
                  <c:v>-8.3478687452305245E-3</c:v>
                </c:pt>
                <c:pt idx="701">
                  <c:v>-7.7055852320214724E-3</c:v>
                </c:pt>
                <c:pt idx="702">
                  <c:v>-5.6797121988443333E-3</c:v>
                </c:pt>
                <c:pt idx="703">
                  <c:v>-5.1464442748645478E-3</c:v>
                </c:pt>
                <c:pt idx="704">
                  <c:v>-4.2198117664158374E-3</c:v>
                </c:pt>
                <c:pt idx="705">
                  <c:v>-4.1734801409933908E-3</c:v>
                </c:pt>
                <c:pt idx="706">
                  <c:v>-4.0181329263416776E-3</c:v>
                </c:pt>
                <c:pt idx="707">
                  <c:v>-6.8479959300846716E-3</c:v>
                </c:pt>
                <c:pt idx="708">
                  <c:v>-1.0156619063191874E-3</c:v>
                </c:pt>
                <c:pt idx="709">
                  <c:v>-7.7946146298912833E-4</c:v>
                </c:pt>
                <c:pt idx="710">
                  <c:v>-2.4346814927866944E-4</c:v>
                </c:pt>
                <c:pt idx="711">
                  <c:v>0</c:v>
                </c:pt>
                <c:pt idx="712">
                  <c:v>0</c:v>
                </c:pt>
                <c:pt idx="713">
                  <c:v>0</c:v>
                </c:pt>
                <c:pt idx="714">
                  <c:v>0</c:v>
                </c:pt>
                <c:pt idx="715">
                  <c:v>0</c:v>
                </c:pt>
                <c:pt idx="716">
                  <c:v>0</c:v>
                </c:pt>
                <c:pt idx="717">
                  <c:v>-1.3311472216359643E-3</c:v>
                </c:pt>
                <c:pt idx="718">
                  <c:v>-1.3879644810960157E-3</c:v>
                </c:pt>
                <c:pt idx="719">
                  <c:v>-2.8507834468776139E-3</c:v>
                </c:pt>
                <c:pt idx="720">
                  <c:v>-1.103878183795759E-3</c:v>
                </c:pt>
                <c:pt idx="721">
                  <c:v>-1.677461945963632E-4</c:v>
                </c:pt>
                <c:pt idx="722">
                  <c:v>0</c:v>
                </c:pt>
                <c:pt idx="723">
                  <c:v>0</c:v>
                </c:pt>
                <c:pt idx="724">
                  <c:v>0</c:v>
                </c:pt>
                <c:pt idx="725">
                  <c:v>-1.5145256780945138E-3</c:v>
                </c:pt>
                <c:pt idx="726">
                  <c:v>-3.011053427750543E-3</c:v>
                </c:pt>
                <c:pt idx="727">
                  <c:v>-2.2812374295718696E-3</c:v>
                </c:pt>
                <c:pt idx="728">
                  <c:v>-3.9190489174696364E-3</c:v>
                </c:pt>
                <c:pt idx="729">
                  <c:v>-7.0560878442892383E-3</c:v>
                </c:pt>
                <c:pt idx="730">
                  <c:v>-5.756637411034049E-3</c:v>
                </c:pt>
                <c:pt idx="731">
                  <c:v>-2.813976111349592E-3</c:v>
                </c:pt>
                <c:pt idx="732">
                  <c:v>-7.055187947867525E-4</c:v>
                </c:pt>
                <c:pt idx="733">
                  <c:v>-2.6321970341214307E-3</c:v>
                </c:pt>
                <c:pt idx="734">
                  <c:v>-3.0227520812354802E-3</c:v>
                </c:pt>
                <c:pt idx="735">
                  <c:v>-3.3953091999111562E-3</c:v>
                </c:pt>
                <c:pt idx="736">
                  <c:v>-4.2439115257835169E-3</c:v>
                </c:pt>
                <c:pt idx="737">
                  <c:v>-1.6072150095524096E-3</c:v>
                </c:pt>
                <c:pt idx="738">
                  <c:v>-2.150752448393245E-3</c:v>
                </c:pt>
                <c:pt idx="739">
                  <c:v>-1.1401687665749671E-3</c:v>
                </c:pt>
                <c:pt idx="740">
                  <c:v>-1.0636775707115742E-3</c:v>
                </c:pt>
                <c:pt idx="741">
                  <c:v>-1.6135142845059569E-3</c:v>
                </c:pt>
                <c:pt idx="742">
                  <c:v>-2.0175677779488144E-3</c:v>
                </c:pt>
                <c:pt idx="743">
                  <c:v>-2.3109340114954025E-3</c:v>
                </c:pt>
                <c:pt idx="744">
                  <c:v>-3.7075732583180532E-3</c:v>
                </c:pt>
                <c:pt idx="745">
                  <c:v>-4.5435770342834303E-3</c:v>
                </c:pt>
                <c:pt idx="746">
                  <c:v>-1.0778959341779748E-2</c:v>
                </c:pt>
                <c:pt idx="747">
                  <c:v>-9.4489124301794236E-3</c:v>
                </c:pt>
                <c:pt idx="748">
                  <c:v>-7.8794930703476318E-3</c:v>
                </c:pt>
                <c:pt idx="749">
                  <c:v>-7.2234685787665454E-3</c:v>
                </c:pt>
                <c:pt idx="750">
                  <c:v>-9.3679217522064651E-3</c:v>
                </c:pt>
                <c:pt idx="751">
                  <c:v>-8.3960336165308513E-3</c:v>
                </c:pt>
                <c:pt idx="752">
                  <c:v>-7.3674520062740889E-3</c:v>
                </c:pt>
                <c:pt idx="753">
                  <c:v>-6.9274026559543733E-3</c:v>
                </c:pt>
                <c:pt idx="754">
                  <c:v>-7.230667750141917E-3</c:v>
                </c:pt>
                <c:pt idx="755">
                  <c:v>-7.1829732397801216E-3</c:v>
                </c:pt>
                <c:pt idx="756">
                  <c:v>-5.019622241480004E-3</c:v>
                </c:pt>
                <c:pt idx="757">
                  <c:v>-4.408592570995129E-3</c:v>
                </c:pt>
                <c:pt idx="758">
                  <c:v>-3.5608901415447036E-3</c:v>
                </c:pt>
                <c:pt idx="759">
                  <c:v>-1.8231901508136694E-3</c:v>
                </c:pt>
                <c:pt idx="760">
                  <c:v>0</c:v>
                </c:pt>
                <c:pt idx="761">
                  <c:v>-4.2606281999646445E-4</c:v>
                </c:pt>
                <c:pt idx="762">
                  <c:v>-3.4696254961743556E-3</c:v>
                </c:pt>
                <c:pt idx="763">
                  <c:v>-1.5990838750502556E-3</c:v>
                </c:pt>
                <c:pt idx="764">
                  <c:v>-2.8556995340275337E-3</c:v>
                </c:pt>
                <c:pt idx="765">
                  <c:v>-3.0201921417476463E-3</c:v>
                </c:pt>
                <c:pt idx="766">
                  <c:v>-3.3797388252889693E-3</c:v>
                </c:pt>
                <c:pt idx="767">
                  <c:v>-2.4089627797273527E-3</c:v>
                </c:pt>
                <c:pt idx="768">
                  <c:v>-1.109201518725178E-3</c:v>
                </c:pt>
                <c:pt idx="769">
                  <c:v>-1.0363933153080263E-3</c:v>
                </c:pt>
                <c:pt idx="770">
                  <c:v>-7.8291290341125919E-4</c:v>
                </c:pt>
                <c:pt idx="771">
                  <c:v>-1.7213297474543143E-3</c:v>
                </c:pt>
                <c:pt idx="772">
                  <c:v>-1.0049329804981966E-3</c:v>
                </c:pt>
                <c:pt idx="773">
                  <c:v>-1.3635807973306768E-3</c:v>
                </c:pt>
                <c:pt idx="774">
                  <c:v>0</c:v>
                </c:pt>
                <c:pt idx="775">
                  <c:v>-2.8501972246709473E-3</c:v>
                </c:pt>
                <c:pt idx="776">
                  <c:v>-8.8962061406261395E-4</c:v>
                </c:pt>
                <c:pt idx="777">
                  <c:v>-1.7918090269111175E-3</c:v>
                </c:pt>
                <c:pt idx="778">
                  <c:v>-1.3546291691427514E-3</c:v>
                </c:pt>
                <c:pt idx="779">
                  <c:v>0</c:v>
                </c:pt>
                <c:pt idx="780">
                  <c:v>-3.9218706069221732E-4</c:v>
                </c:pt>
                <c:pt idx="781">
                  <c:v>0</c:v>
                </c:pt>
                <c:pt idx="782">
                  <c:v>-6.2760180227960927E-4</c:v>
                </c:pt>
                <c:pt idx="783">
                  <c:v>-1.3257306918706968E-3</c:v>
                </c:pt>
                <c:pt idx="784">
                  <c:v>-3.0210590311721131E-3</c:v>
                </c:pt>
                <c:pt idx="785">
                  <c:v>-2.7139537395870494E-4</c:v>
                </c:pt>
                <c:pt idx="786">
                  <c:v>-3.5709917626147725E-4</c:v>
                </c:pt>
                <c:pt idx="787">
                  <c:v>-2.1586645205006194E-3</c:v>
                </c:pt>
                <c:pt idx="788">
                  <c:v>0</c:v>
                </c:pt>
                <c:pt idx="789">
                  <c:v>-2.4968499355708662E-3</c:v>
                </c:pt>
                <c:pt idx="790">
                  <c:v>-1.748151902710271E-3</c:v>
                </c:pt>
                <c:pt idx="791">
                  <c:v>-2.5976876920825731E-3</c:v>
                </c:pt>
                <c:pt idx="792">
                  <c:v>-5.4256067220415094E-4</c:v>
                </c:pt>
                <c:pt idx="793">
                  <c:v>-3.3642331154759564E-4</c:v>
                </c:pt>
                <c:pt idx="794">
                  <c:v>0</c:v>
                </c:pt>
                <c:pt idx="795">
                  <c:v>0</c:v>
                </c:pt>
                <c:pt idx="796">
                  <c:v>0</c:v>
                </c:pt>
                <c:pt idx="797">
                  <c:v>-6.9842640798234434E-4</c:v>
                </c:pt>
                <c:pt idx="798">
                  <c:v>-1.0094305336741938E-3</c:v>
                </c:pt>
                <c:pt idx="799">
                  <c:v>-3.1935680792474219E-3</c:v>
                </c:pt>
                <c:pt idx="800">
                  <c:v>-3.5809903615379168E-3</c:v>
                </c:pt>
                <c:pt idx="801">
                  <c:v>-3.3695075560674637E-3</c:v>
                </c:pt>
                <c:pt idx="802">
                  <c:v>-2.5431251649433717E-3</c:v>
                </c:pt>
                <c:pt idx="803">
                  <c:v>-4.2829711023861794E-4</c:v>
                </c:pt>
                <c:pt idx="804">
                  <c:v>0</c:v>
                </c:pt>
                <c:pt idx="805">
                  <c:v>-1.9509874321969045E-3</c:v>
                </c:pt>
                <c:pt idx="806">
                  <c:v>-1.9678522007191557E-3</c:v>
                </c:pt>
                <c:pt idx="807">
                  <c:v>-1.5480082264565098E-3</c:v>
                </c:pt>
                <c:pt idx="808">
                  <c:v>-1.6412082630264946E-3</c:v>
                </c:pt>
                <c:pt idx="809">
                  <c:v>-2.5909610166436892E-3</c:v>
                </c:pt>
                <c:pt idx="810">
                  <c:v>-7.8643078477091954E-4</c:v>
                </c:pt>
                <c:pt idx="811">
                  <c:v>0</c:v>
                </c:pt>
                <c:pt idx="812">
                  <c:v>-9.8400405423516579E-3</c:v>
                </c:pt>
                <c:pt idx="813">
                  <c:v>-1.2321573270448916E-2</c:v>
                </c:pt>
                <c:pt idx="814">
                  <c:v>-1.291355550565676E-2</c:v>
                </c:pt>
                <c:pt idx="815">
                  <c:v>-1.5357811991057235E-2</c:v>
                </c:pt>
                <c:pt idx="816">
                  <c:v>-1.7791418121401725E-2</c:v>
                </c:pt>
                <c:pt idx="817">
                  <c:v>-1.4796005761842146E-2</c:v>
                </c:pt>
                <c:pt idx="818">
                  <c:v>-1.4980611916149855E-2</c:v>
                </c:pt>
                <c:pt idx="819">
                  <c:v>-1.2076615104156141E-2</c:v>
                </c:pt>
                <c:pt idx="820">
                  <c:v>-1.1923960015017054E-2</c:v>
                </c:pt>
                <c:pt idx="821">
                  <c:v>-1.0933476994789415E-2</c:v>
                </c:pt>
                <c:pt idx="822">
                  <c:v>-1.5202494313154236E-2</c:v>
                </c:pt>
                <c:pt idx="823">
                  <c:v>-1.8455290253238887E-2</c:v>
                </c:pt>
                <c:pt idx="824">
                  <c:v>-1.7726628461476435E-2</c:v>
                </c:pt>
                <c:pt idx="825">
                  <c:v>-1.8152642663724849E-2</c:v>
                </c:pt>
                <c:pt idx="826">
                  <c:v>-1.5440352242742983E-2</c:v>
                </c:pt>
                <c:pt idx="827">
                  <c:v>-1.1917747307900961E-2</c:v>
                </c:pt>
                <c:pt idx="828">
                  <c:v>-1.0282917806772485E-2</c:v>
                </c:pt>
                <c:pt idx="829">
                  <c:v>-9.1175914577052986E-3</c:v>
                </c:pt>
                <c:pt idx="830">
                  <c:v>-8.2309493992756E-3</c:v>
                </c:pt>
                <c:pt idx="831">
                  <c:v>-7.587490447962808E-3</c:v>
                </c:pt>
                <c:pt idx="832">
                  <c:v>-9.9243558532132736E-3</c:v>
                </c:pt>
                <c:pt idx="833">
                  <c:v>-1.1292926477936449E-2</c:v>
                </c:pt>
                <c:pt idx="834">
                  <c:v>-1.0205702732614896E-2</c:v>
                </c:pt>
                <c:pt idx="835">
                  <c:v>-9.4344395206275022E-3</c:v>
                </c:pt>
                <c:pt idx="836">
                  <c:v>-9.8444781902916612E-3</c:v>
                </c:pt>
                <c:pt idx="837">
                  <c:v>-7.8342236734317838E-3</c:v>
                </c:pt>
                <c:pt idx="838">
                  <c:v>-4.8503491985164571E-3</c:v>
                </c:pt>
                <c:pt idx="839">
                  <c:v>-7.0105962157513968E-3</c:v>
                </c:pt>
                <c:pt idx="840">
                  <c:v>-6.4035259775473419E-3</c:v>
                </c:pt>
                <c:pt idx="841">
                  <c:v>-5.0802193618130209E-3</c:v>
                </c:pt>
                <c:pt idx="842">
                  <c:v>-5.6340378247361489E-3</c:v>
                </c:pt>
                <c:pt idx="843">
                  <c:v>-6.4709782262366566E-3</c:v>
                </c:pt>
                <c:pt idx="844">
                  <c:v>-7.462348776052341E-3</c:v>
                </c:pt>
                <c:pt idx="845">
                  <c:v>-7.497849959573033E-3</c:v>
                </c:pt>
                <c:pt idx="846">
                  <c:v>-1.9960540434517116E-3</c:v>
                </c:pt>
                <c:pt idx="847">
                  <c:v>-2.0146921648001026E-3</c:v>
                </c:pt>
                <c:pt idx="848">
                  <c:v>-2.0475307595567704E-3</c:v>
                </c:pt>
                <c:pt idx="849">
                  <c:v>-5.7600670262345499E-3</c:v>
                </c:pt>
                <c:pt idx="850">
                  <c:v>-1.9348145018784901E-3</c:v>
                </c:pt>
                <c:pt idx="851">
                  <c:v>-5.9286976479577813E-4</c:v>
                </c:pt>
                <c:pt idx="852">
                  <c:v>-3.0326886022562505E-3</c:v>
                </c:pt>
                <c:pt idx="853">
                  <c:v>-2.6963148883977217E-3</c:v>
                </c:pt>
                <c:pt idx="854">
                  <c:v>-2.2046234966358602E-3</c:v>
                </c:pt>
                <c:pt idx="855">
                  <c:v>-2.5383346217304759E-3</c:v>
                </c:pt>
                <c:pt idx="856">
                  <c:v>-1.288692961801674E-3</c:v>
                </c:pt>
                <c:pt idx="857">
                  <c:v>-2.4788701393333445E-3</c:v>
                </c:pt>
                <c:pt idx="858">
                  <c:v>-3.0486641348406174E-3</c:v>
                </c:pt>
                <c:pt idx="859">
                  <c:v>0</c:v>
                </c:pt>
                <c:pt idx="860">
                  <c:v>0</c:v>
                </c:pt>
                <c:pt idx="861">
                  <c:v>-4.4244733549358983E-4</c:v>
                </c:pt>
                <c:pt idx="862">
                  <c:v>0</c:v>
                </c:pt>
                <c:pt idx="863">
                  <c:v>0</c:v>
                </c:pt>
                <c:pt idx="864">
                  <c:v>-2.4694721237989992E-3</c:v>
                </c:pt>
                <c:pt idx="865">
                  <c:v>-1.9104798665492417E-4</c:v>
                </c:pt>
                <c:pt idx="866">
                  <c:v>-2.679094220267686E-3</c:v>
                </c:pt>
                <c:pt idx="867">
                  <c:v>-3.1301797443140655E-3</c:v>
                </c:pt>
                <c:pt idx="868">
                  <c:v>-7.120075428576067E-4</c:v>
                </c:pt>
                <c:pt idx="869">
                  <c:v>0</c:v>
                </c:pt>
                <c:pt idx="870">
                  <c:v>0</c:v>
                </c:pt>
                <c:pt idx="871">
                  <c:v>0</c:v>
                </c:pt>
                <c:pt idx="872">
                  <c:v>0</c:v>
                </c:pt>
                <c:pt idx="873">
                  <c:v>-2.7412473997812103E-4</c:v>
                </c:pt>
                <c:pt idx="874">
                  <c:v>-6.8927828508968947E-4</c:v>
                </c:pt>
                <c:pt idx="875">
                  <c:v>-1.7478757536226741E-3</c:v>
                </c:pt>
                <c:pt idx="876">
                  <c:v>-6.4344392342130519E-4</c:v>
                </c:pt>
                <c:pt idx="877">
                  <c:v>-4.7420935726116831E-4</c:v>
                </c:pt>
                <c:pt idx="878">
                  <c:v>0</c:v>
                </c:pt>
                <c:pt idx="879">
                  <c:v>0</c:v>
                </c:pt>
                <c:pt idx="880">
                  <c:v>0</c:v>
                </c:pt>
                <c:pt idx="881">
                  <c:v>0</c:v>
                </c:pt>
                <c:pt idx="882">
                  <c:v>-3.4270877648494569E-3</c:v>
                </c:pt>
                <c:pt idx="883">
                  <c:v>-3.4270877648494569E-3</c:v>
                </c:pt>
                <c:pt idx="884">
                  <c:v>-1.0833877907257206E-2</c:v>
                </c:pt>
                <c:pt idx="885">
                  <c:v>-6.7690904226623827E-3</c:v>
                </c:pt>
                <c:pt idx="886">
                  <c:v>-4.1165402816580876E-3</c:v>
                </c:pt>
                <c:pt idx="887">
                  <c:v>-7.6120469985571093E-3</c:v>
                </c:pt>
                <c:pt idx="888">
                  <c:v>-4.755994333507374E-3</c:v>
                </c:pt>
                <c:pt idx="889">
                  <c:v>-1.4350436609402717E-3</c:v>
                </c:pt>
                <c:pt idx="890">
                  <c:v>0</c:v>
                </c:pt>
                <c:pt idx="891">
                  <c:v>-6.5331678848756791E-4</c:v>
                </c:pt>
                <c:pt idx="892">
                  <c:v>0</c:v>
                </c:pt>
                <c:pt idx="893">
                  <c:v>-3.7135566724849634E-3</c:v>
                </c:pt>
                <c:pt idx="894">
                  <c:v>-2.9941536455595497E-3</c:v>
                </c:pt>
                <c:pt idx="895">
                  <c:v>-6.0303673950073966E-3</c:v>
                </c:pt>
                <c:pt idx="896">
                  <c:v>-5.9497521958878918E-3</c:v>
                </c:pt>
                <c:pt idx="897">
                  <c:v>-7.8091592886234684E-3</c:v>
                </c:pt>
                <c:pt idx="898">
                  <c:v>-6.3817445129089601E-3</c:v>
                </c:pt>
                <c:pt idx="899">
                  <c:v>-7.3412406328643431E-3</c:v>
                </c:pt>
                <c:pt idx="900">
                  <c:v>-7.1782577302965667E-3</c:v>
                </c:pt>
                <c:pt idx="901">
                  <c:v>-4.5442437242819711E-3</c:v>
                </c:pt>
                <c:pt idx="902">
                  <c:v>-6.4273096254546802E-3</c:v>
                </c:pt>
                <c:pt idx="903">
                  <c:v>-5.6474451991895824E-3</c:v>
                </c:pt>
                <c:pt idx="904">
                  <c:v>-5.8051705887712801E-3</c:v>
                </c:pt>
                <c:pt idx="905">
                  <c:v>-4.9008783551695023E-3</c:v>
                </c:pt>
                <c:pt idx="906">
                  <c:v>-2.5647900850315208E-3</c:v>
                </c:pt>
                <c:pt idx="907">
                  <c:v>-5.0971588399822965E-3</c:v>
                </c:pt>
                <c:pt idx="908">
                  <c:v>-8.2052252669063686E-3</c:v>
                </c:pt>
                <c:pt idx="909">
                  <c:v>-5.3442619503270006E-3</c:v>
                </c:pt>
                <c:pt idx="910">
                  <c:v>-3.060748810049585E-3</c:v>
                </c:pt>
                <c:pt idx="911">
                  <c:v>-1.3783446545112543E-3</c:v>
                </c:pt>
                <c:pt idx="912">
                  <c:v>-4.2331742059402711E-3</c:v>
                </c:pt>
                <c:pt idx="913">
                  <c:v>-3.9194759311055316E-3</c:v>
                </c:pt>
                <c:pt idx="914">
                  <c:v>-3.3025944074080993E-3</c:v>
                </c:pt>
                <c:pt idx="915">
                  <c:v>-3.3490357721183139E-3</c:v>
                </c:pt>
                <c:pt idx="916">
                  <c:v>-5.1067976137901816E-3</c:v>
                </c:pt>
                <c:pt idx="917">
                  <c:v>-9.3075504896497074E-3</c:v>
                </c:pt>
                <c:pt idx="918">
                  <c:v>-7.6347851079192619E-3</c:v>
                </c:pt>
                <c:pt idx="919">
                  <c:v>-1.3567012260520261E-2</c:v>
                </c:pt>
                <c:pt idx="920">
                  <c:v>-1.8509950719578172E-2</c:v>
                </c:pt>
                <c:pt idx="921">
                  <c:v>-1.6777600190672426E-2</c:v>
                </c:pt>
                <c:pt idx="922">
                  <c:v>-1.7902707969688625E-2</c:v>
                </c:pt>
                <c:pt idx="923">
                  <c:v>-1.8540619545330261E-2</c:v>
                </c:pt>
                <c:pt idx="924">
                  <c:v>-1.7451438105052119E-2</c:v>
                </c:pt>
                <c:pt idx="925">
                  <c:v>-2.1296432602188609E-2</c:v>
                </c:pt>
                <c:pt idx="926">
                  <c:v>-2.138756282728016E-2</c:v>
                </c:pt>
                <c:pt idx="927">
                  <c:v>-1.9347647788690026E-2</c:v>
                </c:pt>
                <c:pt idx="928">
                  <c:v>-1.726216763755406E-2</c:v>
                </c:pt>
                <c:pt idx="929">
                  <c:v>-1.7871162891772374E-2</c:v>
                </c:pt>
                <c:pt idx="930">
                  <c:v>-2.1677602293677656E-2</c:v>
                </c:pt>
                <c:pt idx="931">
                  <c:v>-2.051393941943036E-2</c:v>
                </c:pt>
                <c:pt idx="932">
                  <c:v>-2.2539834423391025E-2</c:v>
                </c:pt>
                <c:pt idx="933">
                  <c:v>-2.4982825457578905E-2</c:v>
                </c:pt>
                <c:pt idx="934">
                  <c:v>-2.5657539624122871E-2</c:v>
                </c:pt>
                <c:pt idx="935">
                  <c:v>-2.6026441785311216E-2</c:v>
                </c:pt>
                <c:pt idx="936">
                  <c:v>-2.275626870798364E-2</c:v>
                </c:pt>
                <c:pt idx="937">
                  <c:v>-2.0757537521117642E-2</c:v>
                </c:pt>
                <c:pt idx="938">
                  <c:v>-2.0964333031902593E-2</c:v>
                </c:pt>
                <c:pt idx="939">
                  <c:v>-1.8141924810554211E-2</c:v>
                </c:pt>
                <c:pt idx="940">
                  <c:v>-1.724551884643144E-2</c:v>
                </c:pt>
                <c:pt idx="941">
                  <c:v>-1.8570412118917856E-2</c:v>
                </c:pt>
                <c:pt idx="942">
                  <c:v>-2.2402262833589259E-2</c:v>
                </c:pt>
                <c:pt idx="943">
                  <c:v>-2.1097523360882775E-2</c:v>
                </c:pt>
                <c:pt idx="944">
                  <c:v>-2.023090997034771E-2</c:v>
                </c:pt>
                <c:pt idx="945">
                  <c:v>-1.5925883086931214E-2</c:v>
                </c:pt>
                <c:pt idx="946">
                  <c:v>-1.5804960288251846E-2</c:v>
                </c:pt>
                <c:pt idx="947">
                  <c:v>-1.2998324605861811E-2</c:v>
                </c:pt>
                <c:pt idx="948">
                  <c:v>-1.5025972114151132E-2</c:v>
                </c:pt>
                <c:pt idx="949">
                  <c:v>-1.6528744575999177E-2</c:v>
                </c:pt>
                <c:pt idx="950">
                  <c:v>-1.9734074993165263E-2</c:v>
                </c:pt>
                <c:pt idx="951">
                  <c:v>-2.2319018877976604E-2</c:v>
                </c:pt>
                <c:pt idx="952">
                  <c:v>-2.1991300568512395E-2</c:v>
                </c:pt>
                <c:pt idx="953">
                  <c:v>-2.230938010416883E-2</c:v>
                </c:pt>
                <c:pt idx="954">
                  <c:v>-2.0446468002775942E-2</c:v>
                </c:pt>
                <c:pt idx="955">
                  <c:v>-1.932311272808851E-2</c:v>
                </c:pt>
                <c:pt idx="956">
                  <c:v>-2.1466425522071009E-2</c:v>
                </c:pt>
                <c:pt idx="957">
                  <c:v>-1.8932304262791577E-2</c:v>
                </c:pt>
                <c:pt idx="958">
                  <c:v>-1.466057496162021E-2</c:v>
                </c:pt>
                <c:pt idx="959">
                  <c:v>-1.7073773422220273E-2</c:v>
                </c:pt>
                <c:pt idx="960">
                  <c:v>-1.5586773499330575E-2</c:v>
                </c:pt>
                <c:pt idx="961">
                  <c:v>-1.5977581964627396E-2</c:v>
                </c:pt>
                <c:pt idx="962">
                  <c:v>-1.5087309765655088E-2</c:v>
                </c:pt>
                <c:pt idx="963">
                  <c:v>-1.6937954336747163E-2</c:v>
                </c:pt>
                <c:pt idx="964">
                  <c:v>-1.2733696452230214E-2</c:v>
                </c:pt>
                <c:pt idx="965">
                  <c:v>-1.2472573307256041E-2</c:v>
                </c:pt>
                <c:pt idx="966">
                  <c:v>-1.1477150848562601E-2</c:v>
                </c:pt>
                <c:pt idx="967">
                  <c:v>-9.5520248435012611E-3</c:v>
                </c:pt>
                <c:pt idx="968">
                  <c:v>-1.0353795573875058E-2</c:v>
                </c:pt>
                <c:pt idx="969">
                  <c:v>-8.0781687030766491E-3</c:v>
                </c:pt>
                <c:pt idx="970">
                  <c:v>-8.3848569605967649E-3</c:v>
                </c:pt>
                <c:pt idx="971">
                  <c:v>-6.9118770723363143E-3</c:v>
                </c:pt>
                <c:pt idx="972">
                  <c:v>-4.1306527027121787E-3</c:v>
                </c:pt>
                <c:pt idx="973">
                  <c:v>-7.3245918417418343E-3</c:v>
                </c:pt>
                <c:pt idx="974">
                  <c:v>-7.7057615332309926E-3</c:v>
                </c:pt>
                <c:pt idx="975">
                  <c:v>-6.807603064779566E-3</c:v>
                </c:pt>
                <c:pt idx="976">
                  <c:v>-8.5171710374124521E-3</c:v>
                </c:pt>
                <c:pt idx="977">
                  <c:v>-1.0398484434256616E-2</c:v>
                </c:pt>
                <c:pt idx="978">
                  <c:v>-8.744996600141608E-3</c:v>
                </c:pt>
                <c:pt idx="979">
                  <c:v>-9.2497178468030627E-3</c:v>
                </c:pt>
                <c:pt idx="980">
                  <c:v>-1.2880030563675482E-2</c:v>
                </c:pt>
                <c:pt idx="981">
                  <c:v>-1.4403833077467731E-2</c:v>
                </c:pt>
                <c:pt idx="982">
                  <c:v>-1.4558053458392006E-2</c:v>
                </c:pt>
                <c:pt idx="983">
                  <c:v>-1.3480263296250294E-2</c:v>
                </c:pt>
                <c:pt idx="984">
                  <c:v>-1.5866297939755913E-2</c:v>
                </c:pt>
                <c:pt idx="985">
                  <c:v>-1.3630978668517257E-2</c:v>
                </c:pt>
                <c:pt idx="986">
                  <c:v>-1.0252150322811349E-2</c:v>
                </c:pt>
                <c:pt idx="987">
                  <c:v>-1.314816372596439E-2</c:v>
                </c:pt>
                <c:pt idx="988">
                  <c:v>-1.1947698260814765E-2</c:v>
                </c:pt>
                <c:pt idx="989">
                  <c:v>-1.3630102416352874E-2</c:v>
                </c:pt>
                <c:pt idx="990">
                  <c:v>-1.5836505366168208E-2</c:v>
                </c:pt>
                <c:pt idx="991">
                  <c:v>-1.8396037938213761E-2</c:v>
                </c:pt>
                <c:pt idx="992">
                  <c:v>-1.7673129902630813E-2</c:v>
                </c:pt>
                <c:pt idx="993">
                  <c:v>-2.2288350052224626E-2</c:v>
                </c:pt>
                <c:pt idx="994">
                  <c:v>-2.4754123642685477E-2</c:v>
                </c:pt>
                <c:pt idx="995">
                  <c:v>-2.7945434025222093E-2</c:v>
                </c:pt>
                <c:pt idx="996">
                  <c:v>-3.069861832558729E-2</c:v>
                </c:pt>
                <c:pt idx="997">
                  <c:v>-2.7549368046939082E-2</c:v>
                </c:pt>
                <c:pt idx="998">
                  <c:v>-2.8291553630137467E-2</c:v>
                </c:pt>
                <c:pt idx="999">
                  <c:v>-2.9890713830063143E-2</c:v>
                </c:pt>
                <c:pt idx="1000">
                  <c:v>-3.0791501055007608E-2</c:v>
                </c:pt>
                <c:pt idx="1001">
                  <c:v>-3.4597064204748618E-2</c:v>
                </c:pt>
                <c:pt idx="1002">
                  <c:v>-3.737478356571533E-2</c:v>
                </c:pt>
                <c:pt idx="1003">
                  <c:v>-4.088329723174422E-2</c:v>
                </c:pt>
                <c:pt idx="1004">
                  <c:v>-4.1535228842015215E-2</c:v>
                </c:pt>
                <c:pt idx="1005">
                  <c:v>-3.7473800060286111E-2</c:v>
                </c:pt>
                <c:pt idx="1006">
                  <c:v>-3.9832670886697064E-2</c:v>
                </c:pt>
                <c:pt idx="1007">
                  <c:v>-3.9530363889998865E-2</c:v>
                </c:pt>
                <c:pt idx="1008">
                  <c:v>-3.3520150294771289E-2</c:v>
                </c:pt>
                <c:pt idx="1009">
                  <c:v>-2.8455412784869516E-2</c:v>
                </c:pt>
                <c:pt idx="1010">
                  <c:v>-2.7808738687584489E-2</c:v>
                </c:pt>
                <c:pt idx="1011">
                  <c:v>-2.5335955079809125E-2</c:v>
                </c:pt>
                <c:pt idx="1012">
                  <c:v>-2.9720720910180631E-2</c:v>
                </c:pt>
                <c:pt idx="1013">
                  <c:v>-2.6129839540703692E-2</c:v>
                </c:pt>
                <c:pt idx="1014">
                  <c:v>-2.3461651700279695E-2</c:v>
                </c:pt>
                <c:pt idx="1015">
                  <c:v>-2.5485794199911704E-2</c:v>
                </c:pt>
                <c:pt idx="1016">
                  <c:v>-2.2905231575922058E-2</c:v>
                </c:pt>
                <c:pt idx="1017">
                  <c:v>-2.3912921564916312E-2</c:v>
                </c:pt>
                <c:pt idx="1018">
                  <c:v>-2.5869592647893791E-2</c:v>
                </c:pt>
                <c:pt idx="1019">
                  <c:v>-2.5511205512677604E-2</c:v>
                </c:pt>
                <c:pt idx="1020">
                  <c:v>-2.7329428753689045E-2</c:v>
                </c:pt>
                <c:pt idx="1021">
                  <c:v>-2.9914372638500386E-2</c:v>
                </c:pt>
                <c:pt idx="1022">
                  <c:v>-2.9796078596314168E-2</c:v>
                </c:pt>
                <c:pt idx="1023">
                  <c:v>-3.0962370227054503E-2</c:v>
                </c:pt>
                <c:pt idx="1024">
                  <c:v>-2.7963835320673258E-2</c:v>
                </c:pt>
                <c:pt idx="1025">
                  <c:v>-2.7231288511282536E-2</c:v>
                </c:pt>
                <c:pt idx="1026">
                  <c:v>-2.4168787196904407E-2</c:v>
                </c:pt>
                <c:pt idx="1027">
                  <c:v>-2.3765711201306661E-2</c:v>
                </c:pt>
                <c:pt idx="1028">
                  <c:v>-2.469015723468837E-2</c:v>
                </c:pt>
                <c:pt idx="1029">
                  <c:v>-2.8053213041436154E-2</c:v>
                </c:pt>
                <c:pt idx="1030">
                  <c:v>-2.8499225393086691E-2</c:v>
                </c:pt>
                <c:pt idx="1031">
                  <c:v>-2.7990122885603541E-2</c:v>
                </c:pt>
                <c:pt idx="1032">
                  <c:v>-2.8695505877899485E-2</c:v>
                </c:pt>
                <c:pt idx="1033">
                  <c:v>-2.8740194738280933E-2</c:v>
                </c:pt>
                <c:pt idx="1034">
                  <c:v>-3.2161083187875472E-2</c:v>
                </c:pt>
                <c:pt idx="1035">
                  <c:v>-3.8584887804672952E-2</c:v>
                </c:pt>
                <c:pt idx="1036">
                  <c:v>-3.9924677363952998E-2</c:v>
                </c:pt>
                <c:pt idx="1037">
                  <c:v>-4.2978416156687849E-2</c:v>
                </c:pt>
                <c:pt idx="1038">
                  <c:v>-3.8580506543851145E-2</c:v>
                </c:pt>
                <c:pt idx="1039">
                  <c:v>-4.2256384373269396E-2</c:v>
                </c:pt>
                <c:pt idx="1040">
                  <c:v>-4.5099822646561982E-2</c:v>
                </c:pt>
                <c:pt idx="1041">
                  <c:v>-4.3011713738932866E-2</c:v>
                </c:pt>
                <c:pt idx="1042">
                  <c:v>-4.9429384590579994E-2</c:v>
                </c:pt>
                <c:pt idx="1043">
                  <c:v>-5.0321409293880959E-2</c:v>
                </c:pt>
                <c:pt idx="1044">
                  <c:v>-5.6056479709504892E-2</c:v>
                </c:pt>
                <c:pt idx="1045">
                  <c:v>-5.6500739556826662E-2</c:v>
                </c:pt>
                <c:pt idx="1046">
                  <c:v>-6.1061632072231253E-2</c:v>
                </c:pt>
                <c:pt idx="1047">
                  <c:v>-6.87603835881474E-2</c:v>
                </c:pt>
                <c:pt idx="1048">
                  <c:v>-6.0632268511703225E-2</c:v>
                </c:pt>
                <c:pt idx="1049">
                  <c:v>-6.2216532424835158E-2</c:v>
                </c:pt>
                <c:pt idx="1050">
                  <c:v>-5.7258697678983173E-2</c:v>
                </c:pt>
                <c:pt idx="1051">
                  <c:v>-5.8154227390941671E-2</c:v>
                </c:pt>
                <c:pt idx="1052">
                  <c:v>-5.7040510890061902E-2</c:v>
                </c:pt>
                <c:pt idx="1053">
                  <c:v>-5.8238347598718487E-2</c:v>
                </c:pt>
                <c:pt idx="1054">
                  <c:v>-5.1518369750373272E-2</c:v>
                </c:pt>
                <c:pt idx="1055">
                  <c:v>-5.0478258431298273E-2</c:v>
                </c:pt>
                <c:pt idx="1056">
                  <c:v>-5.1971392119338544E-2</c:v>
                </c:pt>
                <c:pt idx="1057">
                  <c:v>-5.4321500424105995E-2</c:v>
                </c:pt>
                <c:pt idx="1058">
                  <c:v>-6.1248273783236273E-2</c:v>
                </c:pt>
                <c:pt idx="1059">
                  <c:v>-5.6989688264529992E-2</c:v>
                </c:pt>
                <c:pt idx="1060">
                  <c:v>-5.8491584474213654E-2</c:v>
                </c:pt>
                <c:pt idx="1061">
                  <c:v>-5.8240976355211527E-2</c:v>
                </c:pt>
                <c:pt idx="1062">
                  <c:v>-5.9189957449194863E-2</c:v>
                </c:pt>
                <c:pt idx="1063">
                  <c:v>-5.3779100334377827E-2</c:v>
                </c:pt>
                <c:pt idx="1064">
                  <c:v>-5.593993817164733E-2</c:v>
                </c:pt>
                <c:pt idx="1065">
                  <c:v>-5.633600414993023E-2</c:v>
                </c:pt>
                <c:pt idx="1066">
                  <c:v>-5.7222771340245226E-2</c:v>
                </c:pt>
                <c:pt idx="1067">
                  <c:v>-5.4532677195712642E-2</c:v>
                </c:pt>
                <c:pt idx="1068">
                  <c:v>-5.7080818489621654E-2</c:v>
                </c:pt>
                <c:pt idx="1069">
                  <c:v>-5.8151598634448631E-2</c:v>
                </c:pt>
                <c:pt idx="1070">
                  <c:v>-5.7439205624837841E-2</c:v>
                </c:pt>
                <c:pt idx="1071">
                  <c:v>-5.4941886956460739E-2</c:v>
                </c:pt>
                <c:pt idx="1072">
                  <c:v>-5.2339418028362505E-2</c:v>
                </c:pt>
                <c:pt idx="1073">
                  <c:v>-5.3851829264018325E-2</c:v>
                </c:pt>
                <c:pt idx="1074">
                  <c:v>-5.4446804483607059E-2</c:v>
                </c:pt>
                <c:pt idx="1075">
                  <c:v>-6.0283520150294811E-2</c:v>
                </c:pt>
                <c:pt idx="1076">
                  <c:v>-6.5925707836498426E-2</c:v>
                </c:pt>
                <c:pt idx="1077">
                  <c:v>-6.8345916314413335E-2</c:v>
                </c:pt>
                <c:pt idx="1078">
                  <c:v>-6.909949317574815E-2</c:v>
                </c:pt>
                <c:pt idx="1079">
                  <c:v>-7.0622419437376016E-2</c:v>
                </c:pt>
                <c:pt idx="1080">
                  <c:v>-7.4638283106559289E-2</c:v>
                </c:pt>
                <c:pt idx="1081">
                  <c:v>-7.709879918403395E-2</c:v>
                </c:pt>
                <c:pt idx="1082">
                  <c:v>-7.3607810561292064E-2</c:v>
                </c:pt>
                <c:pt idx="1083">
                  <c:v>-7.2878768760558765E-2</c:v>
                </c:pt>
                <c:pt idx="1084">
                  <c:v>-7.5069399171415974E-2</c:v>
                </c:pt>
                <c:pt idx="1085">
                  <c:v>-7.9391074845954868E-2</c:v>
                </c:pt>
                <c:pt idx="1086">
                  <c:v>-8.692421470281031E-2</c:v>
                </c:pt>
                <c:pt idx="1087">
                  <c:v>-8.1270635738470265E-2</c:v>
                </c:pt>
                <c:pt idx="1088">
                  <c:v>-8.086493098637948E-2</c:v>
                </c:pt>
                <c:pt idx="1089">
                  <c:v>-7.6322439766426164E-2</c:v>
                </c:pt>
                <c:pt idx="1090">
                  <c:v>-7.59675576398674E-2</c:v>
                </c:pt>
                <c:pt idx="1091">
                  <c:v>-7.3571007970389735E-2</c:v>
                </c:pt>
                <c:pt idx="1092">
                  <c:v>-7.4170364450800164E-2</c:v>
                </c:pt>
                <c:pt idx="1093">
                  <c:v>-7.4517360307879921E-2</c:v>
                </c:pt>
                <c:pt idx="1094">
                  <c:v>-7.5927250040307537E-2</c:v>
                </c:pt>
                <c:pt idx="1095">
                  <c:v>-7.5829109797901251E-2</c:v>
                </c:pt>
                <c:pt idx="1096">
                  <c:v>-7.6185744428788782E-2</c:v>
                </c:pt>
                <c:pt idx="1097">
                  <c:v>-6.8194324689981989E-2</c:v>
                </c:pt>
                <c:pt idx="1098">
                  <c:v>-6.4862813961150456E-2</c:v>
                </c:pt>
                <c:pt idx="1099">
                  <c:v>-6.3757859981914189E-2</c:v>
                </c:pt>
                <c:pt idx="1100">
                  <c:v>-6.3385452812068421E-2</c:v>
                </c:pt>
                <c:pt idx="1101">
                  <c:v>-6.410310333466529E-2</c:v>
                </c:pt>
                <c:pt idx="1102">
                  <c:v>-6.530795006063661E-2</c:v>
                </c:pt>
                <c:pt idx="1103">
                  <c:v>-6.7988405431361421E-2</c:v>
                </c:pt>
                <c:pt idx="1104">
                  <c:v>-6.6410275283379949E-2</c:v>
                </c:pt>
                <c:pt idx="1105">
                  <c:v>-6.9988012870391803E-2</c:v>
                </c:pt>
                <c:pt idx="1106">
                  <c:v>-7.3840017384842915E-2</c:v>
                </c:pt>
                <c:pt idx="1107">
                  <c:v>-7.3946043896728431E-2</c:v>
                </c:pt>
                <c:pt idx="1108">
                  <c:v>-7.0778392322629058E-2</c:v>
                </c:pt>
                <c:pt idx="1109">
                  <c:v>-6.956916433583582E-2</c:v>
                </c:pt>
                <c:pt idx="1110">
                  <c:v>-6.3429265420285486E-2</c:v>
                </c:pt>
                <c:pt idx="1111">
                  <c:v>-6.2002726896735472E-2</c:v>
                </c:pt>
                <c:pt idx="1112">
                  <c:v>-6.7219932283232753E-2</c:v>
                </c:pt>
                <c:pt idx="1113">
                  <c:v>-6.3601010844496875E-2</c:v>
                </c:pt>
                <c:pt idx="1114">
                  <c:v>-6.2822022670395938E-2</c:v>
                </c:pt>
                <c:pt idx="1115">
                  <c:v>-5.7560128423517209E-2</c:v>
                </c:pt>
                <c:pt idx="1116">
                  <c:v>-5.6894176778616745E-2</c:v>
                </c:pt>
                <c:pt idx="1117">
                  <c:v>-5.5723503887054604E-2</c:v>
                </c:pt>
                <c:pt idx="1118">
                  <c:v>-5.6759233945307797E-2</c:v>
                </c:pt>
                <c:pt idx="1119">
                  <c:v>-5.384219049021044E-2</c:v>
                </c:pt>
                <c:pt idx="1120">
                  <c:v>-5.2169425108479994E-2</c:v>
                </c:pt>
                <c:pt idx="1121">
                  <c:v>-5.178650291266218E-2</c:v>
                </c:pt>
                <c:pt idx="1122">
                  <c:v>-4.914547888933285E-2</c:v>
                </c:pt>
                <c:pt idx="1123">
                  <c:v>-5.1921445745970907E-2</c:v>
                </c:pt>
                <c:pt idx="1124">
                  <c:v>-4.8326183115672383E-2</c:v>
                </c:pt>
                <c:pt idx="1125">
                  <c:v>-5.1926703258957096E-2</c:v>
                </c:pt>
                <c:pt idx="1126">
                  <c:v>-5.3295409139660577E-2</c:v>
                </c:pt>
                <c:pt idx="1127">
                  <c:v>-5.4393353101582109E-2</c:v>
                </c:pt>
                <c:pt idx="1128">
                  <c:v>-5.2850273040174423E-2</c:v>
                </c:pt>
                <c:pt idx="1129">
                  <c:v>-4.9949002124035191E-2</c:v>
                </c:pt>
                <c:pt idx="1130">
                  <c:v>-4.5686911596671598E-2</c:v>
                </c:pt>
                <c:pt idx="1131">
                  <c:v>-4.6861089496891051E-2</c:v>
                </c:pt>
                <c:pt idx="1132">
                  <c:v>-4.9305833035407476E-2</c:v>
                </c:pt>
                <c:pt idx="1133">
                  <c:v>-5.7419051825058021E-2</c:v>
                </c:pt>
                <c:pt idx="1134">
                  <c:v>-5.5374755525646191E-2</c:v>
                </c:pt>
                <c:pt idx="1135">
                  <c:v>-5.7266583948462291E-2</c:v>
                </c:pt>
                <c:pt idx="1136">
                  <c:v>-5.9211863753303562E-2</c:v>
                </c:pt>
                <c:pt idx="1137">
                  <c:v>-5.914088732799172E-2</c:v>
                </c:pt>
                <c:pt idx="1138">
                  <c:v>-5.6945875656312928E-2</c:v>
                </c:pt>
                <c:pt idx="1139">
                  <c:v>-5.5543872193364208E-2</c:v>
                </c:pt>
                <c:pt idx="1140">
                  <c:v>-5.095231085220786E-2</c:v>
                </c:pt>
                <c:pt idx="1141">
                  <c:v>-5.214839505653579E-2</c:v>
                </c:pt>
                <c:pt idx="1142">
                  <c:v>-5.618879378632069E-2</c:v>
                </c:pt>
                <c:pt idx="1143">
                  <c:v>-5.2552347304297808E-2</c:v>
                </c:pt>
                <c:pt idx="1144">
                  <c:v>-5.6435020644501011E-2</c:v>
                </c:pt>
                <c:pt idx="1145">
                  <c:v>-5.9855909094095439E-2</c:v>
                </c:pt>
                <c:pt idx="1146">
                  <c:v>-6.5360525190497176E-2</c:v>
                </c:pt>
                <c:pt idx="1147">
                  <c:v>-6.1667998569956528E-2</c:v>
                </c:pt>
                <c:pt idx="1148">
                  <c:v>-6.5803032533490402E-2</c:v>
                </c:pt>
                <c:pt idx="1149">
                  <c:v>-6.5707521047576933E-2</c:v>
                </c:pt>
                <c:pt idx="1150">
                  <c:v>-6.2577548316544274E-2</c:v>
                </c:pt>
                <c:pt idx="1151">
                  <c:v>-6.0520108234667358E-2</c:v>
                </c:pt>
                <c:pt idx="1152">
                  <c:v>-6.088550538719828E-2</c:v>
                </c:pt>
                <c:pt idx="1153">
                  <c:v>-6.3498489341268671E-2</c:v>
                </c:pt>
                <c:pt idx="1154">
                  <c:v>-6.6739746097172925E-2</c:v>
                </c:pt>
                <c:pt idx="1155">
                  <c:v>-6.9749672281690489E-2</c:v>
                </c:pt>
                <c:pt idx="1156">
                  <c:v>-6.9463137823950416E-2</c:v>
                </c:pt>
                <c:pt idx="1157">
                  <c:v>-7.2576461763860567E-2</c:v>
                </c:pt>
                <c:pt idx="1158">
                  <c:v>-7.0843234982790437E-2</c:v>
                </c:pt>
                <c:pt idx="1159">
                  <c:v>-7.6143684324900263E-2</c:v>
                </c:pt>
                <c:pt idx="1160">
                  <c:v>-8.0057902743019715E-2</c:v>
                </c:pt>
                <c:pt idx="1161">
                  <c:v>-8.1678969247053979E-2</c:v>
                </c:pt>
                <c:pt idx="1162">
                  <c:v>-8.107698401015051E-2</c:v>
                </c:pt>
                <c:pt idx="1163">
                  <c:v>-8.6852362025334195E-2</c:v>
                </c:pt>
                <c:pt idx="1164">
                  <c:v>-8.1200535565322918E-2</c:v>
                </c:pt>
                <c:pt idx="1165">
                  <c:v>-8.2804077026070178E-2</c:v>
                </c:pt>
                <c:pt idx="1166">
                  <c:v>-8.2514037559672793E-2</c:v>
                </c:pt>
                <c:pt idx="1167">
                  <c:v>-8.432875579202681E-2</c:v>
                </c:pt>
                <c:pt idx="1168">
                  <c:v>-8.6066363833918746E-2</c:v>
                </c:pt>
                <c:pt idx="1169">
                  <c:v>-8.7460481027388126E-2</c:v>
                </c:pt>
                <c:pt idx="1170">
                  <c:v>-9.3212200234134457E-2</c:v>
                </c:pt>
                <c:pt idx="1171">
                  <c:v>-9.2148430106622325E-2</c:v>
                </c:pt>
                <c:pt idx="1172">
                  <c:v>-9.7699487567734278E-2</c:v>
                </c:pt>
                <c:pt idx="1173">
                  <c:v>-9.3021177262307742E-2</c:v>
                </c:pt>
                <c:pt idx="1174">
                  <c:v>-9.0160213945728374E-2</c:v>
                </c:pt>
                <c:pt idx="1175">
                  <c:v>-9.1712932780943945E-2</c:v>
                </c:pt>
                <c:pt idx="1176">
                  <c:v>-8.8493582329148279E-2</c:v>
                </c:pt>
                <c:pt idx="1177">
                  <c:v>-8.4374320904572642E-2</c:v>
                </c:pt>
                <c:pt idx="1178">
                  <c:v>-8.106559273201408E-2</c:v>
                </c:pt>
                <c:pt idx="1179">
                  <c:v>-8.1368775980876662E-2</c:v>
                </c:pt>
                <c:pt idx="1180">
                  <c:v>-8.5764056837220326E-2</c:v>
                </c:pt>
                <c:pt idx="1181">
                  <c:v>-8.7055652527461724E-2</c:v>
                </c:pt>
                <c:pt idx="1182">
                  <c:v>-8.3948462352702036E-2</c:v>
                </c:pt>
                <c:pt idx="1183">
                  <c:v>-7.8529718968405882E-2</c:v>
                </c:pt>
                <c:pt idx="1184">
                  <c:v>-8.0829004647641534E-2</c:v>
                </c:pt>
                <c:pt idx="1185">
                  <c:v>-8.5120887748592833E-2</c:v>
                </c:pt>
                <c:pt idx="1186">
                  <c:v>-8.7361464532817346E-2</c:v>
                </c:pt>
                <c:pt idx="1187">
                  <c:v>-8.12522344430191E-2</c:v>
                </c:pt>
                <c:pt idx="1188">
                  <c:v>-7.8466628812573269E-2</c:v>
                </c:pt>
                <c:pt idx="1189">
                  <c:v>-7.8796099626366134E-2</c:v>
                </c:pt>
                <c:pt idx="1190">
                  <c:v>-7.3167055722627605E-2</c:v>
                </c:pt>
                <c:pt idx="1191">
                  <c:v>-7.1065803032533403E-2</c:v>
                </c:pt>
                <c:pt idx="1192">
                  <c:v>-7.0354286275087108E-2</c:v>
                </c:pt>
                <c:pt idx="1193">
                  <c:v>-7.3025979124168416E-2</c:v>
                </c:pt>
                <c:pt idx="1194">
                  <c:v>-7.3360707450947471E-2</c:v>
                </c:pt>
                <c:pt idx="1195">
                  <c:v>-6.930278367787579E-2</c:v>
                </c:pt>
                <c:pt idx="1196">
                  <c:v>-7.109296684962807E-2</c:v>
                </c:pt>
                <c:pt idx="1197">
                  <c:v>-7.696298009856084E-2</c:v>
                </c:pt>
                <c:pt idx="1198">
                  <c:v>-7.4413086300323172E-2</c:v>
                </c:pt>
                <c:pt idx="1199">
                  <c:v>-7.8415806187041248E-2</c:v>
                </c:pt>
                <c:pt idx="1200">
                  <c:v>-7.4812657287263495E-2</c:v>
                </c:pt>
                <c:pt idx="1201">
                  <c:v>-7.5582882939720819E-2</c:v>
                </c:pt>
                <c:pt idx="1202">
                  <c:v>-7.0670613306414887E-2</c:v>
                </c:pt>
                <c:pt idx="1203">
                  <c:v>-7.4775854696361055E-2</c:v>
                </c:pt>
                <c:pt idx="1204">
                  <c:v>-6.9584936874794057E-2</c:v>
                </c:pt>
                <c:pt idx="1205">
                  <c:v>-6.9558649309863774E-2</c:v>
                </c:pt>
                <c:pt idx="1206">
                  <c:v>-6.7838566311258841E-2</c:v>
                </c:pt>
                <c:pt idx="1207">
                  <c:v>-7.0391965118153821E-2</c:v>
                </c:pt>
                <c:pt idx="1208">
                  <c:v>-7.0341142492622022E-2</c:v>
                </c:pt>
                <c:pt idx="1209">
                  <c:v>-7.5176301935465761E-2</c:v>
                </c:pt>
                <c:pt idx="1210">
                  <c:v>-7.5600407983007711E-2</c:v>
                </c:pt>
                <c:pt idx="1211">
                  <c:v>-7.1531969183963873E-2</c:v>
                </c:pt>
                <c:pt idx="1212">
                  <c:v>-7.4543647872810204E-2</c:v>
                </c:pt>
                <c:pt idx="1213">
                  <c:v>-7.4606738028642927E-2</c:v>
                </c:pt>
                <c:pt idx="1214">
                  <c:v>-7.2893665047352618E-2</c:v>
                </c:pt>
                <c:pt idx="1215">
                  <c:v>-7.4742557114116037E-2</c:v>
                </c:pt>
                <c:pt idx="1216">
                  <c:v>-8.1238214408389631E-2</c:v>
                </c:pt>
                <c:pt idx="1217">
                  <c:v>-8.2530686350795301E-2</c:v>
                </c:pt>
                <c:pt idx="1218">
                  <c:v>-9.4346070534794158E-2</c:v>
                </c:pt>
                <c:pt idx="1219">
                  <c:v>-9.2873966898698312E-2</c:v>
                </c:pt>
                <c:pt idx="1220">
                  <c:v>-8.0121869151016711E-2</c:v>
                </c:pt>
                <c:pt idx="1221">
                  <c:v>-8.5198874191219298E-2</c:v>
                </c:pt>
                <c:pt idx="1222">
                  <c:v>-8.8547909963337612E-2</c:v>
                </c:pt>
                <c:pt idx="1223">
                  <c:v>-8.6253881797088039E-2</c:v>
                </c:pt>
                <c:pt idx="1224">
                  <c:v>-8.6988181110807417E-2</c:v>
                </c:pt>
                <c:pt idx="1225">
                  <c:v>-8.4543437572290769E-2</c:v>
                </c:pt>
                <c:pt idx="1226">
                  <c:v>-9.8007928329582938E-2</c:v>
                </c:pt>
                <c:pt idx="1227">
                  <c:v>-9.2356101869571661E-2</c:v>
                </c:pt>
                <c:pt idx="1228">
                  <c:v>-8.7390380854240779E-2</c:v>
                </c:pt>
                <c:pt idx="1229">
                  <c:v>-9.2779331664949227E-2</c:v>
                </c:pt>
                <c:pt idx="1230">
                  <c:v>-9.5358141784610106E-2</c:v>
                </c:pt>
                <c:pt idx="1231">
                  <c:v>-0.10047545442437245</c:v>
                </c:pt>
                <c:pt idx="1232">
                  <c:v>-0.11727934217997515</c:v>
                </c:pt>
                <c:pt idx="1233">
                  <c:v>-0.12650189620968366</c:v>
                </c:pt>
                <c:pt idx="1234">
                  <c:v>-0.14119839751004182</c:v>
                </c:pt>
                <c:pt idx="1235">
                  <c:v>-0.15160739697027048</c:v>
                </c:pt>
                <c:pt idx="1236">
                  <c:v>-0.12905091375575695</c:v>
                </c:pt>
                <c:pt idx="1237">
                  <c:v>-0.12048029133631954</c:v>
                </c:pt>
                <c:pt idx="1238">
                  <c:v>-0.13675492278465917</c:v>
                </c:pt>
                <c:pt idx="1239">
                  <c:v>-0.13535116681738202</c:v>
                </c:pt>
                <c:pt idx="1240">
                  <c:v>-0.13416822639551917</c:v>
                </c:pt>
                <c:pt idx="1241">
                  <c:v>-0.12050132138826375</c:v>
                </c:pt>
                <c:pt idx="1242">
                  <c:v>-0.12239753107190177</c:v>
                </c:pt>
                <c:pt idx="1243">
                  <c:v>-0.13151230608539599</c:v>
                </c:pt>
                <c:pt idx="1244">
                  <c:v>-0.13418662769097034</c:v>
                </c:pt>
                <c:pt idx="1245">
                  <c:v>-0.14202119829235982</c:v>
                </c:pt>
                <c:pt idx="1246">
                  <c:v>-0.1482268161202358</c:v>
                </c:pt>
                <c:pt idx="1247">
                  <c:v>-0.13068424779009202</c:v>
                </c:pt>
                <c:pt idx="1248">
                  <c:v>-0.13063955892971058</c:v>
                </c:pt>
                <c:pt idx="1249">
                  <c:v>-0.11997381758532943</c:v>
                </c:pt>
                <c:pt idx="1250">
                  <c:v>-0.12174998072245247</c:v>
                </c:pt>
                <c:pt idx="1251">
                  <c:v>-0.11456558922700544</c:v>
                </c:pt>
                <c:pt idx="1252">
                  <c:v>-0.10777989246633435</c:v>
                </c:pt>
                <c:pt idx="1253">
                  <c:v>-0.11505366168254438</c:v>
                </c:pt>
                <c:pt idx="1254">
                  <c:v>-0.12435420215487925</c:v>
                </c:pt>
                <c:pt idx="1255">
                  <c:v>-0.12095346750506475</c:v>
                </c:pt>
                <c:pt idx="1256">
                  <c:v>-0.1219909500676466</c:v>
                </c:pt>
                <c:pt idx="1257">
                  <c:v>-0.12741845597358614</c:v>
                </c:pt>
                <c:pt idx="1258">
                  <c:v>-0.13658843487343419</c:v>
                </c:pt>
                <c:pt idx="1259">
                  <c:v>-0.13210903380931349</c:v>
                </c:pt>
                <c:pt idx="1260">
                  <c:v>-0.13609422865274479</c:v>
                </c:pt>
                <c:pt idx="1261">
                  <c:v>-0.14255308335611594</c:v>
                </c:pt>
                <c:pt idx="1262">
                  <c:v>-0.14216840865596936</c:v>
                </c:pt>
                <c:pt idx="1263">
                  <c:v>-0.1513848289205274</c:v>
                </c:pt>
                <c:pt idx="1264">
                  <c:v>-0.16340876111963998</c:v>
                </c:pt>
                <c:pt idx="1265">
                  <c:v>-0.15954887033570975</c:v>
                </c:pt>
                <c:pt idx="1266">
                  <c:v>-0.14841170532691217</c:v>
                </c:pt>
                <c:pt idx="1267">
                  <c:v>-0.14644276671363377</c:v>
                </c:pt>
                <c:pt idx="1268">
                  <c:v>-0.13931182660021169</c:v>
                </c:pt>
                <c:pt idx="1269">
                  <c:v>-0.13957032098869282</c:v>
                </c:pt>
                <c:pt idx="1270">
                  <c:v>-0.13237015695428767</c:v>
                </c:pt>
                <c:pt idx="1271">
                  <c:v>-0.14597134304921722</c:v>
                </c:pt>
                <c:pt idx="1272">
                  <c:v>-0.14336274035596874</c:v>
                </c:pt>
                <c:pt idx="1273">
                  <c:v>-0.13925487020952942</c:v>
                </c:pt>
                <c:pt idx="1274">
                  <c:v>-0.15064089083300036</c:v>
                </c:pt>
                <c:pt idx="1275">
                  <c:v>-0.14411631721730356</c:v>
                </c:pt>
                <c:pt idx="1276">
                  <c:v>-0.14126148766587454</c:v>
                </c:pt>
                <c:pt idx="1277">
                  <c:v>-0.13961676235340303</c:v>
                </c:pt>
                <c:pt idx="1278">
                  <c:v>-0.13477722164973749</c:v>
                </c:pt>
                <c:pt idx="1279">
                  <c:v>-0.14262493603359205</c:v>
                </c:pt>
                <c:pt idx="1280">
                  <c:v>-0.15046301164363873</c:v>
                </c:pt>
                <c:pt idx="1281">
                  <c:v>-0.14962180956586957</c:v>
                </c:pt>
                <c:pt idx="1282">
                  <c:v>-0.14375968258641603</c:v>
                </c:pt>
                <c:pt idx="1283">
                  <c:v>-0.14731376136499064</c:v>
                </c:pt>
                <c:pt idx="1284">
                  <c:v>-0.15733983862940149</c:v>
                </c:pt>
                <c:pt idx="1285">
                  <c:v>-0.1525186992211871</c:v>
                </c:pt>
                <c:pt idx="1286">
                  <c:v>-0.1525484917947747</c:v>
                </c:pt>
                <c:pt idx="1287">
                  <c:v>-0.15718474199631272</c:v>
                </c:pt>
                <c:pt idx="1288">
                  <c:v>-0.1575308616012282</c:v>
                </c:pt>
                <c:pt idx="1289">
                  <c:v>-0.15716721695302593</c:v>
                </c:pt>
                <c:pt idx="1290">
                  <c:v>-0.1571768557268336</c:v>
                </c:pt>
                <c:pt idx="1291">
                  <c:v>-0.15629709855383345</c:v>
                </c:pt>
                <c:pt idx="1292">
                  <c:v>-0.15370689715603592</c:v>
                </c:pt>
                <c:pt idx="1293">
                  <c:v>-0.14668899357181409</c:v>
                </c:pt>
                <c:pt idx="1294">
                  <c:v>-0.14668899357181409</c:v>
                </c:pt>
                <c:pt idx="1295">
                  <c:v>-0.1391786362712315</c:v>
                </c:pt>
                <c:pt idx="1296">
                  <c:v>-0.13494108080446954</c:v>
                </c:pt>
                <c:pt idx="1297">
                  <c:v>-0.13211078631364226</c:v>
                </c:pt>
                <c:pt idx="1298">
                  <c:v>-0.13652709722193013</c:v>
                </c:pt>
                <c:pt idx="1299">
                  <c:v>-0.13510406370703743</c:v>
                </c:pt>
                <c:pt idx="1300">
                  <c:v>-0.13590933944606842</c:v>
                </c:pt>
                <c:pt idx="1301">
                  <c:v>-0.14081109405340231</c:v>
                </c:pt>
                <c:pt idx="1302">
                  <c:v>-0.14186960666792847</c:v>
                </c:pt>
                <c:pt idx="1303">
                  <c:v>-0.14820929107694902</c:v>
                </c:pt>
                <c:pt idx="1304">
                  <c:v>-0.14989081898032297</c:v>
                </c:pt>
                <c:pt idx="1305">
                  <c:v>-0.15006606941319145</c:v>
                </c:pt>
                <c:pt idx="1306">
                  <c:v>-0.15002926682228912</c:v>
                </c:pt>
                <c:pt idx="1307">
                  <c:v>-0.15670718456674582</c:v>
                </c:pt>
                <c:pt idx="1308">
                  <c:v>-0.15072501104077729</c:v>
                </c:pt>
                <c:pt idx="1309">
                  <c:v>-0.15694026764246105</c:v>
                </c:pt>
                <c:pt idx="1310">
                  <c:v>-0.15603948041751659</c:v>
                </c:pt>
                <c:pt idx="1311">
                  <c:v>-0.15644255641311433</c:v>
                </c:pt>
                <c:pt idx="1312">
                  <c:v>-0.14858783201194503</c:v>
                </c:pt>
                <c:pt idx="1313">
                  <c:v>-0.14212722480424522</c:v>
                </c:pt>
                <c:pt idx="1314">
                  <c:v>-0.14635689400152818</c:v>
                </c:pt>
                <c:pt idx="1315">
                  <c:v>-0.14966912718274417</c:v>
                </c:pt>
                <c:pt idx="1316">
                  <c:v>-0.15051032926051322</c:v>
                </c:pt>
                <c:pt idx="1317">
                  <c:v>-0.15083103755266281</c:v>
                </c:pt>
                <c:pt idx="1318">
                  <c:v>-0.14655930825149144</c:v>
                </c:pt>
                <c:pt idx="1319">
                  <c:v>-0.14428105262419999</c:v>
                </c:pt>
                <c:pt idx="1320">
                  <c:v>-0.1393538867041002</c:v>
                </c:pt>
                <c:pt idx="1321">
                  <c:v>-0.14215438862133989</c:v>
                </c:pt>
                <c:pt idx="1322">
                  <c:v>-0.14943516785486455</c:v>
                </c:pt>
                <c:pt idx="1323">
                  <c:v>-0.14552270194107375</c:v>
                </c:pt>
                <c:pt idx="1324">
                  <c:v>-0.14622019866389069</c:v>
                </c:pt>
                <c:pt idx="1325">
                  <c:v>-0.15175022607305844</c:v>
                </c:pt>
                <c:pt idx="1326">
                  <c:v>-0.14927306120446115</c:v>
                </c:pt>
                <c:pt idx="1327">
                  <c:v>-0.15505983049778138</c:v>
                </c:pt>
                <c:pt idx="1328">
                  <c:v>-0.15781564355463962</c:v>
                </c:pt>
                <c:pt idx="1329">
                  <c:v>-0.16314939047899446</c:v>
                </c:pt>
                <c:pt idx="1330">
                  <c:v>-0.16247993382543646</c:v>
                </c:pt>
                <c:pt idx="1331">
                  <c:v>-0.17214411894597381</c:v>
                </c:pt>
                <c:pt idx="1332">
                  <c:v>-0.16842267600400973</c:v>
                </c:pt>
                <c:pt idx="1333">
                  <c:v>-0.16828422816204358</c:v>
                </c:pt>
                <c:pt idx="1334">
                  <c:v>-0.17375028916321422</c:v>
                </c:pt>
                <c:pt idx="1335">
                  <c:v>-0.17265409770562135</c:v>
                </c:pt>
                <c:pt idx="1336">
                  <c:v>-0.18113446615213136</c:v>
                </c:pt>
                <c:pt idx="1337">
                  <c:v>-0.18586009407443227</c:v>
                </c:pt>
                <c:pt idx="1338">
                  <c:v>-0.18144641192263744</c:v>
                </c:pt>
                <c:pt idx="1339">
                  <c:v>-0.18502414950964918</c:v>
                </c:pt>
                <c:pt idx="1340">
                  <c:v>-0.18816901852747581</c:v>
                </c:pt>
                <c:pt idx="1341">
                  <c:v>-0.19405392806320232</c:v>
                </c:pt>
                <c:pt idx="1342">
                  <c:v>-0.18392182428690595</c:v>
                </c:pt>
                <c:pt idx="1343">
                  <c:v>-0.18185036417039946</c:v>
                </c:pt>
                <c:pt idx="1344">
                  <c:v>-0.17434789313929611</c:v>
                </c:pt>
                <c:pt idx="1345">
                  <c:v>-0.17491833329828321</c:v>
                </c:pt>
                <c:pt idx="1346">
                  <c:v>-0.17431371930488671</c:v>
                </c:pt>
                <c:pt idx="1347">
                  <c:v>-0.16958283386959971</c:v>
                </c:pt>
                <c:pt idx="1348">
                  <c:v>-0.16776548688075255</c:v>
                </c:pt>
                <c:pt idx="1349">
                  <c:v>-0.17087092455118358</c:v>
                </c:pt>
                <c:pt idx="1350">
                  <c:v>-0.17360658380826199</c:v>
                </c:pt>
                <c:pt idx="1351">
                  <c:v>-0.16399585006974959</c:v>
                </c:pt>
                <c:pt idx="1352">
                  <c:v>-0.16677707443937384</c:v>
                </c:pt>
                <c:pt idx="1353">
                  <c:v>-0.1622529845148718</c:v>
                </c:pt>
                <c:pt idx="1354">
                  <c:v>-0.15868663820599638</c:v>
                </c:pt>
                <c:pt idx="1355">
                  <c:v>-0.15715757817921805</c:v>
                </c:pt>
                <c:pt idx="1356">
                  <c:v>-0.16551089006189834</c:v>
                </c:pt>
                <c:pt idx="1357">
                  <c:v>-0.16452948763783448</c:v>
                </c:pt>
                <c:pt idx="1358">
                  <c:v>-0.16001153147848268</c:v>
                </c:pt>
                <c:pt idx="1359">
                  <c:v>-0.15697531772903484</c:v>
                </c:pt>
                <c:pt idx="1360">
                  <c:v>-0.15337567383791439</c:v>
                </c:pt>
                <c:pt idx="1361">
                  <c:v>-0.15338443635955779</c:v>
                </c:pt>
                <c:pt idx="1362">
                  <c:v>-0.1562988510581621</c:v>
                </c:pt>
                <c:pt idx="1363">
                  <c:v>-0.15359123187034274</c:v>
                </c:pt>
                <c:pt idx="1364">
                  <c:v>-0.1461045333781974</c:v>
                </c:pt>
                <c:pt idx="1365">
                  <c:v>-0.14585392525919538</c:v>
                </c:pt>
                <c:pt idx="1366">
                  <c:v>-0.14668724106748543</c:v>
                </c:pt>
                <c:pt idx="1367">
                  <c:v>-0.14553321696704591</c:v>
                </c:pt>
                <c:pt idx="1368">
                  <c:v>-0.14187311167658578</c:v>
                </c:pt>
                <c:pt idx="1369">
                  <c:v>-0.14139818300351203</c:v>
                </c:pt>
                <c:pt idx="1370">
                  <c:v>-0.13848814956572941</c:v>
                </c:pt>
                <c:pt idx="1371">
                  <c:v>-0.14064635864650588</c:v>
                </c:pt>
                <c:pt idx="1372">
                  <c:v>-0.14223149881180197</c:v>
                </c:pt>
                <c:pt idx="1373">
                  <c:v>-0.144442283022439</c:v>
                </c:pt>
                <c:pt idx="1374">
                  <c:v>-0.14061043230776782</c:v>
                </c:pt>
                <c:pt idx="1375">
                  <c:v>-0.1391786362712315</c:v>
                </c:pt>
                <c:pt idx="1376">
                  <c:v>-0.1387229851457733</c:v>
                </c:pt>
                <c:pt idx="1377">
                  <c:v>-0.14006014594856042</c:v>
                </c:pt>
                <c:pt idx="1378">
                  <c:v>-0.13811924740454107</c:v>
                </c:pt>
                <c:pt idx="1379">
                  <c:v>-0.13763818496631686</c:v>
                </c:pt>
                <c:pt idx="1380">
                  <c:v>-0.13573146025670679</c:v>
                </c:pt>
                <c:pt idx="1381">
                  <c:v>-0.13018215529992361</c:v>
                </c:pt>
                <c:pt idx="1382">
                  <c:v>-0.1291639502849572</c:v>
                </c:pt>
                <c:pt idx="1383">
                  <c:v>-0.12528916321423311</c:v>
                </c:pt>
                <c:pt idx="1384">
                  <c:v>-0.12944259847321826</c:v>
                </c:pt>
                <c:pt idx="1385">
                  <c:v>-0.12381705957813716</c:v>
                </c:pt>
                <c:pt idx="1386">
                  <c:v>-0.12711527272472356</c:v>
                </c:pt>
                <c:pt idx="1387">
                  <c:v>-0.13066058898165478</c:v>
                </c:pt>
                <c:pt idx="1388">
                  <c:v>-0.13362144504496931</c:v>
                </c:pt>
                <c:pt idx="1389">
                  <c:v>-0.13404905610116857</c:v>
                </c:pt>
                <c:pt idx="1390">
                  <c:v>-0.13513210377629636</c:v>
                </c:pt>
                <c:pt idx="1391">
                  <c:v>-0.126474732392589</c:v>
                </c:pt>
                <c:pt idx="1392">
                  <c:v>-0.12888179708803871</c:v>
                </c:pt>
                <c:pt idx="1393">
                  <c:v>-0.12872231919412847</c:v>
                </c:pt>
                <c:pt idx="1394">
                  <c:v>-0.13135458069581429</c:v>
                </c:pt>
                <c:pt idx="1395">
                  <c:v>-0.13768375007886269</c:v>
                </c:pt>
                <c:pt idx="1396">
                  <c:v>-0.13561929997967093</c:v>
                </c:pt>
                <c:pt idx="1397">
                  <c:v>-0.13241922707549081</c:v>
                </c:pt>
                <c:pt idx="1398">
                  <c:v>-0.13178569676067098</c:v>
                </c:pt>
                <c:pt idx="1399">
                  <c:v>-0.1318277568645595</c:v>
                </c:pt>
                <c:pt idx="1400">
                  <c:v>-0.12915606401547808</c:v>
                </c:pt>
                <c:pt idx="1401">
                  <c:v>-0.12541446727373418</c:v>
                </c:pt>
                <c:pt idx="1402">
                  <c:v>-0.12494216735715347</c:v>
                </c:pt>
                <c:pt idx="1403">
                  <c:v>-0.12528215319691838</c:v>
                </c:pt>
                <c:pt idx="1404">
                  <c:v>-0.12967655780109766</c:v>
                </c:pt>
                <c:pt idx="1405">
                  <c:v>-0.12718887790652844</c:v>
                </c:pt>
                <c:pt idx="1406">
                  <c:v>-0.12215831423103618</c:v>
                </c:pt>
                <c:pt idx="1407">
                  <c:v>-0.1231160578466628</c:v>
                </c:pt>
                <c:pt idx="1408">
                  <c:v>-0.12333512088774856</c:v>
                </c:pt>
                <c:pt idx="1409">
                  <c:v>-0.12243520991496848</c:v>
                </c:pt>
                <c:pt idx="1410">
                  <c:v>-0.11943141749560127</c:v>
                </c:pt>
                <c:pt idx="1411">
                  <c:v>-0.12209522407520346</c:v>
                </c:pt>
                <c:pt idx="1412">
                  <c:v>-0.12831924319853061</c:v>
                </c:pt>
                <c:pt idx="1413">
                  <c:v>-0.12861366392574991</c:v>
                </c:pt>
                <c:pt idx="1414">
                  <c:v>-0.13062466264291672</c:v>
                </c:pt>
                <c:pt idx="1415">
                  <c:v>-0.12597877366757093</c:v>
                </c:pt>
                <c:pt idx="1416">
                  <c:v>-0.13242097957981958</c:v>
                </c:pt>
                <c:pt idx="1417">
                  <c:v>-0.1365235922132727</c:v>
                </c:pt>
                <c:pt idx="1418">
                  <c:v>-0.13207398372273971</c:v>
                </c:pt>
                <c:pt idx="1419">
                  <c:v>-0.12787147834255153</c:v>
                </c:pt>
                <c:pt idx="1420">
                  <c:v>-0.12895364976551493</c:v>
                </c:pt>
                <c:pt idx="1421">
                  <c:v>-0.12734485079178148</c:v>
                </c:pt>
                <c:pt idx="1422">
                  <c:v>-0.12861716893440722</c:v>
                </c:pt>
                <c:pt idx="1423">
                  <c:v>-0.12881520192354878</c:v>
                </c:pt>
                <c:pt idx="1424">
                  <c:v>-0.13091294960498556</c:v>
                </c:pt>
                <c:pt idx="1425">
                  <c:v>-0.13337346568246022</c:v>
                </c:pt>
                <c:pt idx="1426">
                  <c:v>-0.13217825773029668</c:v>
                </c:pt>
                <c:pt idx="1427">
                  <c:v>-0.13856788851268464</c:v>
                </c:pt>
                <c:pt idx="1428">
                  <c:v>-0.13789667935479799</c:v>
                </c:pt>
                <c:pt idx="1429">
                  <c:v>-0.13887808177886196</c:v>
                </c:pt>
                <c:pt idx="1430">
                  <c:v>-0.13820424386448238</c:v>
                </c:pt>
                <c:pt idx="1431">
                  <c:v>-0.13543090576433714</c:v>
                </c:pt>
                <c:pt idx="1432">
                  <c:v>-0.13311409504181471</c:v>
                </c:pt>
                <c:pt idx="1433">
                  <c:v>-0.12834903577211831</c:v>
                </c:pt>
                <c:pt idx="1434">
                  <c:v>-0.12533472832677894</c:v>
                </c:pt>
                <c:pt idx="1435">
                  <c:v>-0.12603573005825319</c:v>
                </c:pt>
                <c:pt idx="1436">
                  <c:v>-0.12349810379031645</c:v>
                </c:pt>
                <c:pt idx="1437">
                  <c:v>-0.12036462605062637</c:v>
                </c:pt>
                <c:pt idx="1438">
                  <c:v>-0.1208150196630986</c:v>
                </c:pt>
                <c:pt idx="1439">
                  <c:v>-0.11791111999046633</c:v>
                </c:pt>
                <c:pt idx="1440">
                  <c:v>-0.11534632990543492</c:v>
                </c:pt>
                <c:pt idx="1441">
                  <c:v>-0.11405911547601522</c:v>
                </c:pt>
                <c:pt idx="1442">
                  <c:v>-0.11230310613867212</c:v>
                </c:pt>
                <c:pt idx="1443">
                  <c:v>-0.11290158636691838</c:v>
                </c:pt>
                <c:pt idx="1444">
                  <c:v>-0.10907499316523317</c:v>
                </c:pt>
                <c:pt idx="1445">
                  <c:v>-0.10648303926310698</c:v>
                </c:pt>
                <c:pt idx="1446">
                  <c:v>-0.1107223472341976</c:v>
                </c:pt>
                <c:pt idx="1447">
                  <c:v>-0.10911091950397112</c:v>
                </c:pt>
                <c:pt idx="1448">
                  <c:v>-0.10940796898768346</c:v>
                </c:pt>
                <c:pt idx="1449">
                  <c:v>-0.11027020111739672</c:v>
                </c:pt>
                <c:pt idx="1450">
                  <c:v>-0.1090005117312639</c:v>
                </c:pt>
                <c:pt idx="1451">
                  <c:v>-0.10457543830133254</c:v>
                </c:pt>
                <c:pt idx="1452">
                  <c:v>-0.10739258900969484</c:v>
                </c:pt>
                <c:pt idx="1453">
                  <c:v>-0.10684931266780229</c:v>
                </c:pt>
                <c:pt idx="1454">
                  <c:v>-0.10460610712708462</c:v>
                </c:pt>
                <c:pt idx="1455">
                  <c:v>-0.10342404295738605</c:v>
                </c:pt>
                <c:pt idx="1456">
                  <c:v>-0.10988903142590767</c:v>
                </c:pt>
                <c:pt idx="1457">
                  <c:v>-0.10841429903331867</c:v>
                </c:pt>
                <c:pt idx="1458">
                  <c:v>-0.10807518944571792</c:v>
                </c:pt>
                <c:pt idx="1459">
                  <c:v>-0.1062306786397762</c:v>
                </c:pt>
                <c:pt idx="1460">
                  <c:v>-0.10427313130463434</c:v>
                </c:pt>
                <c:pt idx="1461">
                  <c:v>-0.10146561937007981</c:v>
                </c:pt>
                <c:pt idx="1462">
                  <c:v>-9.9639509859589359E-2</c:v>
                </c:pt>
                <c:pt idx="1463">
                  <c:v>-9.91987550209249E-2</c:v>
                </c:pt>
                <c:pt idx="1464">
                  <c:v>-0.10039221046875979</c:v>
                </c:pt>
                <c:pt idx="1465">
                  <c:v>-0.10124217506817246</c:v>
                </c:pt>
                <c:pt idx="1466">
                  <c:v>-0.10211141721520056</c:v>
                </c:pt>
                <c:pt idx="1467">
                  <c:v>-0.10649180178475037</c:v>
                </c:pt>
                <c:pt idx="1468">
                  <c:v>-0.1066950922868779</c:v>
                </c:pt>
                <c:pt idx="1469">
                  <c:v>-0.10667669099142674</c:v>
                </c:pt>
                <c:pt idx="1470">
                  <c:v>-0.10205533707668257</c:v>
                </c:pt>
                <c:pt idx="1471">
                  <c:v>-0.10211054096303618</c:v>
                </c:pt>
                <c:pt idx="1472">
                  <c:v>-0.10264593103544972</c:v>
                </c:pt>
                <c:pt idx="1473">
                  <c:v>-0.10275020504300647</c:v>
                </c:pt>
                <c:pt idx="1474">
                  <c:v>-9.7526865891358727E-2</c:v>
                </c:pt>
                <c:pt idx="1475">
                  <c:v>-9.6723342656656275E-2</c:v>
                </c:pt>
                <c:pt idx="1476">
                  <c:v>-0.10015474613222297</c:v>
                </c:pt>
                <c:pt idx="1477">
                  <c:v>-9.8900829285048286E-2</c:v>
                </c:pt>
                <c:pt idx="1478">
                  <c:v>-9.5825184188204959E-2</c:v>
                </c:pt>
                <c:pt idx="1479">
                  <c:v>-9.6588399823347548E-2</c:v>
                </c:pt>
                <c:pt idx="1480">
                  <c:v>-9.6153778749833441E-2</c:v>
                </c:pt>
                <c:pt idx="1481">
                  <c:v>-9.6777670290845608E-2</c:v>
                </c:pt>
                <c:pt idx="1482">
                  <c:v>-9.6263310270376379E-2</c:v>
                </c:pt>
                <c:pt idx="1483">
                  <c:v>-9.6477992050640338E-2</c:v>
                </c:pt>
                <c:pt idx="1484">
                  <c:v>-9.7795875305812019E-2</c:v>
                </c:pt>
                <c:pt idx="1485">
                  <c:v>-0.10014160234975777</c:v>
                </c:pt>
                <c:pt idx="1486">
                  <c:v>-9.6253671496568605E-2</c:v>
                </c:pt>
                <c:pt idx="1487">
                  <c:v>-9.5402830644991665E-2</c:v>
                </c:pt>
                <c:pt idx="1488">
                  <c:v>-9.6874058028923238E-2</c:v>
                </c:pt>
                <c:pt idx="1489">
                  <c:v>-0.10136747912767341</c:v>
                </c:pt>
                <c:pt idx="1490">
                  <c:v>-0.10487248778504488</c:v>
                </c:pt>
                <c:pt idx="1491">
                  <c:v>-0.10304988328321174</c:v>
                </c:pt>
                <c:pt idx="1492">
                  <c:v>-0.10095125934961058</c:v>
                </c:pt>
                <c:pt idx="1493">
                  <c:v>-9.7785360279839861E-2</c:v>
                </c:pt>
                <c:pt idx="1494">
                  <c:v>-9.6581389806032814E-2</c:v>
                </c:pt>
                <c:pt idx="1495">
                  <c:v>-9.8244516413955596E-2</c:v>
                </c:pt>
                <c:pt idx="1496">
                  <c:v>-9.4848163024962573E-2</c:v>
                </c:pt>
                <c:pt idx="1497">
                  <c:v>-9.6696178839561719E-2</c:v>
                </c:pt>
                <c:pt idx="1498">
                  <c:v>-9.4500290915718543E-2</c:v>
                </c:pt>
                <c:pt idx="1499">
                  <c:v>-9.4826256720854096E-2</c:v>
                </c:pt>
                <c:pt idx="1500">
                  <c:v>-9.416293383244656E-2</c:v>
                </c:pt>
                <c:pt idx="1501">
                  <c:v>-9.2058176133695047E-2</c:v>
                </c:pt>
                <c:pt idx="1502">
                  <c:v>-9.1495622244186947E-2</c:v>
                </c:pt>
                <c:pt idx="1503">
                  <c:v>-9.639650059935656E-2</c:v>
                </c:pt>
                <c:pt idx="1504">
                  <c:v>-9.4526578480648826E-2</c:v>
                </c:pt>
                <c:pt idx="1505">
                  <c:v>-9.8467084463698673E-2</c:v>
                </c:pt>
                <c:pt idx="1506">
                  <c:v>-9.8881551737432738E-2</c:v>
                </c:pt>
                <c:pt idx="1507">
                  <c:v>-9.6846894211828793E-2</c:v>
                </c:pt>
                <c:pt idx="1508">
                  <c:v>-0.10285710780705626</c:v>
                </c:pt>
                <c:pt idx="1509">
                  <c:v>-0.10153747204755592</c:v>
                </c:pt>
                <c:pt idx="1510">
                  <c:v>-0.10174163880184783</c:v>
                </c:pt>
                <c:pt idx="1511">
                  <c:v>-0.10428101757411345</c:v>
                </c:pt>
                <c:pt idx="1512">
                  <c:v>-0.10347574183508224</c:v>
                </c:pt>
                <c:pt idx="1513">
                  <c:v>-0.10442472292906557</c:v>
                </c:pt>
                <c:pt idx="1514">
                  <c:v>-0.10122465002488545</c:v>
                </c:pt>
                <c:pt idx="1515">
                  <c:v>-9.9446734383433877E-2</c:v>
                </c:pt>
                <c:pt idx="1516">
                  <c:v>-9.4309267943891828E-2</c:v>
                </c:pt>
                <c:pt idx="1517">
                  <c:v>-9.4160305075953521E-2</c:v>
                </c:pt>
                <c:pt idx="1518">
                  <c:v>-9.428736163978324E-2</c:v>
                </c:pt>
                <c:pt idx="1519">
                  <c:v>-9.4982229606107138E-2</c:v>
                </c:pt>
                <c:pt idx="1520">
                  <c:v>-9.4315401709042179E-2</c:v>
                </c:pt>
                <c:pt idx="1521">
                  <c:v>-8.9933264635163712E-2</c:v>
                </c:pt>
                <c:pt idx="1522">
                  <c:v>-8.8299054348664252E-2</c:v>
                </c:pt>
                <c:pt idx="1523">
                  <c:v>-9.1879420692169145E-2</c:v>
                </c:pt>
                <c:pt idx="1524">
                  <c:v>-9.3935984521881788E-2</c:v>
                </c:pt>
                <c:pt idx="1525">
                  <c:v>-9.6084554828850477E-2</c:v>
                </c:pt>
                <c:pt idx="1526">
                  <c:v>-9.3387450667003158E-2</c:v>
                </c:pt>
                <c:pt idx="1527">
                  <c:v>-9.3106173722249164E-2</c:v>
                </c:pt>
                <c:pt idx="1528">
                  <c:v>-9.4037629772945497E-2</c:v>
                </c:pt>
                <c:pt idx="1529">
                  <c:v>-9.5782247832152057E-2</c:v>
                </c:pt>
                <c:pt idx="1530">
                  <c:v>-9.6618192396935143E-2</c:v>
                </c:pt>
                <c:pt idx="1531">
                  <c:v>-9.6427169425108428E-2</c:v>
                </c:pt>
                <c:pt idx="1532">
                  <c:v>-9.3014167244993007E-2</c:v>
                </c:pt>
                <c:pt idx="1533">
                  <c:v>-9.2919532011244144E-2</c:v>
                </c:pt>
                <c:pt idx="1534">
                  <c:v>-9.4452097046679673E-2</c:v>
                </c:pt>
                <c:pt idx="1535">
                  <c:v>-9.2001219743012674E-2</c:v>
                </c:pt>
                <c:pt idx="1536">
                  <c:v>-8.9015828619096626E-2</c:v>
                </c:pt>
                <c:pt idx="1537">
                  <c:v>-9.0856834416380927E-2</c:v>
                </c:pt>
                <c:pt idx="1538">
                  <c:v>-9.3347143067443406E-2</c:v>
                </c:pt>
                <c:pt idx="1539">
                  <c:v>-9.1965293404274728E-2</c:v>
                </c:pt>
                <c:pt idx="1540">
                  <c:v>-8.8648678962237049E-2</c:v>
                </c:pt>
                <c:pt idx="1541">
                  <c:v>-8.6150484041695563E-2</c:v>
                </c:pt>
                <c:pt idx="1542">
                  <c:v>-8.8133442689603325E-2</c:v>
                </c:pt>
                <c:pt idx="1543">
                  <c:v>-8.3676824181755816E-2</c:v>
                </c:pt>
                <c:pt idx="1544">
                  <c:v>-8.4381330921887376E-2</c:v>
                </c:pt>
                <c:pt idx="1545">
                  <c:v>-8.485450709063258E-2</c:v>
                </c:pt>
                <c:pt idx="1546">
                  <c:v>-8.4114074011762852E-2</c:v>
                </c:pt>
                <c:pt idx="1547">
                  <c:v>-8.1041057671412453E-2</c:v>
                </c:pt>
                <c:pt idx="1548">
                  <c:v>-8.1404702319614719E-2</c:v>
                </c:pt>
                <c:pt idx="1549">
                  <c:v>-7.9537408957400135E-2</c:v>
                </c:pt>
                <c:pt idx="1550">
                  <c:v>-7.9715288146761765E-2</c:v>
                </c:pt>
                <c:pt idx="1551">
                  <c:v>-7.9174640561362253E-2</c:v>
                </c:pt>
                <c:pt idx="1552">
                  <c:v>-7.9975535039571555E-2</c:v>
                </c:pt>
                <c:pt idx="1553">
                  <c:v>-7.9701268112132184E-2</c:v>
                </c:pt>
                <c:pt idx="1554">
                  <c:v>-8.0138517942139331E-2</c:v>
                </c:pt>
                <c:pt idx="1555">
                  <c:v>-8.0138517942139331E-2</c:v>
                </c:pt>
                <c:pt idx="1556">
                  <c:v>-7.5955290109566587E-2</c:v>
                </c:pt>
                <c:pt idx="1557">
                  <c:v>-7.5058007893279433E-2</c:v>
                </c:pt>
                <c:pt idx="1558">
                  <c:v>-7.5360314889977853E-2</c:v>
                </c:pt>
                <c:pt idx="1559">
                  <c:v>-7.2805163578754106E-2</c:v>
                </c:pt>
                <c:pt idx="1560">
                  <c:v>-7.216462324661943E-2</c:v>
                </c:pt>
                <c:pt idx="1561">
                  <c:v>-7.3823368593720406E-2</c:v>
                </c:pt>
                <c:pt idx="1562">
                  <c:v>-7.5794059711327466E-2</c:v>
                </c:pt>
                <c:pt idx="1563">
                  <c:v>-7.5362067394306398E-2</c:v>
                </c:pt>
                <c:pt idx="1564">
                  <c:v>-7.3884706245224363E-2</c:v>
                </c:pt>
                <c:pt idx="1565">
                  <c:v>-7.3120614357917502E-2</c:v>
                </c:pt>
                <c:pt idx="1566">
                  <c:v>-7.3259062199883651E-2</c:v>
                </c:pt>
                <c:pt idx="1567">
                  <c:v>-7.1198117109349202E-2</c:v>
                </c:pt>
                <c:pt idx="1568">
                  <c:v>-7.1318163655864186E-2</c:v>
                </c:pt>
                <c:pt idx="1569">
                  <c:v>-7.4269380945370833E-2</c:v>
                </c:pt>
                <c:pt idx="1570">
                  <c:v>-8.035582847889633E-2</c:v>
                </c:pt>
                <c:pt idx="1571">
                  <c:v>-7.9941361205162154E-2</c:v>
                </c:pt>
                <c:pt idx="1572">
                  <c:v>-7.9634672947642149E-2</c:v>
                </c:pt>
                <c:pt idx="1573">
                  <c:v>-8.165969169943843E-2</c:v>
                </c:pt>
                <c:pt idx="1574">
                  <c:v>-8.2947782381022517E-2</c:v>
                </c:pt>
                <c:pt idx="1575">
                  <c:v>-8.2117095329225398E-2</c:v>
                </c:pt>
                <c:pt idx="1576">
                  <c:v>-7.9398961115433986E-2</c:v>
                </c:pt>
                <c:pt idx="1577">
                  <c:v>-7.7959278809418664E-2</c:v>
                </c:pt>
                <c:pt idx="1578">
                  <c:v>-7.8978360076549348E-2</c:v>
                </c:pt>
                <c:pt idx="1579">
                  <c:v>-8.2779541965468662E-2</c:v>
                </c:pt>
                <c:pt idx="1580">
                  <c:v>-8.2993347493568348E-2</c:v>
                </c:pt>
                <c:pt idx="1581">
                  <c:v>-8.6180276615283269E-2</c:v>
                </c:pt>
                <c:pt idx="1582">
                  <c:v>-8.3082725214331243E-2</c:v>
                </c:pt>
                <c:pt idx="1583">
                  <c:v>-8.2812839547713679E-2</c:v>
                </c:pt>
                <c:pt idx="1584">
                  <c:v>-7.9480452566717763E-2</c:v>
                </c:pt>
                <c:pt idx="1585">
                  <c:v>-7.9132580457473733E-2</c:v>
                </c:pt>
                <c:pt idx="1586">
                  <c:v>-7.9845849719248796E-2</c:v>
                </c:pt>
                <c:pt idx="1587">
                  <c:v>-7.7359922329008235E-2</c:v>
                </c:pt>
                <c:pt idx="1588">
                  <c:v>-7.328710226914259E-2</c:v>
                </c:pt>
                <c:pt idx="1589">
                  <c:v>-7.2986547776772936E-2</c:v>
                </c:pt>
                <c:pt idx="1590">
                  <c:v>-7.1417180150434967E-2</c:v>
                </c:pt>
                <c:pt idx="1591">
                  <c:v>-7.0194808381176754E-2</c:v>
                </c:pt>
                <c:pt idx="1592">
                  <c:v>-7.1129769440530399E-2</c:v>
                </c:pt>
                <c:pt idx="1593">
                  <c:v>-7.2262763489025716E-2</c:v>
                </c:pt>
                <c:pt idx="1594">
                  <c:v>-7.3577141735540086E-2</c:v>
                </c:pt>
                <c:pt idx="1595">
                  <c:v>-7.2779752265988096E-2</c:v>
                </c:pt>
                <c:pt idx="1596">
                  <c:v>-6.8178552151023752E-2</c:v>
                </c:pt>
                <c:pt idx="1597">
                  <c:v>-6.7950726588294708E-2</c:v>
                </c:pt>
                <c:pt idx="1598">
                  <c:v>-6.8694664675821748E-2</c:v>
                </c:pt>
                <c:pt idx="1599">
                  <c:v>-6.6879946443467619E-2</c:v>
                </c:pt>
                <c:pt idx="1600">
                  <c:v>-6.3926976649632317E-2</c:v>
                </c:pt>
                <c:pt idx="1601">
                  <c:v>-6.3170771031804462E-2</c:v>
                </c:pt>
                <c:pt idx="1602">
                  <c:v>-6.1429657981255104E-2</c:v>
                </c:pt>
                <c:pt idx="1603">
                  <c:v>-6.264414348103442E-2</c:v>
                </c:pt>
                <c:pt idx="1604">
                  <c:v>-6.2475026813316292E-2</c:v>
                </c:pt>
                <c:pt idx="1605">
                  <c:v>-6.2080713339361937E-2</c:v>
                </c:pt>
                <c:pt idx="1606">
                  <c:v>-6.1024829481328813E-2</c:v>
                </c:pt>
                <c:pt idx="1607">
                  <c:v>-6.0330837767169188E-2</c:v>
                </c:pt>
                <c:pt idx="1608">
                  <c:v>-5.7667031187566997E-2</c:v>
                </c:pt>
                <c:pt idx="1609">
                  <c:v>-5.7667907439731381E-2</c:v>
                </c:pt>
                <c:pt idx="1610">
                  <c:v>-5.6966905708257021E-2</c:v>
                </c:pt>
                <c:pt idx="1611">
                  <c:v>-5.5347591708551525E-2</c:v>
                </c:pt>
                <c:pt idx="1612">
                  <c:v>-5.3931568210973446E-2</c:v>
                </c:pt>
                <c:pt idx="1613">
                  <c:v>-5.3378653095273121E-2</c:v>
                </c:pt>
                <c:pt idx="1614">
                  <c:v>-5.3493442128802027E-2</c:v>
                </c:pt>
                <c:pt idx="1615">
                  <c:v>-5.3438238242448421E-2</c:v>
                </c:pt>
                <c:pt idx="1616">
                  <c:v>-5.2235144020805757E-2</c:v>
                </c:pt>
                <c:pt idx="1617">
                  <c:v>-5.1535018541495781E-2</c:v>
                </c:pt>
                <c:pt idx="1618">
                  <c:v>-5.3552151023812944E-2</c:v>
                </c:pt>
                <c:pt idx="1619">
                  <c:v>-5.1025039781848247E-2</c:v>
                </c:pt>
                <c:pt idx="1620">
                  <c:v>-5.1418477003638108E-2</c:v>
                </c:pt>
                <c:pt idx="1621">
                  <c:v>-4.966597267495243E-2</c:v>
                </c:pt>
                <c:pt idx="1622">
                  <c:v>-4.8673178972752029E-2</c:v>
                </c:pt>
                <c:pt idx="1623">
                  <c:v>-4.6678829046707726E-2</c:v>
                </c:pt>
                <c:pt idx="1624">
                  <c:v>-4.7277309274953883E-2</c:v>
                </c:pt>
                <c:pt idx="1625">
                  <c:v>-4.795552845015516E-2</c:v>
                </c:pt>
                <c:pt idx="1626">
                  <c:v>-4.847251722711754E-2</c:v>
                </c:pt>
                <c:pt idx="1627">
                  <c:v>-4.799758855404368E-2</c:v>
                </c:pt>
                <c:pt idx="1628">
                  <c:v>-4.6900520844286531E-2</c:v>
                </c:pt>
                <c:pt idx="1629">
                  <c:v>-4.4667830329540914E-2</c:v>
                </c:pt>
                <c:pt idx="1630">
                  <c:v>-4.73920983084829E-2</c:v>
                </c:pt>
                <c:pt idx="1631">
                  <c:v>-4.8389273271504996E-2</c:v>
                </c:pt>
                <c:pt idx="1632">
                  <c:v>-4.6776969289114123E-2</c:v>
                </c:pt>
                <c:pt idx="1633">
                  <c:v>-4.5079668846782051E-2</c:v>
                </c:pt>
                <c:pt idx="1634">
                  <c:v>-4.5588771354265201E-2</c:v>
                </c:pt>
                <c:pt idx="1635">
                  <c:v>-4.4680974112006E-2</c:v>
                </c:pt>
                <c:pt idx="1636">
                  <c:v>-4.3811731964977896E-2</c:v>
                </c:pt>
                <c:pt idx="1637">
                  <c:v>-4.8829151858005182E-2</c:v>
                </c:pt>
                <c:pt idx="1638">
                  <c:v>-4.8815131823375602E-2</c:v>
                </c:pt>
                <c:pt idx="1639">
                  <c:v>-4.4305938185667304E-2</c:v>
                </c:pt>
                <c:pt idx="1640">
                  <c:v>-4.8060678709876403E-2</c:v>
                </c:pt>
                <c:pt idx="1641">
                  <c:v>-4.5308370661675479E-2</c:v>
                </c:pt>
                <c:pt idx="1642">
                  <c:v>-4.9200682775686455E-2</c:v>
                </c:pt>
                <c:pt idx="1643">
                  <c:v>-4.910341878544433E-2</c:v>
                </c:pt>
                <c:pt idx="1644">
                  <c:v>-5.6152867447582522E-2</c:v>
                </c:pt>
                <c:pt idx="1645">
                  <c:v>-6.0350115314784847E-2</c:v>
                </c:pt>
                <c:pt idx="1646">
                  <c:v>-4.2476323666519433E-2</c:v>
                </c:pt>
                <c:pt idx="1647">
                  <c:v>-4.7913468346266863E-2</c:v>
                </c:pt>
                <c:pt idx="1648">
                  <c:v>-4.3275465640400079E-2</c:v>
                </c:pt>
                <c:pt idx="1649">
                  <c:v>-4.2060103888456601E-2</c:v>
                </c:pt>
                <c:pt idx="1650">
                  <c:v>-4.6298535607382951E-2</c:v>
                </c:pt>
                <c:pt idx="1651">
                  <c:v>-4.6761196750155998E-2</c:v>
                </c:pt>
                <c:pt idx="1652">
                  <c:v>-4.7246640449201793E-2</c:v>
                </c:pt>
                <c:pt idx="1653">
                  <c:v>-5.149821595059334E-2</c:v>
                </c:pt>
                <c:pt idx="1654">
                  <c:v>-5.9332786551982708E-2</c:v>
                </c:pt>
                <c:pt idx="1655">
                  <c:v>-6.2488170595781378E-2</c:v>
                </c:pt>
                <c:pt idx="1656">
                  <c:v>-6.0873237856897577E-2</c:v>
                </c:pt>
                <c:pt idx="1657">
                  <c:v>-6.134904278213571E-2</c:v>
                </c:pt>
                <c:pt idx="1658">
                  <c:v>-6.1712687430337976E-2</c:v>
                </c:pt>
                <c:pt idx="1659">
                  <c:v>-5.3744926499968426E-2</c:v>
                </c:pt>
                <c:pt idx="1660">
                  <c:v>-5.4919104400187879E-2</c:v>
                </c:pt>
                <c:pt idx="1661">
                  <c:v>-5.364941501405518E-2</c:v>
                </c:pt>
                <c:pt idx="1662">
                  <c:v>-5.7650382396444488E-2</c:v>
                </c:pt>
                <c:pt idx="1663">
                  <c:v>-5.3517977189403654E-2</c:v>
                </c:pt>
                <c:pt idx="1664">
                  <c:v>-5.067804392476849E-2</c:v>
                </c:pt>
                <c:pt idx="1665">
                  <c:v>-5.2529564748024948E-2</c:v>
                </c:pt>
                <c:pt idx="1666">
                  <c:v>-5.711061106320936E-2</c:v>
                </c:pt>
                <c:pt idx="1667">
                  <c:v>-5.4739472706497594E-2</c:v>
                </c:pt>
                <c:pt idx="1668">
                  <c:v>-5.625100768998903E-2</c:v>
                </c:pt>
                <c:pt idx="1669">
                  <c:v>-5.0305636754922833E-2</c:v>
                </c:pt>
                <c:pt idx="1670">
                  <c:v>-4.7684766531373324E-2</c:v>
                </c:pt>
                <c:pt idx="1671">
                  <c:v>-5.2974700847510992E-2</c:v>
                </c:pt>
                <c:pt idx="1672">
                  <c:v>-4.7732084148247811E-2</c:v>
                </c:pt>
                <c:pt idx="1673">
                  <c:v>-4.6989022312885043E-2</c:v>
                </c:pt>
                <c:pt idx="1674">
                  <c:v>-4.6480796057566276E-2</c:v>
                </c:pt>
                <c:pt idx="1675">
                  <c:v>-4.7131851415672998E-2</c:v>
                </c:pt>
                <c:pt idx="1676">
                  <c:v>-4.5363574548029084E-2</c:v>
                </c:pt>
                <c:pt idx="1677">
                  <c:v>-4.6375645797845144E-2</c:v>
                </c:pt>
                <c:pt idx="1678">
                  <c:v>-4.8777452980308778E-2</c:v>
                </c:pt>
                <c:pt idx="1679">
                  <c:v>-5.2566367338927278E-2</c:v>
                </c:pt>
                <c:pt idx="1680">
                  <c:v>-5.4999719599307495E-2</c:v>
                </c:pt>
                <c:pt idx="1681">
                  <c:v>-5.4162898782360025E-2</c:v>
                </c:pt>
                <c:pt idx="1682">
                  <c:v>-5.9031355807448893E-2</c:v>
                </c:pt>
                <c:pt idx="1683">
                  <c:v>-6.2524973186683708E-2</c:v>
                </c:pt>
                <c:pt idx="1684">
                  <c:v>-6.8746363553518042E-2</c:v>
                </c:pt>
                <c:pt idx="1685">
                  <c:v>-7.1705467112503807E-2</c:v>
                </c:pt>
                <c:pt idx="1686">
                  <c:v>-6.992492271455919E-2</c:v>
                </c:pt>
                <c:pt idx="1687">
                  <c:v>-7.000991917450039E-2</c:v>
                </c:pt>
                <c:pt idx="1688">
                  <c:v>-6.3546683210307542E-2</c:v>
                </c:pt>
                <c:pt idx="1689">
                  <c:v>-6.0745305040903474E-2</c:v>
                </c:pt>
                <c:pt idx="1690">
                  <c:v>-5.7740636369371878E-2</c:v>
                </c:pt>
                <c:pt idx="1691">
                  <c:v>-5.5783089034229905E-2</c:v>
                </c:pt>
                <c:pt idx="1692">
                  <c:v>-5.5180227545161942E-2</c:v>
                </c:pt>
                <c:pt idx="1693">
                  <c:v>-5.6180907516841572E-2</c:v>
                </c:pt>
                <c:pt idx="1694">
                  <c:v>-5.8026294574947679E-2</c:v>
                </c:pt>
                <c:pt idx="1695">
                  <c:v>-6.4195986064085608E-2</c:v>
                </c:pt>
                <c:pt idx="1696">
                  <c:v>-6.6493519238992493E-2</c:v>
                </c:pt>
                <c:pt idx="1697">
                  <c:v>-6.2117515930264378E-2</c:v>
                </c:pt>
                <c:pt idx="1698">
                  <c:v>-6.2479408074137988E-2</c:v>
                </c:pt>
                <c:pt idx="1699">
                  <c:v>-5.9537829558439004E-2</c:v>
                </c:pt>
                <c:pt idx="1700">
                  <c:v>-5.5917155615374359E-2</c:v>
                </c:pt>
                <c:pt idx="1701">
                  <c:v>-5.5675310018015733E-2</c:v>
                </c:pt>
                <c:pt idx="1702">
                  <c:v>-5.4597519855874022E-2</c:v>
                </c:pt>
                <c:pt idx="1703">
                  <c:v>-5.6431515635843588E-2</c:v>
                </c:pt>
                <c:pt idx="1704">
                  <c:v>-5.7936040602020289E-2</c:v>
                </c:pt>
                <c:pt idx="1705">
                  <c:v>-5.6651454929093625E-2</c:v>
                </c:pt>
                <c:pt idx="1706">
                  <c:v>-5.4500255865632008E-2</c:v>
                </c:pt>
                <c:pt idx="1707">
                  <c:v>-5.3199021401582947E-2</c:v>
                </c:pt>
                <c:pt idx="1708">
                  <c:v>-5.2793316649492161E-2</c:v>
                </c:pt>
                <c:pt idx="1709">
                  <c:v>-5.2741617771795979E-2</c:v>
                </c:pt>
                <c:pt idx="1710">
                  <c:v>-5.5233678927186891E-2</c:v>
                </c:pt>
                <c:pt idx="1711">
                  <c:v>-5.4196196364605043E-2</c:v>
                </c:pt>
                <c:pt idx="1712">
                  <c:v>-5.4955906991090209E-2</c:v>
                </c:pt>
                <c:pt idx="1713">
                  <c:v>-5.5237183935844314E-2</c:v>
                </c:pt>
                <c:pt idx="1714">
                  <c:v>-5.8533644578102062E-2</c:v>
                </c:pt>
                <c:pt idx="1715">
                  <c:v>-5.7143032393289994E-2</c:v>
                </c:pt>
                <c:pt idx="1716">
                  <c:v>-5.6776758988594689E-2</c:v>
                </c:pt>
                <c:pt idx="1717">
                  <c:v>-5.5598199827553541E-2</c:v>
                </c:pt>
                <c:pt idx="1718">
                  <c:v>-5.3567047310606797E-2</c:v>
                </c:pt>
                <c:pt idx="1719">
                  <c:v>-5.8327725319481494E-2</c:v>
                </c:pt>
                <c:pt idx="1720">
                  <c:v>-5.6527027121756945E-2</c:v>
                </c:pt>
                <c:pt idx="1721">
                  <c:v>-5.7339312878102788E-2</c:v>
                </c:pt>
                <c:pt idx="1722">
                  <c:v>-5.916366988426458E-2</c:v>
                </c:pt>
                <c:pt idx="1723">
                  <c:v>-6.1287705130631642E-2</c:v>
                </c:pt>
                <c:pt idx="1724">
                  <c:v>-6.3454676733051607E-2</c:v>
                </c:pt>
                <c:pt idx="1725">
                  <c:v>-6.0652422311483156E-2</c:v>
                </c:pt>
                <c:pt idx="1726">
                  <c:v>-6.0318570236868485E-2</c:v>
                </c:pt>
                <c:pt idx="1727">
                  <c:v>-6.0013634483677136E-2</c:v>
                </c:pt>
                <c:pt idx="1728">
                  <c:v>-5.7975471949415658E-2</c:v>
                </c:pt>
                <c:pt idx="1729">
                  <c:v>-5.5166207510532472E-2</c:v>
                </c:pt>
                <c:pt idx="1730">
                  <c:v>-5.370374264824429E-2</c:v>
                </c:pt>
                <c:pt idx="1731">
                  <c:v>-5.0822625531884991E-2</c:v>
                </c:pt>
                <c:pt idx="1732">
                  <c:v>-4.9005278543038044E-2</c:v>
                </c:pt>
                <c:pt idx="1733">
                  <c:v>-5.0750772854408877E-2</c:v>
                </c:pt>
                <c:pt idx="1734">
                  <c:v>-4.848127974876093E-2</c:v>
                </c:pt>
                <c:pt idx="1735">
                  <c:v>-4.8906262048467264E-2</c:v>
                </c:pt>
                <c:pt idx="1736">
                  <c:v>-4.6548267474220695E-2</c:v>
                </c:pt>
                <c:pt idx="1737">
                  <c:v>-4.6421210910390864E-2</c:v>
                </c:pt>
                <c:pt idx="1738">
                  <c:v>-4.9534534850301126E-2</c:v>
                </c:pt>
                <c:pt idx="1739">
                  <c:v>-5.257512986057078E-2</c:v>
                </c:pt>
                <c:pt idx="1740">
                  <c:v>-4.8901880787645569E-2</c:v>
                </c:pt>
                <c:pt idx="1741">
                  <c:v>-4.7531422402613432E-2</c:v>
                </c:pt>
                <c:pt idx="1742">
                  <c:v>-4.7215095371285543E-2</c:v>
                </c:pt>
                <c:pt idx="1743">
                  <c:v>-5.1224825275318464E-2</c:v>
                </c:pt>
                <c:pt idx="1744">
                  <c:v>-5.265749756401894E-2</c:v>
                </c:pt>
                <c:pt idx="1745">
                  <c:v>-5.3631889970768176E-2</c:v>
                </c:pt>
                <c:pt idx="1746">
                  <c:v>-5.1054832355435842E-2</c:v>
                </c:pt>
                <c:pt idx="1747">
                  <c:v>-5.3156961297694427E-2</c:v>
                </c:pt>
                <c:pt idx="1748">
                  <c:v>-5.4606282377517412E-2</c:v>
                </c:pt>
                <c:pt idx="1749">
                  <c:v>-5.6355281697545778E-2</c:v>
                </c:pt>
                <c:pt idx="1750">
                  <c:v>-5.7094838524251124E-2</c:v>
                </c:pt>
                <c:pt idx="1751">
                  <c:v>-5.6348271680231043E-2</c:v>
                </c:pt>
                <c:pt idx="1752">
                  <c:v>-5.5762058982285589E-2</c:v>
                </c:pt>
                <c:pt idx="1753">
                  <c:v>-5.332169670459086E-2</c:v>
                </c:pt>
                <c:pt idx="1754">
                  <c:v>-5.678815026673123E-2</c:v>
                </c:pt>
                <c:pt idx="1755">
                  <c:v>-5.3708123909066097E-2</c:v>
                </c:pt>
                <c:pt idx="1756">
                  <c:v>-5.3678331335478391E-2</c:v>
                </c:pt>
                <c:pt idx="1757">
                  <c:v>-5.2282461637680244E-2</c:v>
                </c:pt>
                <c:pt idx="1758">
                  <c:v>-5.326824532256591E-2</c:v>
                </c:pt>
                <c:pt idx="1759">
                  <c:v>-5.4062129783460589E-2</c:v>
                </c:pt>
                <c:pt idx="1760">
                  <c:v>-5.4126096191457473E-2</c:v>
                </c:pt>
                <c:pt idx="1761">
                  <c:v>-5.1657693844503805E-2</c:v>
                </c:pt>
                <c:pt idx="1762">
                  <c:v>-5.301938970789255E-2</c:v>
                </c:pt>
                <c:pt idx="1763">
                  <c:v>-5.3344479260863831E-2</c:v>
                </c:pt>
                <c:pt idx="1764">
                  <c:v>-5.3766832804077014E-2</c:v>
                </c:pt>
                <c:pt idx="1765">
                  <c:v>-5.1163487623814397E-2</c:v>
                </c:pt>
                <c:pt idx="1766">
                  <c:v>-4.9676487700924699E-2</c:v>
                </c:pt>
                <c:pt idx="1767">
                  <c:v>-5.0860304374951815E-2</c:v>
                </c:pt>
                <c:pt idx="1768">
                  <c:v>-5.2506782191751977E-2</c:v>
                </c:pt>
                <c:pt idx="1769">
                  <c:v>-5.1308069230931008E-2</c:v>
                </c:pt>
                <c:pt idx="1770">
                  <c:v>-5.0181208947586042E-2</c:v>
                </c:pt>
                <c:pt idx="1771">
                  <c:v>-4.9670353935774125E-2</c:v>
                </c:pt>
                <c:pt idx="1772">
                  <c:v>-5.1072357398722845E-2</c:v>
                </c:pt>
                <c:pt idx="1773">
                  <c:v>-4.9319853070037056E-2</c:v>
                </c:pt>
                <c:pt idx="1774">
                  <c:v>-4.8391902027998035E-2</c:v>
                </c:pt>
                <c:pt idx="1775">
                  <c:v>-4.4341864524405361E-2</c:v>
                </c:pt>
                <c:pt idx="1776">
                  <c:v>-4.2295815720664764E-2</c:v>
                </c:pt>
                <c:pt idx="1777">
                  <c:v>-4.2978416156687849E-2</c:v>
                </c:pt>
                <c:pt idx="1778">
                  <c:v>-4.1246941879946486E-2</c:v>
                </c:pt>
                <c:pt idx="1779">
                  <c:v>-4.1220654315016203E-2</c:v>
                </c:pt>
                <c:pt idx="1780">
                  <c:v>-4.3681170392490865E-2</c:v>
                </c:pt>
                <c:pt idx="1781">
                  <c:v>-4.1766559413401683E-2</c:v>
                </c:pt>
                <c:pt idx="1782">
                  <c:v>-4.7805689330052581E-2</c:v>
                </c:pt>
                <c:pt idx="1783">
                  <c:v>-4.469499414663558E-2</c:v>
                </c:pt>
                <c:pt idx="1784">
                  <c:v>-4.3136141546269546E-2</c:v>
                </c:pt>
                <c:pt idx="1785">
                  <c:v>-4.213896658324745E-2</c:v>
                </c:pt>
                <c:pt idx="1786">
                  <c:v>-4.0911337301003048E-2</c:v>
                </c:pt>
                <c:pt idx="1787">
                  <c:v>-4.1949696115749502E-2</c:v>
                </c:pt>
                <c:pt idx="1788">
                  <c:v>-4.3023105017069296E-2</c:v>
                </c:pt>
                <c:pt idx="1789">
                  <c:v>-4.0213840578186222E-2</c:v>
                </c:pt>
                <c:pt idx="1790">
                  <c:v>-3.8763643246198853E-2</c:v>
                </c:pt>
                <c:pt idx="1791">
                  <c:v>-4.0712428059697214E-2</c:v>
                </c:pt>
                <c:pt idx="1792">
                  <c:v>-3.7371278557058019E-2</c:v>
                </c:pt>
                <c:pt idx="1793">
                  <c:v>-3.434908484223953E-2</c:v>
                </c:pt>
                <c:pt idx="1794">
                  <c:v>-3.0042305454494489E-2</c:v>
                </c:pt>
                <c:pt idx="1795">
                  <c:v>-3.3457060138938566E-2</c:v>
                </c:pt>
                <c:pt idx="1796">
                  <c:v>-3.1466215221551574E-2</c:v>
                </c:pt>
                <c:pt idx="1797">
                  <c:v>-3.4103734236223482E-2</c:v>
                </c:pt>
                <c:pt idx="1798">
                  <c:v>-3.1594148037545566E-2</c:v>
                </c:pt>
                <c:pt idx="1799">
                  <c:v>-2.6971041618472857E-2</c:v>
                </c:pt>
                <c:pt idx="1800">
                  <c:v>-2.8257379795728066E-2</c:v>
                </c:pt>
                <c:pt idx="1801">
                  <c:v>-2.9870560030283322E-2</c:v>
                </c:pt>
                <c:pt idx="1802">
                  <c:v>-3.0042305454494489E-2</c:v>
                </c:pt>
                <c:pt idx="1803">
                  <c:v>-2.8482576601964182E-2</c:v>
                </c:pt>
                <c:pt idx="1804">
                  <c:v>-2.7334686266675123E-2</c:v>
                </c:pt>
                <c:pt idx="1805">
                  <c:v>-2.4992464231386569E-2</c:v>
                </c:pt>
                <c:pt idx="1806">
                  <c:v>-2.2003568098813209E-2</c:v>
                </c:pt>
                <c:pt idx="1807">
                  <c:v>-2.263446965714011E-2</c:v>
                </c:pt>
                <c:pt idx="1808">
                  <c:v>-1.9609647185828472E-2</c:v>
                </c:pt>
                <c:pt idx="1809">
                  <c:v>-2.0641872235424463E-2</c:v>
                </c:pt>
                <c:pt idx="1810">
                  <c:v>-2.0931035449657576E-2</c:v>
                </c:pt>
                <c:pt idx="1811">
                  <c:v>-2.203511317672957E-2</c:v>
                </c:pt>
                <c:pt idx="1812">
                  <c:v>-2.1004640631462346E-2</c:v>
                </c:pt>
                <c:pt idx="1813">
                  <c:v>-2.1009021892284041E-2</c:v>
                </c:pt>
                <c:pt idx="1814">
                  <c:v>-2.2630088396318304E-2</c:v>
                </c:pt>
                <c:pt idx="1815">
                  <c:v>-2.6064120628377929E-2</c:v>
                </c:pt>
                <c:pt idx="1816">
                  <c:v>-2.1264011272107863E-2</c:v>
                </c:pt>
                <c:pt idx="1817">
                  <c:v>-2.0761918781939337E-2</c:v>
                </c:pt>
                <c:pt idx="1818">
                  <c:v>-2.0686561095805911E-2</c:v>
                </c:pt>
                <c:pt idx="1819">
                  <c:v>-1.7733591301970497E-2</c:v>
                </c:pt>
                <c:pt idx="1820">
                  <c:v>-1.5818980322881426E-2</c:v>
                </c:pt>
                <c:pt idx="1821">
                  <c:v>-1.6592710983996062E-2</c:v>
                </c:pt>
                <c:pt idx="1822">
                  <c:v>-1.5285342754796649E-2</c:v>
                </c:pt>
                <c:pt idx="1823">
                  <c:v>-1.5505282048046576E-2</c:v>
                </c:pt>
                <c:pt idx="1824">
                  <c:v>-1.790971798700336E-2</c:v>
                </c:pt>
                <c:pt idx="1825">
                  <c:v>-1.7924614273797213E-2</c:v>
                </c:pt>
                <c:pt idx="1826">
                  <c:v>-1.7266548898375755E-2</c:v>
                </c:pt>
                <c:pt idx="1827">
                  <c:v>-1.9088277148044508E-2</c:v>
                </c:pt>
                <c:pt idx="1828">
                  <c:v>-1.9567587081940063E-2</c:v>
                </c:pt>
                <c:pt idx="1829">
                  <c:v>-2.4007556798665286E-2</c:v>
                </c:pt>
                <c:pt idx="1830">
                  <c:v>-2.3486186760881322E-2</c:v>
                </c:pt>
                <c:pt idx="1831">
                  <c:v>-2.3374026483845456E-2</c:v>
                </c:pt>
                <c:pt idx="1832">
                  <c:v>-2.5049420622068941E-2</c:v>
                </c:pt>
                <c:pt idx="1833">
                  <c:v>-2.4671755939237205E-2</c:v>
                </c:pt>
                <c:pt idx="1834">
                  <c:v>-2.4677013452223173E-2</c:v>
                </c:pt>
                <c:pt idx="1835">
                  <c:v>-2.4394860255304907E-2</c:v>
                </c:pt>
                <c:pt idx="1836">
                  <c:v>-2.5018751796316852E-2</c:v>
                </c:pt>
                <c:pt idx="1837">
                  <c:v>-2.2779927516420995E-2</c:v>
                </c:pt>
                <c:pt idx="1838">
                  <c:v>-2.1503228112973338E-2</c:v>
                </c:pt>
                <c:pt idx="1839">
                  <c:v>-1.8454746833224678E-2</c:v>
                </c:pt>
                <c:pt idx="1840">
                  <c:v>-1.8369750373283478E-2</c:v>
                </c:pt>
                <c:pt idx="1841">
                  <c:v>-1.4841082907474767E-2</c:v>
                </c:pt>
                <c:pt idx="1842">
                  <c:v>-1.7199077481721448E-2</c:v>
                </c:pt>
                <c:pt idx="1843">
                  <c:v>-1.8994518166459806E-2</c:v>
                </c:pt>
                <c:pt idx="1844">
                  <c:v>-1.6385039221046838E-2</c:v>
                </c:pt>
                <c:pt idx="1845">
                  <c:v>-1.3779065284291292E-2</c:v>
                </c:pt>
                <c:pt idx="1846">
                  <c:v>-1.2506747141665442E-2</c:v>
                </c:pt>
                <c:pt idx="1847">
                  <c:v>-1.2916833154577811E-2</c:v>
                </c:pt>
                <c:pt idx="1848">
                  <c:v>-1.0114578733009361E-2</c:v>
                </c:pt>
                <c:pt idx="1849">
                  <c:v>-9.393423201755291E-3</c:v>
                </c:pt>
                <c:pt idx="1850">
                  <c:v>-1.3538972191261323E-2</c:v>
                </c:pt>
                <c:pt idx="1851">
                  <c:v>-1.2058982285686248E-2</c:v>
                </c:pt>
                <c:pt idx="1852">
                  <c:v>-1.7956159351713574E-2</c:v>
                </c:pt>
                <c:pt idx="1853">
                  <c:v>-2.1648685972254444E-2</c:v>
                </c:pt>
                <c:pt idx="1854">
                  <c:v>-2.2659004717741627E-2</c:v>
                </c:pt>
                <c:pt idx="1855">
                  <c:v>-1.8711488717377156E-2</c:v>
                </c:pt>
                <c:pt idx="1856">
                  <c:v>-1.7692407450246361E-2</c:v>
                </c:pt>
                <c:pt idx="1857">
                  <c:v>-2.0286113856701204E-2</c:v>
                </c:pt>
                <c:pt idx="1858">
                  <c:v>-2.2361078981865123E-2</c:v>
                </c:pt>
                <c:pt idx="1859">
                  <c:v>-2.3372273979516689E-2</c:v>
                </c:pt>
                <c:pt idx="1860">
                  <c:v>-2.1375295296979346E-2</c:v>
                </c:pt>
                <c:pt idx="1861">
                  <c:v>-2.4658612156772008E-2</c:v>
                </c:pt>
                <c:pt idx="1862">
                  <c:v>-2.2429426650683815E-2</c:v>
                </c:pt>
                <c:pt idx="1863">
                  <c:v>-2.2095574576069144E-2</c:v>
                </c:pt>
                <c:pt idx="1864">
                  <c:v>-2.4139870875480973E-2</c:v>
                </c:pt>
                <c:pt idx="1865">
                  <c:v>-2.412497458868712E-2</c:v>
                </c:pt>
                <c:pt idx="1866">
                  <c:v>-3.0667949499835201E-2</c:v>
                </c:pt>
                <c:pt idx="1867">
                  <c:v>-3.5775623365789766E-2</c:v>
                </c:pt>
                <c:pt idx="1868">
                  <c:v>-3.8233510686771388E-2</c:v>
                </c:pt>
                <c:pt idx="1869">
                  <c:v>-4.0149874170189115E-2</c:v>
                </c:pt>
                <c:pt idx="1870">
                  <c:v>-3.8275570790659796E-2</c:v>
                </c:pt>
                <c:pt idx="1871">
                  <c:v>-3.5673101862561563E-2</c:v>
                </c:pt>
                <c:pt idx="1872">
                  <c:v>-3.4823137263149007E-2</c:v>
                </c:pt>
                <c:pt idx="1873">
                  <c:v>-3.1765893461756733E-2</c:v>
                </c:pt>
                <c:pt idx="1874">
                  <c:v>-3.1463586465058535E-2</c:v>
                </c:pt>
                <c:pt idx="1875">
                  <c:v>-2.9904733864692723E-2</c:v>
                </c:pt>
                <c:pt idx="1876">
                  <c:v>-3.0527749153540507E-2</c:v>
                </c:pt>
                <c:pt idx="1877">
                  <c:v>-2.8569325566234149E-2</c:v>
                </c:pt>
                <c:pt idx="1878">
                  <c:v>-2.5889746447673723E-2</c:v>
                </c:pt>
                <c:pt idx="1879">
                  <c:v>-2.9180073324781119E-2</c:v>
                </c:pt>
                <c:pt idx="1880">
                  <c:v>-2.6257772356697684E-2</c:v>
                </c:pt>
                <c:pt idx="1881">
                  <c:v>-2.5461259139310077E-2</c:v>
                </c:pt>
                <c:pt idx="1882">
                  <c:v>-2.6963155348993739E-2</c:v>
                </c:pt>
                <c:pt idx="1883">
                  <c:v>-2.8001514163739971E-2</c:v>
                </c:pt>
                <c:pt idx="1884">
                  <c:v>-2.7547615542610426E-2</c:v>
                </c:pt>
                <c:pt idx="1885">
                  <c:v>-3.0909795097193937E-2</c:v>
                </c:pt>
                <c:pt idx="1886">
                  <c:v>-2.9836386195873921E-2</c:v>
                </c:pt>
                <c:pt idx="1887">
                  <c:v>-3.2437978871807771E-2</c:v>
                </c:pt>
                <c:pt idx="1888">
                  <c:v>-3.3634063076135701E-2</c:v>
                </c:pt>
                <c:pt idx="1889">
                  <c:v>-3.2963730170413541E-2</c:v>
                </c:pt>
                <c:pt idx="1890">
                  <c:v>-3.141714510034832E-2</c:v>
                </c:pt>
                <c:pt idx="1891">
                  <c:v>-2.9840767456695616E-2</c:v>
                </c:pt>
                <c:pt idx="1892">
                  <c:v>-3.3089034229914605E-2</c:v>
                </c:pt>
                <c:pt idx="1893">
                  <c:v>-3.1351426188022669E-2</c:v>
                </c:pt>
                <c:pt idx="1894">
                  <c:v>-2.8796274876798922E-2</c:v>
                </c:pt>
                <c:pt idx="1895">
                  <c:v>-2.9527069181860877E-2</c:v>
                </c:pt>
                <c:pt idx="1896">
                  <c:v>-3.0079108045396818E-2</c:v>
                </c:pt>
                <c:pt idx="1897">
                  <c:v>-2.9123116934098858E-2</c:v>
                </c:pt>
                <c:pt idx="1898">
                  <c:v>-2.995818524671745E-2</c:v>
                </c:pt>
                <c:pt idx="1899">
                  <c:v>-2.7510812951707986E-2</c:v>
                </c:pt>
                <c:pt idx="1900">
                  <c:v>-2.7440712778560639E-2</c:v>
                </c:pt>
                <c:pt idx="1901">
                  <c:v>-2.9449958991398684E-2</c:v>
                </c:pt>
                <c:pt idx="1902">
                  <c:v>-3.0373528772616121E-2</c:v>
                </c:pt>
                <c:pt idx="1903">
                  <c:v>-3.3615661780684536E-2</c:v>
                </c:pt>
                <c:pt idx="1904">
                  <c:v>-2.8979411579146519E-2</c:v>
                </c:pt>
                <c:pt idx="1905">
                  <c:v>-2.7157683329477766E-2</c:v>
                </c:pt>
                <c:pt idx="1906">
                  <c:v>-2.2637098413633039E-2</c:v>
                </c:pt>
                <c:pt idx="1907">
                  <c:v>-2.3405571561761707E-2</c:v>
                </c:pt>
                <c:pt idx="1908">
                  <c:v>-2.384457389609751E-2</c:v>
                </c:pt>
                <c:pt idx="1909">
                  <c:v>-2.1660077250390875E-2</c:v>
                </c:pt>
                <c:pt idx="1910">
                  <c:v>-2.4927621571225189E-2</c:v>
                </c:pt>
                <c:pt idx="1911">
                  <c:v>-2.714716830350572E-2</c:v>
                </c:pt>
                <c:pt idx="1912">
                  <c:v>-2.652502926682232E-2</c:v>
                </c:pt>
                <c:pt idx="1913">
                  <c:v>-2.6436527798223586E-2</c:v>
                </c:pt>
                <c:pt idx="1914">
                  <c:v>-2.562599454620651E-2</c:v>
                </c:pt>
                <c:pt idx="1915">
                  <c:v>-2.4057503172032813E-2</c:v>
                </c:pt>
                <c:pt idx="1916">
                  <c:v>-2.6671363378267587E-2</c:v>
                </c:pt>
                <c:pt idx="1917">
                  <c:v>-2.9073170560731221E-2</c:v>
                </c:pt>
                <c:pt idx="1918">
                  <c:v>-2.5313172523536154E-2</c:v>
                </c:pt>
                <c:pt idx="1919">
                  <c:v>-2.4251154900352567E-2</c:v>
                </c:pt>
                <c:pt idx="1920">
                  <c:v>-2.6329625034173909E-2</c:v>
                </c:pt>
                <c:pt idx="1921">
                  <c:v>-2.6713423482155996E-2</c:v>
                </c:pt>
                <c:pt idx="1922">
                  <c:v>-2.6064120628377929E-2</c:v>
                </c:pt>
                <c:pt idx="1923">
                  <c:v>-2.9401765122359924E-2</c:v>
                </c:pt>
                <c:pt idx="1924">
                  <c:v>-3.2451122654272968E-2</c:v>
                </c:pt>
                <c:pt idx="1925">
                  <c:v>-3.6898102388312815E-2</c:v>
                </c:pt>
                <c:pt idx="1926">
                  <c:v>-3.9067702747225819E-2</c:v>
                </c:pt>
                <c:pt idx="1927">
                  <c:v>-4.2179274182807203E-2</c:v>
                </c:pt>
                <c:pt idx="1928">
                  <c:v>-4.0805310789117644E-2</c:v>
                </c:pt>
                <c:pt idx="1929">
                  <c:v>-3.7472923808121839E-2</c:v>
                </c:pt>
                <c:pt idx="1930">
                  <c:v>-3.7693739353536149E-2</c:v>
                </c:pt>
                <c:pt idx="1931">
                  <c:v>-3.9483046273124267E-2</c:v>
                </c:pt>
                <c:pt idx="1932">
                  <c:v>-3.8623442899903937E-2</c:v>
                </c:pt>
                <c:pt idx="1933">
                  <c:v>-3.8346547215971638E-2</c:v>
                </c:pt>
                <c:pt idx="1934">
                  <c:v>-3.8116969148913715E-2</c:v>
                </c:pt>
                <c:pt idx="1935">
                  <c:v>-4.025590068207463E-2</c:v>
                </c:pt>
                <c:pt idx="1936">
                  <c:v>-3.9988643771950105E-2</c:v>
                </c:pt>
                <c:pt idx="1937">
                  <c:v>-3.6365341072392421E-2</c:v>
                </c:pt>
                <c:pt idx="1938">
                  <c:v>-3.7875999803719584E-2</c:v>
                </c:pt>
                <c:pt idx="1939">
                  <c:v>-3.4840662306435899E-2</c:v>
                </c:pt>
                <c:pt idx="1940">
                  <c:v>-3.8364948511422803E-2</c:v>
                </c:pt>
                <c:pt idx="1941">
                  <c:v>-4.0115700335779714E-2</c:v>
                </c:pt>
                <c:pt idx="1942">
                  <c:v>-3.7557044015898766E-2</c:v>
                </c:pt>
                <c:pt idx="1943">
                  <c:v>-3.4808240976355154E-2</c:v>
                </c:pt>
                <c:pt idx="1944">
                  <c:v>-3.1973565224706069E-2</c:v>
                </c:pt>
                <c:pt idx="1945">
                  <c:v>-2.8489586619278917E-2</c:v>
                </c:pt>
                <c:pt idx="1946">
                  <c:v>-2.8623653200423371E-2</c:v>
                </c:pt>
                <c:pt idx="1947">
                  <c:v>-2.8245988517591636E-2</c:v>
                </c:pt>
                <c:pt idx="1948">
                  <c:v>-2.6077264410843126E-2</c:v>
                </c:pt>
                <c:pt idx="1949">
                  <c:v>-2.5981752924929657E-2</c:v>
                </c:pt>
                <c:pt idx="1950">
                  <c:v>-2.2502155580324312E-2</c:v>
                </c:pt>
                <c:pt idx="1951">
                  <c:v>-2.5866963891400752E-2</c:v>
                </c:pt>
                <c:pt idx="1952">
                  <c:v>-2.6674868386924899E-2</c:v>
                </c:pt>
                <c:pt idx="1953">
                  <c:v>-2.8500101645251075E-2</c:v>
                </c:pt>
                <c:pt idx="1954">
                  <c:v>-2.9996740341948658E-2</c:v>
                </c:pt>
                <c:pt idx="1955">
                  <c:v>-2.8262637308714145E-2</c:v>
                </c:pt>
                <c:pt idx="1956">
                  <c:v>-3.0892270053906934E-2</c:v>
                </c:pt>
                <c:pt idx="1957">
                  <c:v>-2.7638745767702089E-2</c:v>
                </c:pt>
                <c:pt idx="1958">
                  <c:v>-2.7696578410548622E-2</c:v>
                </c:pt>
                <c:pt idx="1959">
                  <c:v>-2.6231484791767401E-2</c:v>
                </c:pt>
                <c:pt idx="1960">
                  <c:v>-2.330743131935531E-2</c:v>
                </c:pt>
                <c:pt idx="1961">
                  <c:v>-2.7597561915977953E-2</c:v>
                </c:pt>
                <c:pt idx="1962">
                  <c:v>-2.8501854149579842E-2</c:v>
                </c:pt>
                <c:pt idx="1963">
                  <c:v>-3.0545274196827288E-2</c:v>
                </c:pt>
                <c:pt idx="1964">
                  <c:v>-3.2345972394551836E-2</c:v>
                </c:pt>
                <c:pt idx="1965">
                  <c:v>-3.3449173869459448E-2</c:v>
                </c:pt>
                <c:pt idx="1966">
                  <c:v>-3.2883114971294036E-2</c:v>
                </c:pt>
                <c:pt idx="1967">
                  <c:v>-3.9888751025215052E-2</c:v>
                </c:pt>
                <c:pt idx="1968">
                  <c:v>-4.3135265294105163E-2</c:v>
                </c:pt>
                <c:pt idx="1969">
                  <c:v>-5.0539596082802341E-2</c:v>
                </c:pt>
                <c:pt idx="1970">
                  <c:v>-5.5582427288595415E-2</c:v>
                </c:pt>
                <c:pt idx="1971">
                  <c:v>-6.4340567671202109E-2</c:v>
                </c:pt>
                <c:pt idx="1972">
                  <c:v>-6.4718232354033955E-2</c:v>
                </c:pt>
                <c:pt idx="1973">
                  <c:v>-6.7570433148969822E-2</c:v>
                </c:pt>
                <c:pt idx="1974">
                  <c:v>-6.5831072602749341E-2</c:v>
                </c:pt>
                <c:pt idx="1975">
                  <c:v>-5.9511541993508721E-2</c:v>
                </c:pt>
                <c:pt idx="1976">
                  <c:v>-5.7943050619335024E-2</c:v>
                </c:pt>
                <c:pt idx="1977">
                  <c:v>-5.8759717636502562E-2</c:v>
                </c:pt>
                <c:pt idx="1978">
                  <c:v>-5.6869641718015007E-2</c:v>
                </c:pt>
                <c:pt idx="1979">
                  <c:v>-6.5831072602749341E-2</c:v>
                </c:pt>
                <c:pt idx="1980">
                  <c:v>-7.5754628363932097E-2</c:v>
                </c:pt>
                <c:pt idx="1981">
                  <c:v>-7.48336873392077E-2</c:v>
                </c:pt>
                <c:pt idx="1982">
                  <c:v>-6.8268806123951142E-2</c:v>
                </c:pt>
                <c:pt idx="1983">
                  <c:v>-6.8062886865330574E-2</c:v>
                </c:pt>
                <c:pt idx="1984">
                  <c:v>-6.7023651798419959E-2</c:v>
                </c:pt>
                <c:pt idx="1985">
                  <c:v>-6.5457789180739301E-2</c:v>
                </c:pt>
                <c:pt idx="1986">
                  <c:v>-6.2620484672597176E-2</c:v>
                </c:pt>
                <c:pt idx="1987">
                  <c:v>-5.9403762977294439E-2</c:v>
                </c:pt>
                <c:pt idx="1988">
                  <c:v>-5.6823200353304792E-2</c:v>
                </c:pt>
                <c:pt idx="1989">
                  <c:v>-5.2819604214422444E-2</c:v>
                </c:pt>
                <c:pt idx="1990">
                  <c:v>-5.8708895010970652E-2</c:v>
                </c:pt>
                <c:pt idx="1991">
                  <c:v>-6.3078764554548417E-2</c:v>
                </c:pt>
                <c:pt idx="1992">
                  <c:v>-6.417670851647006E-2</c:v>
                </c:pt>
                <c:pt idx="1993">
                  <c:v>-5.5988132040686089E-2</c:v>
                </c:pt>
                <c:pt idx="1994">
                  <c:v>-5.5877724267978879E-2</c:v>
                </c:pt>
                <c:pt idx="1995">
                  <c:v>-5.8198916251323118E-2</c:v>
                </c:pt>
                <c:pt idx="1996">
                  <c:v>-6.2421575431291343E-2</c:v>
                </c:pt>
                <c:pt idx="1997">
                  <c:v>-6.0663813589619586E-2</c:v>
                </c:pt>
                <c:pt idx="1998">
                  <c:v>-5.7083447246114694E-2</c:v>
                </c:pt>
                <c:pt idx="1999">
                  <c:v>-5.4362684275830131E-2</c:v>
                </c:pt>
                <c:pt idx="2000">
                  <c:v>-4.689789208779338E-2</c:v>
                </c:pt>
                <c:pt idx="2001">
                  <c:v>-5.1672590131297658E-2</c:v>
                </c:pt>
                <c:pt idx="2002">
                  <c:v>-5.324809152278609E-2</c:v>
                </c:pt>
                <c:pt idx="2003">
                  <c:v>-5.7928154332541171E-2</c:v>
                </c:pt>
                <c:pt idx="2004">
                  <c:v>-6.4076815769735007E-2</c:v>
                </c:pt>
                <c:pt idx="2005">
                  <c:v>-6.540083279005704E-2</c:v>
                </c:pt>
                <c:pt idx="2006">
                  <c:v>-6.1227243731291958E-2</c:v>
                </c:pt>
                <c:pt idx="2007">
                  <c:v>-5.7384001738484347E-2</c:v>
                </c:pt>
                <c:pt idx="2008">
                  <c:v>-6.0163473603779827E-2</c:v>
                </c:pt>
                <c:pt idx="2009">
                  <c:v>-5.8743068845380053E-2</c:v>
                </c:pt>
                <c:pt idx="2010">
                  <c:v>-5.7999130757853012E-2</c:v>
                </c:pt>
                <c:pt idx="2011">
                  <c:v>-6.3329372673550544E-2</c:v>
                </c:pt>
                <c:pt idx="2012">
                  <c:v>-6.479884755315346E-2</c:v>
                </c:pt>
                <c:pt idx="2013">
                  <c:v>-6.2013241922707518E-2</c:v>
                </c:pt>
                <c:pt idx="2014">
                  <c:v>-5.6462184461595677E-2</c:v>
                </c:pt>
                <c:pt idx="2015">
                  <c:v>-5.6070499744134361E-2</c:v>
                </c:pt>
                <c:pt idx="2016">
                  <c:v>-5.2779296614862581E-2</c:v>
                </c:pt>
                <c:pt idx="2017">
                  <c:v>-5.1068852390065311E-2</c:v>
                </c:pt>
                <c:pt idx="2018">
                  <c:v>-5.2328903002390459E-2</c:v>
                </c:pt>
                <c:pt idx="2019">
                  <c:v>-4.8784462997623512E-2</c:v>
                </c:pt>
                <c:pt idx="2020">
                  <c:v>-5.1084624929023548E-2</c:v>
                </c:pt>
                <c:pt idx="2021">
                  <c:v>-4.7938003406868379E-2</c:v>
                </c:pt>
                <c:pt idx="2022">
                  <c:v>-4.7407870847440914E-2</c:v>
                </c:pt>
                <c:pt idx="2023">
                  <c:v>-5.1525379767688007E-2</c:v>
                </c:pt>
                <c:pt idx="2024">
                  <c:v>-5.0179456443257497E-2</c:v>
                </c:pt>
                <c:pt idx="2025">
                  <c:v>-4.7956404702319544E-2</c:v>
                </c:pt>
                <c:pt idx="2026">
                  <c:v>-4.3118616502982765E-2</c:v>
                </c:pt>
                <c:pt idx="2027">
                  <c:v>-4.5179561593517215E-2</c:v>
                </c:pt>
                <c:pt idx="2028">
                  <c:v>-4.2339628328882051E-2</c:v>
                </c:pt>
                <c:pt idx="2029">
                  <c:v>-4.08070632934463E-2</c:v>
                </c:pt>
                <c:pt idx="2030">
                  <c:v>-4.0130596622573678E-2</c:v>
                </c:pt>
                <c:pt idx="2031">
                  <c:v>-4.1135657855074892E-2</c:v>
                </c:pt>
                <c:pt idx="2032">
                  <c:v>-4.4765970571947311E-2</c:v>
                </c:pt>
                <c:pt idx="2033">
                  <c:v>-4.759889381926774E-2</c:v>
                </c:pt>
                <c:pt idx="2034">
                  <c:v>-4.1602700258669634E-2</c:v>
                </c:pt>
                <c:pt idx="2035">
                  <c:v>-4.23369995723889E-2</c:v>
                </c:pt>
                <c:pt idx="2036">
                  <c:v>-4.297052988720873E-2</c:v>
                </c:pt>
                <c:pt idx="2037">
                  <c:v>-3.9823908365053673E-2</c:v>
                </c:pt>
                <c:pt idx="2038">
                  <c:v>-4.6332709441792352E-2</c:v>
                </c:pt>
                <c:pt idx="2039">
                  <c:v>-4.4291041898873451E-2</c:v>
                </c:pt>
                <c:pt idx="2040">
                  <c:v>-4.0631812860577821E-2</c:v>
                </c:pt>
                <c:pt idx="2041">
                  <c:v>-4.2057475131963562E-2</c:v>
                </c:pt>
                <c:pt idx="2042">
                  <c:v>-4.3777558130568495E-2</c:v>
                </c:pt>
                <c:pt idx="2043">
                  <c:v>-4.3602307697700016E-2</c:v>
                </c:pt>
                <c:pt idx="2044">
                  <c:v>-4.744905469916505E-2</c:v>
                </c:pt>
                <c:pt idx="2045">
                  <c:v>-4.6731404176568292E-2</c:v>
                </c:pt>
                <c:pt idx="2046">
                  <c:v>-5.2862540570475125E-2</c:v>
                </c:pt>
                <c:pt idx="2047">
                  <c:v>-5.6056479709504892E-2</c:v>
                </c:pt>
                <c:pt idx="2048">
                  <c:v>-6.2234933720286323E-2</c:v>
                </c:pt>
                <c:pt idx="2049">
                  <c:v>-6.0677833624249056E-2</c:v>
                </c:pt>
                <c:pt idx="2050">
                  <c:v>-5.916366988426458E-2</c:v>
                </c:pt>
                <c:pt idx="2051">
                  <c:v>-4.8330564376493967E-2</c:v>
                </c:pt>
                <c:pt idx="2052">
                  <c:v>-4.7302720587719782E-2</c:v>
                </c:pt>
                <c:pt idx="2053">
                  <c:v>-3.5643309288973968E-2</c:v>
                </c:pt>
                <c:pt idx="2054">
                  <c:v>-3.3727822057720402E-2</c:v>
                </c:pt>
                <c:pt idx="2055">
                  <c:v>-3.7344990992127736E-2</c:v>
                </c:pt>
                <c:pt idx="2056">
                  <c:v>-3.0841447428375135E-2</c:v>
                </c:pt>
                <c:pt idx="2057">
                  <c:v>-3.590443243394803E-2</c:v>
                </c:pt>
                <c:pt idx="2058">
                  <c:v>-3.4312282251337201E-2</c:v>
                </c:pt>
                <c:pt idx="2059">
                  <c:v>-4.0526662600856578E-2</c:v>
                </c:pt>
                <c:pt idx="2060">
                  <c:v>-3.6699193147006981E-2</c:v>
                </c:pt>
                <c:pt idx="2061">
                  <c:v>-3.6191843143852598E-2</c:v>
                </c:pt>
                <c:pt idx="2062">
                  <c:v>-3.6706203164321716E-2</c:v>
                </c:pt>
                <c:pt idx="2063">
                  <c:v>-3.7585960337322089E-2</c:v>
                </c:pt>
                <c:pt idx="2064">
                  <c:v>-3.7115412925069924E-2</c:v>
                </c:pt>
                <c:pt idx="2065">
                  <c:v>-3.748782009491558E-2</c:v>
                </c:pt>
                <c:pt idx="2066">
                  <c:v>-4.1264466923233267E-2</c:v>
                </c:pt>
                <c:pt idx="2067">
                  <c:v>-3.6221635717440304E-2</c:v>
                </c:pt>
                <c:pt idx="2068">
                  <c:v>-3.56669680974111E-2</c:v>
                </c:pt>
                <c:pt idx="2069">
                  <c:v>-3.3082900464764142E-2</c:v>
                </c:pt>
                <c:pt idx="2070">
                  <c:v>-2.9339551218691473E-2</c:v>
                </c:pt>
                <c:pt idx="2071">
                  <c:v>-3.0075603036739507E-2</c:v>
                </c:pt>
                <c:pt idx="2072">
                  <c:v>-3.0491822814802338E-2</c:v>
                </c:pt>
                <c:pt idx="2073">
                  <c:v>-2.9947670220745404E-2</c:v>
                </c:pt>
                <c:pt idx="2074">
                  <c:v>-2.7755287305559651E-2</c:v>
                </c:pt>
                <c:pt idx="2075">
                  <c:v>-2.9116106916784124E-2</c:v>
                </c:pt>
                <c:pt idx="2076">
                  <c:v>-2.7866571330431134E-2</c:v>
                </c:pt>
                <c:pt idx="2077">
                  <c:v>-2.5396416479148587E-2</c:v>
                </c:pt>
                <c:pt idx="2078">
                  <c:v>-2.2907860332414987E-2</c:v>
                </c:pt>
                <c:pt idx="2079">
                  <c:v>-2.1802030101014336E-2</c:v>
                </c:pt>
                <c:pt idx="2080">
                  <c:v>-2.1332358940926555E-2</c:v>
                </c:pt>
                <c:pt idx="2081">
                  <c:v>-1.9500991917450028E-2</c:v>
                </c:pt>
                <c:pt idx="2082">
                  <c:v>-1.741200675765664E-2</c:v>
                </c:pt>
                <c:pt idx="2083">
                  <c:v>-1.3834269170644897E-2</c:v>
                </c:pt>
                <c:pt idx="2084">
                  <c:v>-1.4989169523248691E-2</c:v>
                </c:pt>
                <c:pt idx="2085">
                  <c:v>-1.6398183003511924E-2</c:v>
                </c:pt>
                <c:pt idx="2086">
                  <c:v>-1.6154584901824642E-2</c:v>
                </c:pt>
                <c:pt idx="2087">
                  <c:v>-1.5981963225449092E-2</c:v>
                </c:pt>
                <c:pt idx="2088">
                  <c:v>-1.4930460628237774E-2</c:v>
                </c:pt>
                <c:pt idx="2089">
                  <c:v>-1.470614007416593E-2</c:v>
                </c:pt>
                <c:pt idx="2090">
                  <c:v>-1.3599433590600896E-2</c:v>
                </c:pt>
                <c:pt idx="2091">
                  <c:v>-1.473155138693194E-2</c:v>
                </c:pt>
                <c:pt idx="2092">
                  <c:v>-1.5521054587004812E-2</c:v>
                </c:pt>
                <c:pt idx="2093">
                  <c:v>-1.25768473148129E-2</c:v>
                </c:pt>
                <c:pt idx="2094">
                  <c:v>-1.3103474865582942E-2</c:v>
                </c:pt>
                <c:pt idx="2095">
                  <c:v>-1.4131318654357128E-2</c:v>
                </c:pt>
                <c:pt idx="2096">
                  <c:v>-1.7369070401603959E-2</c:v>
                </c:pt>
                <c:pt idx="2097">
                  <c:v>-1.5497395778567458E-2</c:v>
                </c:pt>
                <c:pt idx="2098">
                  <c:v>-1.3068424779009158E-2</c:v>
                </c:pt>
                <c:pt idx="2099">
                  <c:v>-1.2823950425157493E-2</c:v>
                </c:pt>
                <c:pt idx="2100">
                  <c:v>-1.0167153862869927E-2</c:v>
                </c:pt>
                <c:pt idx="2101">
                  <c:v>-7.6041162821672836E-3</c:v>
                </c:pt>
                <c:pt idx="2102">
                  <c:v>-1.1994139625524869E-2</c:v>
                </c:pt>
                <c:pt idx="2103">
                  <c:v>-1.0839239272920964E-2</c:v>
                </c:pt>
                <c:pt idx="2104">
                  <c:v>-1.1157318808577399E-2</c:v>
                </c:pt>
                <c:pt idx="2105">
                  <c:v>-1.1686575115840481E-2</c:v>
                </c:pt>
                <c:pt idx="2106">
                  <c:v>-9.4363595578080828E-3</c:v>
                </c:pt>
                <c:pt idx="2107">
                  <c:v>-9.2812629247194245E-3</c:v>
                </c:pt>
                <c:pt idx="2108">
                  <c:v>-8.1692989281683115E-3</c:v>
                </c:pt>
                <c:pt idx="2109">
                  <c:v>-6.2424204187784271E-3</c:v>
                </c:pt>
                <c:pt idx="2110">
                  <c:v>-6.8645594554618272E-3</c:v>
                </c:pt>
                <c:pt idx="2111">
                  <c:v>-6.4684934771788161E-3</c:v>
                </c:pt>
                <c:pt idx="2112">
                  <c:v>-7.0108935669070949E-3</c:v>
                </c:pt>
                <c:pt idx="2113">
                  <c:v>-7.8012730191443502E-3</c:v>
                </c:pt>
                <c:pt idx="2114">
                  <c:v>-8.0264698253804667E-3</c:v>
                </c:pt>
                <c:pt idx="2115">
                  <c:v>-9.817529249297241E-3</c:v>
                </c:pt>
                <c:pt idx="2116">
                  <c:v>-7.9476071305896179E-3</c:v>
                </c:pt>
                <c:pt idx="2117">
                  <c:v>-8.0028110169431121E-3</c:v>
                </c:pt>
                <c:pt idx="2118">
                  <c:v>-7.4279895971343102E-3</c:v>
                </c:pt>
                <c:pt idx="2119">
                  <c:v>-4.7063503746853641E-3</c:v>
                </c:pt>
                <c:pt idx="2120">
                  <c:v>-3.398105893321568E-3</c:v>
                </c:pt>
                <c:pt idx="2121">
                  <c:v>-7.870496940127425E-3</c:v>
                </c:pt>
                <c:pt idx="2122">
                  <c:v>-1.166379255956751E-2</c:v>
                </c:pt>
                <c:pt idx="2123">
                  <c:v>-8.5382010893567672E-3</c:v>
                </c:pt>
                <c:pt idx="2124">
                  <c:v>-7.082746244383209E-3</c:v>
                </c:pt>
                <c:pt idx="2125">
                  <c:v>-3.7179379333067697E-3</c:v>
                </c:pt>
                <c:pt idx="2126">
                  <c:v>-5.17164027395145E-3</c:v>
                </c:pt>
                <c:pt idx="2127">
                  <c:v>-6.0636649772516371E-4</c:v>
                </c:pt>
                <c:pt idx="2128">
                  <c:v>-5.1085501181191706E-4</c:v>
                </c:pt>
                <c:pt idx="2129">
                  <c:v>0</c:v>
                </c:pt>
                <c:pt idx="2130">
                  <c:v>-1.6601676961806033E-3</c:v>
                </c:pt>
                <c:pt idx="2131">
                  <c:v>0</c:v>
                </c:pt>
                <c:pt idx="2132">
                  <c:v>-2.7085291995539995E-3</c:v>
                </c:pt>
                <c:pt idx="2133">
                  <c:v>-2.4846404442792069E-3</c:v>
                </c:pt>
                <c:pt idx="2134">
                  <c:v>-4.7864967094475297E-3</c:v>
                </c:pt>
                <c:pt idx="2135">
                  <c:v>-4.6605592846054034E-3</c:v>
                </c:pt>
                <c:pt idx="2136">
                  <c:v>-3.2874915276471794E-3</c:v>
                </c:pt>
                <c:pt idx="2137">
                  <c:v>-3.3871919889804092E-3</c:v>
                </c:pt>
                <c:pt idx="2138">
                  <c:v>-4.0527362966527036E-3</c:v>
                </c:pt>
                <c:pt idx="2139">
                  <c:v>-6.7936244178673499E-3</c:v>
                </c:pt>
                <c:pt idx="2140">
                  <c:v>-3.6749240221264357E-3</c:v>
                </c:pt>
                <c:pt idx="2141">
                  <c:v>-1.8610752782211026E-3</c:v>
                </c:pt>
                <c:pt idx="2142">
                  <c:v>-5.3540896866869359E-3</c:v>
                </c:pt>
                <c:pt idx="2143">
                  <c:v>-6.8810809628965242E-3</c:v>
                </c:pt>
                <c:pt idx="2144">
                  <c:v>-4.5766010013774672E-3</c:v>
                </c:pt>
                <c:pt idx="2145">
                  <c:v>-4.5389946870149078E-3</c:v>
                </c:pt>
                <c:pt idx="2146">
                  <c:v>-6.7770076743118857E-3</c:v>
                </c:pt>
                <c:pt idx="2147">
                  <c:v>-1.2787021448717684E-2</c:v>
                </c:pt>
                <c:pt idx="2148">
                  <c:v>-1.0519273236110793E-2</c:v>
                </c:pt>
                <c:pt idx="2149">
                  <c:v>-6.9414259789667421E-3</c:v>
                </c:pt>
                <c:pt idx="2150">
                  <c:v>-1.0127467914380017E-2</c:v>
                </c:pt>
                <c:pt idx="2151">
                  <c:v>-9.4741675230120004E-3</c:v>
                </c:pt>
                <c:pt idx="2152">
                  <c:v>-6.9807814242297539E-3</c:v>
                </c:pt>
                <c:pt idx="2153">
                  <c:v>-6.1831777335636939E-3</c:v>
                </c:pt>
                <c:pt idx="2154">
                  <c:v>-8.6940551413516864E-3</c:v>
                </c:pt>
                <c:pt idx="2155">
                  <c:v>-1.1057130988040398E-2</c:v>
                </c:pt>
                <c:pt idx="2156">
                  <c:v>-1.1203183418239115E-2</c:v>
                </c:pt>
                <c:pt idx="2157">
                  <c:v>-1.1254782779806294E-2</c:v>
                </c:pt>
                <c:pt idx="2158">
                  <c:v>-6.3834532216804352E-3</c:v>
                </c:pt>
                <c:pt idx="2159">
                  <c:v>-5.6356997616809901E-3</c:v>
                </c:pt>
                <c:pt idx="2160">
                  <c:v>-6.2959966766512609E-3</c:v>
                </c:pt>
                <c:pt idx="2161">
                  <c:v>-4.5757264359271854E-3</c:v>
                </c:pt>
                <c:pt idx="2162">
                  <c:v>-5.5272536458447208E-3</c:v>
                </c:pt>
                <c:pt idx="2163">
                  <c:v>-4.4769005400441264E-3</c:v>
                </c:pt>
                <c:pt idx="2164">
                  <c:v>-5.9514178892362546E-3</c:v>
                </c:pt>
                <c:pt idx="2165">
                  <c:v>-8.9721669545445026E-3</c:v>
                </c:pt>
                <c:pt idx="2166">
                  <c:v>-9.708551063690285E-3</c:v>
                </c:pt>
                <c:pt idx="2167">
                  <c:v>-9.8414850121345543E-3</c:v>
                </c:pt>
                <c:pt idx="2168">
                  <c:v>-1.3684325600717195E-2</c:v>
                </c:pt>
                <c:pt idx="2169">
                  <c:v>-9.8266173994796535E-3</c:v>
                </c:pt>
                <c:pt idx="2170">
                  <c:v>-1.0917200515993652E-2</c:v>
                </c:pt>
                <c:pt idx="2171">
                  <c:v>-1.4021907864529837E-2</c:v>
                </c:pt>
                <c:pt idx="2172">
                  <c:v>-1.5683582220084369E-2</c:v>
                </c:pt>
                <c:pt idx="2173">
                  <c:v>-1.5836631173885451E-2</c:v>
                </c:pt>
                <c:pt idx="2174">
                  <c:v>-1.7531539016551134E-2</c:v>
                </c:pt>
                <c:pt idx="2175">
                  <c:v>-2.1321905678116204E-2</c:v>
                </c:pt>
                <c:pt idx="2176">
                  <c:v>-1.9023547674749119E-2</c:v>
                </c:pt>
                <c:pt idx="2177">
                  <c:v>-1.5382731705184005E-2</c:v>
                </c:pt>
                <c:pt idx="2178">
                  <c:v>-1.5021536174213423E-2</c:v>
                </c:pt>
                <c:pt idx="2179">
                  <c:v>-1.2750289699805406E-2</c:v>
                </c:pt>
                <c:pt idx="2180">
                  <c:v>-1.3889848481535738E-2</c:v>
                </c:pt>
                <c:pt idx="2181">
                  <c:v>-1.4535277783851219E-2</c:v>
                </c:pt>
                <c:pt idx="2182">
                  <c:v>-1.1072873166145469E-2</c:v>
                </c:pt>
                <c:pt idx="2183">
                  <c:v>-1.2598115311454605E-2</c:v>
                </c:pt>
                <c:pt idx="2184">
                  <c:v>-1.0735290902332939E-2</c:v>
                </c:pt>
                <c:pt idx="2185">
                  <c:v>-1.6845879703522249E-2</c:v>
                </c:pt>
                <c:pt idx="2186">
                  <c:v>-2.2434352930887469E-2</c:v>
                </c:pt>
                <c:pt idx="2187">
                  <c:v>-1.9860506810678413E-2</c:v>
                </c:pt>
                <c:pt idx="2188">
                  <c:v>-1.5563766753394437E-2</c:v>
                </c:pt>
                <c:pt idx="2189">
                  <c:v>-1.5434331066751295E-2</c:v>
                </c:pt>
                <c:pt idx="2190">
                  <c:v>-1.1924699914729886E-2</c:v>
                </c:pt>
                <c:pt idx="2191">
                  <c:v>-1.5742178105253912E-2</c:v>
                </c:pt>
                <c:pt idx="2192">
                  <c:v>-1.5051271399523447E-2</c:v>
                </c:pt>
                <c:pt idx="2193">
                  <c:v>-1.6160220390493585E-2</c:v>
                </c:pt>
                <c:pt idx="2194">
                  <c:v>-1.2750289699805406E-2</c:v>
                </c:pt>
                <c:pt idx="2195">
                  <c:v>-7.8964514506855155E-3</c:v>
                </c:pt>
                <c:pt idx="2196">
                  <c:v>-9.637711262216575E-3</c:v>
                </c:pt>
                <c:pt idx="2197">
                  <c:v>-8.6442049106849606E-3</c:v>
                </c:pt>
                <c:pt idx="2198">
                  <c:v>-7.0752344928612931E-3</c:v>
                </c:pt>
                <c:pt idx="2199">
                  <c:v>-8.3153683013752477E-3</c:v>
                </c:pt>
                <c:pt idx="2200">
                  <c:v>-9.1313378664975575E-3</c:v>
                </c:pt>
                <c:pt idx="2201">
                  <c:v>-1.2350613289021983E-2</c:v>
                </c:pt>
                <c:pt idx="2202">
                  <c:v>-1.38102630255591E-2</c:v>
                </c:pt>
                <c:pt idx="2203">
                  <c:v>-9.0517524105210301E-3</c:v>
                </c:pt>
                <c:pt idx="2204">
                  <c:v>-7.5343813542646521E-3</c:v>
                </c:pt>
                <c:pt idx="2205">
                  <c:v>-2.099831646150796E-3</c:v>
                </c:pt>
                <c:pt idx="2206">
                  <c:v>0</c:v>
                </c:pt>
                <c:pt idx="2207">
                  <c:v>0</c:v>
                </c:pt>
                <c:pt idx="2208">
                  <c:v>0</c:v>
                </c:pt>
                <c:pt idx="2209">
                  <c:v>0</c:v>
                </c:pt>
                <c:pt idx="2210">
                  <c:v>0</c:v>
                </c:pt>
                <c:pt idx="2211">
                  <c:v>-3.9479150427494947E-3</c:v>
                </c:pt>
                <c:pt idx="2212">
                  <c:v>-1.2611032388928356E-3</c:v>
                </c:pt>
                <c:pt idx="2213">
                  <c:v>-6.7583985730712559E-4</c:v>
                </c:pt>
                <c:pt idx="2214">
                  <c:v>-3.3992306225129054E-3</c:v>
                </c:pt>
                <c:pt idx="2215">
                  <c:v>-1.0895304916125337E-3</c:v>
                </c:pt>
                <c:pt idx="2216">
                  <c:v>-4.189162002122826E-4</c:v>
                </c:pt>
                <c:pt idx="2217">
                  <c:v>0</c:v>
                </c:pt>
                <c:pt idx="2218">
                  <c:v>-1.0346008788020278E-4</c:v>
                </c:pt>
                <c:pt idx="2219">
                  <c:v>0</c:v>
                </c:pt>
                <c:pt idx="2220">
                  <c:v>-2.5983731773672192E-3</c:v>
                </c:pt>
                <c:pt idx="2221">
                  <c:v>-8.4731067942647176E-3</c:v>
                </c:pt>
                <c:pt idx="2222">
                  <c:v>-9.9730018883070759E-3</c:v>
                </c:pt>
                <c:pt idx="2223">
                  <c:v>-8.1141723613550321E-3</c:v>
                </c:pt>
                <c:pt idx="2224">
                  <c:v>-3.0726174643276316E-3</c:v>
                </c:pt>
                <c:pt idx="2225">
                  <c:v>-2.2290348478516409E-3</c:v>
                </c:pt>
                <c:pt idx="2226">
                  <c:v>0</c:v>
                </c:pt>
                <c:pt idx="2227">
                  <c:v>-2.7922315296605715E-3</c:v>
                </c:pt>
                <c:pt idx="2228">
                  <c:v>-4.6416204103395531E-3</c:v>
                </c:pt>
                <c:pt idx="2229">
                  <c:v>-3.5907527099163783E-3</c:v>
                </c:pt>
                <c:pt idx="2230">
                  <c:v>-2.7740833210184723E-3</c:v>
                </c:pt>
                <c:pt idx="2231">
                  <c:v>-8.5642260782836654E-4</c:v>
                </c:pt>
                <c:pt idx="2232">
                  <c:v>-1.6540795876727188E-3</c:v>
                </c:pt>
                <c:pt idx="2233">
                  <c:v>0</c:v>
                </c:pt>
                <c:pt idx="2234">
                  <c:v>0</c:v>
                </c:pt>
                <c:pt idx="2235">
                  <c:v>0</c:v>
                </c:pt>
                <c:pt idx="2236">
                  <c:v>-2.5869099257598283E-3</c:v>
                </c:pt>
                <c:pt idx="2237">
                  <c:v>-1.4786033097634599E-3</c:v>
                </c:pt>
                <c:pt idx="2238">
                  <c:v>-1.0652488609070865E-3</c:v>
                </c:pt>
                <c:pt idx="2239">
                  <c:v>0</c:v>
                </c:pt>
                <c:pt idx="2240">
                  <c:v>0</c:v>
                </c:pt>
                <c:pt idx="2241">
                  <c:v>-1.5246348212178962E-3</c:v>
                </c:pt>
                <c:pt idx="2242">
                  <c:v>-5.0209133223225733E-3</c:v>
                </c:pt>
                <c:pt idx="2243">
                  <c:v>-4.2186997275904803E-3</c:v>
                </c:pt>
                <c:pt idx="2244">
                  <c:v>-7.9483494562536672E-3</c:v>
                </c:pt>
                <c:pt idx="2245">
                  <c:v>-6.9951309495720482E-3</c:v>
                </c:pt>
                <c:pt idx="2246">
                  <c:v>-6.979687265395329E-3</c:v>
                </c:pt>
                <c:pt idx="2247">
                  <c:v>-8.5026061217048365E-3</c:v>
                </c:pt>
                <c:pt idx="2248">
                  <c:v>-8.5334934900580528E-3</c:v>
                </c:pt>
                <c:pt idx="2249">
                  <c:v>-9.5218892773641928E-3</c:v>
                </c:pt>
                <c:pt idx="2250">
                  <c:v>-1.1359687694386666E-2</c:v>
                </c:pt>
                <c:pt idx="2251">
                  <c:v>-1.0010939276291708E-2</c:v>
                </c:pt>
                <c:pt idx="2252">
                  <c:v>-9.3974818214966893E-3</c:v>
                </c:pt>
                <c:pt idx="2253">
                  <c:v>-1.1781815061881917E-2</c:v>
                </c:pt>
                <c:pt idx="2254">
                  <c:v>-7.1641534930609874E-3</c:v>
                </c:pt>
                <c:pt idx="2255">
                  <c:v>-4.8930739366378484E-3</c:v>
                </c:pt>
                <c:pt idx="2256">
                  <c:v>-9.5725102421654329E-3</c:v>
                </c:pt>
                <c:pt idx="2257">
                  <c:v>-7.5588254220201323E-3</c:v>
                </c:pt>
                <c:pt idx="2258">
                  <c:v>-8.770296647433562E-3</c:v>
                </c:pt>
                <c:pt idx="2259">
                  <c:v>-4.9325411295338961E-3</c:v>
                </c:pt>
                <c:pt idx="2260">
                  <c:v>-9.545054803629216E-3</c:v>
                </c:pt>
                <c:pt idx="2261">
                  <c:v>-8.5420733146006622E-3</c:v>
                </c:pt>
                <c:pt idx="2262">
                  <c:v>-6.4443062139378782E-3</c:v>
                </c:pt>
                <c:pt idx="2263">
                  <c:v>-5.3658222689345614E-3</c:v>
                </c:pt>
                <c:pt idx="2264">
                  <c:v>-5.2396988481585582E-3</c:v>
                </c:pt>
                <c:pt idx="2265">
                  <c:v>-5.9569721799188624E-3</c:v>
                </c:pt>
                <c:pt idx="2266">
                  <c:v>-4.6940220072499983E-3</c:v>
                </c:pt>
                <c:pt idx="2267">
                  <c:v>-8.6081379635786215E-3</c:v>
                </c:pt>
                <c:pt idx="2268">
                  <c:v>-7.7432916496856796E-3</c:v>
                </c:pt>
                <c:pt idx="2269">
                  <c:v>-5.9526822676475577E-3</c:v>
                </c:pt>
                <c:pt idx="2270">
                  <c:v>-7.7124042813324634E-3</c:v>
                </c:pt>
                <c:pt idx="2271">
                  <c:v>-7.9809527895154941E-3</c:v>
                </c:pt>
                <c:pt idx="2272">
                  <c:v>-7.5965766500074583E-3</c:v>
                </c:pt>
                <c:pt idx="2273">
                  <c:v>-7.2756912121146877E-3</c:v>
                </c:pt>
                <c:pt idx="2274">
                  <c:v>-7.6549194568970025E-3</c:v>
                </c:pt>
                <c:pt idx="2275">
                  <c:v>-7.3837970013512777E-3</c:v>
                </c:pt>
                <c:pt idx="2276">
                  <c:v>-6.645074108234339E-3</c:v>
                </c:pt>
                <c:pt idx="2277">
                  <c:v>-8.5781085776794885E-3</c:v>
                </c:pt>
                <c:pt idx="2278">
                  <c:v>-1.0446794363055179E-2</c:v>
                </c:pt>
                <c:pt idx="2279">
                  <c:v>-1.0235730679307609E-2</c:v>
                </c:pt>
                <c:pt idx="2280">
                  <c:v>-1.0429634713970071E-2</c:v>
                </c:pt>
                <c:pt idx="2281">
                  <c:v>-9.7809999785504198E-3</c:v>
                </c:pt>
                <c:pt idx="2282">
                  <c:v>-8.7282555071748202E-3</c:v>
                </c:pt>
                <c:pt idx="2283">
                  <c:v>-7.600866562278763E-3</c:v>
                </c:pt>
                <c:pt idx="2284">
                  <c:v>-6.7162866519379083E-3</c:v>
                </c:pt>
                <c:pt idx="2285">
                  <c:v>-8.9547628750992203E-3</c:v>
                </c:pt>
                <c:pt idx="2286">
                  <c:v>-1.1346817957572641E-2</c:v>
                </c:pt>
                <c:pt idx="2287">
                  <c:v>-1.3390532163617186E-2</c:v>
                </c:pt>
                <c:pt idx="2288">
                  <c:v>-1.3157160936058787E-2</c:v>
                </c:pt>
                <c:pt idx="2289">
                  <c:v>-1.2560005147894682E-2</c:v>
                </c:pt>
                <c:pt idx="2290">
                  <c:v>-1.1699448746273045E-2</c:v>
                </c:pt>
                <c:pt idx="2291">
                  <c:v>-1.1890778833572813E-2</c:v>
                </c:pt>
                <c:pt idx="2292">
                  <c:v>-1.2685270586216491E-2</c:v>
                </c:pt>
                <c:pt idx="2293">
                  <c:v>-1.2021192166620231E-2</c:v>
                </c:pt>
                <c:pt idx="2294">
                  <c:v>-8.7497050685312328E-3</c:v>
                </c:pt>
                <c:pt idx="2295">
                  <c:v>-8.6802084897362741E-3</c:v>
                </c:pt>
                <c:pt idx="2296">
                  <c:v>-7.817078140751943E-3</c:v>
                </c:pt>
                <c:pt idx="2297">
                  <c:v>-5.7330387593573784E-3</c:v>
                </c:pt>
                <c:pt idx="2298">
                  <c:v>-9.5296111194526079E-3</c:v>
                </c:pt>
                <c:pt idx="2299">
                  <c:v>-1.2876600673516259E-2</c:v>
                </c:pt>
                <c:pt idx="2300">
                  <c:v>-1.1609360588575979E-2</c:v>
                </c:pt>
                <c:pt idx="2301">
                  <c:v>-1.2643229445957749E-2</c:v>
                </c:pt>
                <c:pt idx="2302">
                  <c:v>-1.2738465498380425E-2</c:v>
                </c:pt>
                <c:pt idx="2303">
                  <c:v>-1.7359558997018465E-2</c:v>
                </c:pt>
                <c:pt idx="2304">
                  <c:v>-1.8961412239119624E-2</c:v>
                </c:pt>
                <c:pt idx="2305">
                  <c:v>-1.6973466892601929E-2</c:v>
                </c:pt>
                <c:pt idx="2306">
                  <c:v>-1.3625619356084195E-2</c:v>
                </c:pt>
                <c:pt idx="2307">
                  <c:v>-1.3875292250273508E-2</c:v>
                </c:pt>
                <c:pt idx="2308">
                  <c:v>-1.2602904270607618E-2</c:v>
                </c:pt>
                <c:pt idx="2309">
                  <c:v>-1.2209948306557084E-2</c:v>
                </c:pt>
                <c:pt idx="2310">
                  <c:v>-1.0704189099332795E-2</c:v>
                </c:pt>
                <c:pt idx="2311">
                  <c:v>-1.1066257695030113E-2</c:v>
                </c:pt>
                <c:pt idx="2312">
                  <c:v>-1.114433409836757E-2</c:v>
                </c:pt>
                <c:pt idx="2313">
                  <c:v>-7.5785590184680451E-3</c:v>
                </c:pt>
                <c:pt idx="2314">
                  <c:v>-9.2027198043799219E-3</c:v>
                </c:pt>
                <c:pt idx="2315">
                  <c:v>-9.210441646468337E-3</c:v>
                </c:pt>
                <c:pt idx="2316">
                  <c:v>-1.1286759185774597E-2</c:v>
                </c:pt>
                <c:pt idx="2317">
                  <c:v>-1.1084275326569526E-2</c:v>
                </c:pt>
                <c:pt idx="2318">
                  <c:v>-1.031809699491637E-2</c:v>
                </c:pt>
                <c:pt idx="2319">
                  <c:v>-7.8265159477488577E-3</c:v>
                </c:pt>
                <c:pt idx="2320">
                  <c:v>-6.0882434954204756E-3</c:v>
                </c:pt>
                <c:pt idx="2321">
                  <c:v>-7.557967439565827E-3</c:v>
                </c:pt>
                <c:pt idx="2322">
                  <c:v>-5.4962356019818692E-3</c:v>
                </c:pt>
                <c:pt idx="2323">
                  <c:v>-5.7493404259881808E-3</c:v>
                </c:pt>
                <c:pt idx="2324">
                  <c:v>-8.2057441925311725E-3</c:v>
                </c:pt>
                <c:pt idx="2325">
                  <c:v>-9.0354132257994824E-3</c:v>
                </c:pt>
                <c:pt idx="2326">
                  <c:v>-8.4914523497994221E-3</c:v>
                </c:pt>
                <c:pt idx="2327">
                  <c:v>-6.4117028806760512E-3</c:v>
                </c:pt>
                <c:pt idx="2328">
                  <c:v>-6.9865511250294388E-3</c:v>
                </c:pt>
                <c:pt idx="2329">
                  <c:v>-5.7012934085497458E-3</c:v>
                </c:pt>
                <c:pt idx="2330">
                  <c:v>-7.0388880547391786E-3</c:v>
                </c:pt>
                <c:pt idx="2331">
                  <c:v>-8.1156560348339957E-3</c:v>
                </c:pt>
                <c:pt idx="2332">
                  <c:v>-8.1319577014650202E-3</c:v>
                </c:pt>
                <c:pt idx="2333">
                  <c:v>-9.3708843654146667E-3</c:v>
                </c:pt>
                <c:pt idx="2334">
                  <c:v>-8.7840243667016704E-3</c:v>
                </c:pt>
                <c:pt idx="2335">
                  <c:v>-1.098903927414685E-2</c:v>
                </c:pt>
                <c:pt idx="2336">
                  <c:v>-7.708972351515353E-3</c:v>
                </c:pt>
                <c:pt idx="2337">
                  <c:v>-7.8702730529160991E-3</c:v>
                </c:pt>
                <c:pt idx="2338">
                  <c:v>-3.3607172733317592E-3</c:v>
                </c:pt>
                <c:pt idx="2339">
                  <c:v>-9.1546727869407096E-4</c:v>
                </c:pt>
                <c:pt idx="2340">
                  <c:v>0</c:v>
                </c:pt>
                <c:pt idx="2341">
                  <c:v>-3.282144448633062E-4</c:v>
                </c:pt>
                <c:pt idx="2342">
                  <c:v>0</c:v>
                </c:pt>
                <c:pt idx="2343">
                  <c:v>0</c:v>
                </c:pt>
                <c:pt idx="2344">
                  <c:v>-2.0289185093870232E-3</c:v>
                </c:pt>
                <c:pt idx="2345">
                  <c:v>-4.357466334506177E-3</c:v>
                </c:pt>
                <c:pt idx="2346">
                  <c:v>-4.7041802569963709E-3</c:v>
                </c:pt>
                <c:pt idx="2347">
                  <c:v>-3.2685277927593237E-3</c:v>
                </c:pt>
                <c:pt idx="2348">
                  <c:v>-3.5304894230852035E-3</c:v>
                </c:pt>
                <c:pt idx="2349">
                  <c:v>-4.6810659954970024E-3</c:v>
                </c:pt>
                <c:pt idx="2350">
                  <c:v>0</c:v>
                </c:pt>
                <c:pt idx="2351">
                  <c:v>-2.5732820389022804E-3</c:v>
                </c:pt>
                <c:pt idx="2352">
                  <c:v>0</c:v>
                </c:pt>
                <c:pt idx="2353">
                  <c:v>0</c:v>
                </c:pt>
                <c:pt idx="2354">
                  <c:v>-2.6839126089992504E-3</c:v>
                </c:pt>
                <c:pt idx="2355">
                  <c:v>-3.6104913005983175E-3</c:v>
                </c:pt>
                <c:pt idx="2356">
                  <c:v>-3.9843739305417403E-3</c:v>
                </c:pt>
                <c:pt idx="2357">
                  <c:v>-5.236067952526513E-4</c:v>
                </c:pt>
                <c:pt idx="2358">
                  <c:v>-4.7774842233508918E-3</c:v>
                </c:pt>
                <c:pt idx="2359">
                  <c:v>-3.6267470671175195E-3</c:v>
                </c:pt>
                <c:pt idx="2360">
                  <c:v>-4.5712926585536051E-3</c:v>
                </c:pt>
                <c:pt idx="2361">
                  <c:v>-5.6843848817949016E-3</c:v>
                </c:pt>
                <c:pt idx="2362">
                  <c:v>-3.9090840645576996E-3</c:v>
                </c:pt>
                <c:pt idx="2363">
                  <c:v>-3.1741523045544229E-3</c:v>
                </c:pt>
                <c:pt idx="2364">
                  <c:v>-1.8822466495982404E-5</c:v>
                </c:pt>
                <c:pt idx="2365">
                  <c:v>0</c:v>
                </c:pt>
                <c:pt idx="2366">
                  <c:v>-1.769326323235676E-3</c:v>
                </c:pt>
                <c:pt idx="2367">
                  <c:v>-1.2003396833153435E-3</c:v>
                </c:pt>
                <c:pt idx="2368">
                  <c:v>-5.5189995403681635E-4</c:v>
                </c:pt>
                <c:pt idx="2369">
                  <c:v>0</c:v>
                </c:pt>
                <c:pt idx="2370">
                  <c:v>-2.48285152769534E-3</c:v>
                </c:pt>
                <c:pt idx="2371">
                  <c:v>-1.4000144946688664E-3</c:v>
                </c:pt>
                <c:pt idx="2372">
                  <c:v>0</c:v>
                </c:pt>
                <c:pt idx="2373">
                  <c:v>-3.3788878296141522E-3</c:v>
                </c:pt>
                <c:pt idx="2374">
                  <c:v>-2.1665435579194536E-3</c:v>
                </c:pt>
                <c:pt idx="2375">
                  <c:v>0</c:v>
                </c:pt>
                <c:pt idx="2376">
                  <c:v>-3.8833728846295879E-3</c:v>
                </c:pt>
                <c:pt idx="2377">
                  <c:v>-3.015484991920947E-3</c:v>
                </c:pt>
                <c:pt idx="2378">
                  <c:v>0</c:v>
                </c:pt>
                <c:pt idx="2379">
                  <c:v>0</c:v>
                </c:pt>
                <c:pt idx="2380">
                  <c:v>0</c:v>
                </c:pt>
                <c:pt idx="2381">
                  <c:v>-9.1575013998856925E-4</c:v>
                </c:pt>
                <c:pt idx="2382">
                  <c:v>0</c:v>
                </c:pt>
                <c:pt idx="2383">
                  <c:v>0</c:v>
                </c:pt>
                <c:pt idx="2384">
                  <c:v>-2.04666221042904E-3</c:v>
                </c:pt>
                <c:pt idx="2385">
                  <c:v>0</c:v>
                </c:pt>
                <c:pt idx="2386">
                  <c:v>0</c:v>
                </c:pt>
                <c:pt idx="2387">
                  <c:v>-8.843095689869962E-5</c:v>
                </c:pt>
                <c:pt idx="2388">
                  <c:v>0</c:v>
                </c:pt>
                <c:pt idx="2389">
                  <c:v>0</c:v>
                </c:pt>
                <c:pt idx="2390">
                  <c:v>-6.8003880171951803E-4</c:v>
                </c:pt>
                <c:pt idx="2391">
                  <c:v>-8.1789586412006621E-4</c:v>
                </c:pt>
                <c:pt idx="2392">
                  <c:v>-2.0006085884960445E-4</c:v>
                </c:pt>
                <c:pt idx="2393">
                  <c:v>-7.8511278220771974E-4</c:v>
                </c:pt>
                <c:pt idx="2394">
                  <c:v>-5.5310943328990003E-4</c:v>
                </c:pt>
                <c:pt idx="2395">
                  <c:v>-2.0115362824657534E-3</c:v>
                </c:pt>
                <c:pt idx="2396">
                  <c:v>-4.0600586060646204E-4</c:v>
                </c:pt>
                <c:pt idx="2397">
                  <c:v>0</c:v>
                </c:pt>
                <c:pt idx="2398">
                  <c:v>0</c:v>
                </c:pt>
                <c:pt idx="2399">
                  <c:v>0</c:v>
                </c:pt>
                <c:pt idx="2400">
                  <c:v>-7.7975912988859086E-5</c:v>
                </c:pt>
                <c:pt idx="2401">
                  <c:v>-1.5620336118107314E-3</c:v>
                </c:pt>
                <c:pt idx="2402">
                  <c:v>0</c:v>
                </c:pt>
                <c:pt idx="2403">
                  <c:v>-1.9597312512200649E-3</c:v>
                </c:pt>
                <c:pt idx="2404">
                  <c:v>-2.1515989111300371E-3</c:v>
                </c:pt>
                <c:pt idx="2405">
                  <c:v>-5.4426738811140796E-3</c:v>
                </c:pt>
                <c:pt idx="2406">
                  <c:v>-5.6915153439667243E-3</c:v>
                </c:pt>
                <c:pt idx="2407">
                  <c:v>-6.5402574378042866E-3</c:v>
                </c:pt>
                <c:pt idx="2408">
                  <c:v>-2.9919625045349285E-3</c:v>
                </c:pt>
                <c:pt idx="2409">
                  <c:v>-1.2643157153018336E-3</c:v>
                </c:pt>
                <c:pt idx="2410">
                  <c:v>-1.0297177031849403E-3</c:v>
                </c:pt>
                <c:pt idx="2411">
                  <c:v>-6.1674141685469364E-3</c:v>
                </c:pt>
                <c:pt idx="2412">
                  <c:v>-6.227739371662655E-3</c:v>
                </c:pt>
                <c:pt idx="2413">
                  <c:v>-6.7287736975412127E-3</c:v>
                </c:pt>
                <c:pt idx="2414">
                  <c:v>-9.9880103658807062E-3</c:v>
                </c:pt>
                <c:pt idx="2415">
                  <c:v>-8.3592298817541932E-3</c:v>
                </c:pt>
                <c:pt idx="2416">
                  <c:v>-4.1959530167209325E-3</c:v>
                </c:pt>
                <c:pt idx="2417">
                  <c:v>-8.5963414440004549E-4</c:v>
                </c:pt>
                <c:pt idx="2418">
                  <c:v>-2.6727416380467606E-4</c:v>
                </c:pt>
                <c:pt idx="2419">
                  <c:v>0</c:v>
                </c:pt>
                <c:pt idx="2420">
                  <c:v>0</c:v>
                </c:pt>
                <c:pt idx="2421">
                  <c:v>0</c:v>
                </c:pt>
                <c:pt idx="2422">
                  <c:v>-1.1915724243736214E-3</c:v>
                </c:pt>
                <c:pt idx="2423">
                  <c:v>-3.8270699183948764E-3</c:v>
                </c:pt>
                <c:pt idx="2424">
                  <c:v>0</c:v>
                </c:pt>
                <c:pt idx="2425">
                  <c:v>-1.6186630177218442E-3</c:v>
                </c:pt>
                <c:pt idx="2426">
                  <c:v>0</c:v>
                </c:pt>
                <c:pt idx="2427">
                  <c:v>0</c:v>
                </c:pt>
                <c:pt idx="2428">
                  <c:v>0</c:v>
                </c:pt>
                <c:pt idx="2429">
                  <c:v>-8.4289627138933731E-4</c:v>
                </c:pt>
                <c:pt idx="2430">
                  <c:v>0</c:v>
                </c:pt>
                <c:pt idx="2431">
                  <c:v>0</c:v>
                </c:pt>
                <c:pt idx="2432">
                  <c:v>0</c:v>
                </c:pt>
                <c:pt idx="2433">
                  <c:v>0</c:v>
                </c:pt>
                <c:pt idx="2434">
                  <c:v>0</c:v>
                </c:pt>
                <c:pt idx="2435">
                  <c:v>0</c:v>
                </c:pt>
                <c:pt idx="2436">
                  <c:v>-1.3362772549164736E-3</c:v>
                </c:pt>
                <c:pt idx="2437">
                  <c:v>-1.8642095611665077E-3</c:v>
                </c:pt>
                <c:pt idx="2438">
                  <c:v>-1.5624164826715248E-3</c:v>
                </c:pt>
                <c:pt idx="2439">
                  <c:v>-8.0892057579159404E-3</c:v>
                </c:pt>
                <c:pt idx="2440">
                  <c:v>-8.2635385444034259E-3</c:v>
                </c:pt>
                <c:pt idx="2441">
                  <c:v>-8.1977525872383161E-3</c:v>
                </c:pt>
                <c:pt idx="2442">
                  <c:v>-4.8615822345022819E-3</c:v>
                </c:pt>
                <c:pt idx="2443">
                  <c:v>-1.0570980991969958E-2</c:v>
                </c:pt>
                <c:pt idx="2444">
                  <c:v>-9.9386134787202707E-3</c:v>
                </c:pt>
                <c:pt idx="2445">
                  <c:v>-1.2237010357176614E-2</c:v>
                </c:pt>
                <c:pt idx="2446">
                  <c:v>-1.4070793913154356E-2</c:v>
                </c:pt>
                <c:pt idx="2447">
                  <c:v>-1.4333937741814795E-2</c:v>
                </c:pt>
                <c:pt idx="2448">
                  <c:v>-1.8752287089917052E-2</c:v>
                </c:pt>
                <c:pt idx="2449">
                  <c:v>-2.3147611353011466E-2</c:v>
                </c:pt>
                <c:pt idx="2450">
                  <c:v>-1.7696422477416873E-2</c:v>
                </c:pt>
                <c:pt idx="2451">
                  <c:v>-1.8086204273620177E-2</c:v>
                </c:pt>
                <c:pt idx="2452">
                  <c:v>-2.1903434438126257E-2</c:v>
                </c:pt>
                <c:pt idx="2453">
                  <c:v>-2.2791544859855239E-2</c:v>
                </c:pt>
                <c:pt idx="2454">
                  <c:v>-2.0302368705620077E-2</c:v>
                </c:pt>
                <c:pt idx="2455">
                  <c:v>-2.0074584828935871E-2</c:v>
                </c:pt>
                <c:pt idx="2456">
                  <c:v>-1.9260483609017554E-2</c:v>
                </c:pt>
                <c:pt idx="2457">
                  <c:v>-2.0148594030746647E-2</c:v>
                </c:pt>
                <c:pt idx="2458">
                  <c:v>-2.033772865759631E-2</c:v>
                </c:pt>
                <c:pt idx="2459">
                  <c:v>-3.1454733094036902E-2</c:v>
                </c:pt>
                <c:pt idx="2460">
                  <c:v>-2.7233741617429863E-2</c:v>
                </c:pt>
                <c:pt idx="2461">
                  <c:v>-3.307471228922787E-2</c:v>
                </c:pt>
                <c:pt idx="2462">
                  <c:v>-2.5838257001064902E-2</c:v>
                </c:pt>
                <c:pt idx="2463">
                  <c:v>-1.9211144141143666E-2</c:v>
                </c:pt>
                <c:pt idx="2464">
                  <c:v>-1.770793501992074E-2</c:v>
                </c:pt>
                <c:pt idx="2465">
                  <c:v>-1.9650265405220968E-2</c:v>
                </c:pt>
                <c:pt idx="2466">
                  <c:v>-1.7751518216542639E-2</c:v>
                </c:pt>
                <c:pt idx="2467">
                  <c:v>-1.7491663685740511E-2</c:v>
                </c:pt>
                <c:pt idx="2468">
                  <c:v>-1.8301653283335995E-2</c:v>
                </c:pt>
                <c:pt idx="2469">
                  <c:v>-1.3726239962501996E-2</c:v>
                </c:pt>
                <c:pt idx="2470">
                  <c:v>-1.342033526168418E-2</c:v>
                </c:pt>
                <c:pt idx="2471">
                  <c:v>-1.1015036202834616E-2</c:v>
                </c:pt>
                <c:pt idx="2472">
                  <c:v>-7.0374527677385945E-3</c:v>
                </c:pt>
                <c:pt idx="2473">
                  <c:v>-9.2741753113525505E-3</c:v>
                </c:pt>
                <c:pt idx="2474">
                  <c:v>-8.0554904548687523E-3</c:v>
                </c:pt>
                <c:pt idx="2475">
                  <c:v>-6.9116371246602526E-3</c:v>
                </c:pt>
                <c:pt idx="2476">
                  <c:v>-7.4757517073511526E-3</c:v>
                </c:pt>
                <c:pt idx="2477">
                  <c:v>-8.9304436851648239E-3</c:v>
                </c:pt>
                <c:pt idx="2478">
                  <c:v>-7.6953123393898037E-3</c:v>
                </c:pt>
                <c:pt idx="2479">
                  <c:v>-5.3640224823507943E-3</c:v>
                </c:pt>
                <c:pt idx="2480">
                  <c:v>-6.8968352842981862E-3</c:v>
                </c:pt>
                <c:pt idx="2481">
                  <c:v>-6.1912808937022445E-3</c:v>
                </c:pt>
                <c:pt idx="2482">
                  <c:v>-7.9971054178846757E-3</c:v>
                </c:pt>
                <c:pt idx="2483">
                  <c:v>-9.3226924547618051E-3</c:v>
                </c:pt>
                <c:pt idx="2484">
                  <c:v>-8.5957576280872861E-3</c:v>
                </c:pt>
                <c:pt idx="2485">
                  <c:v>-8.9929403444716227E-3</c:v>
                </c:pt>
                <c:pt idx="2486">
                  <c:v>-1.0378557067262095E-2</c:v>
                </c:pt>
                <c:pt idx="2487">
                  <c:v>-9.6713580277368871E-3</c:v>
                </c:pt>
                <c:pt idx="2488">
                  <c:v>-1.0714887773268678E-2</c:v>
                </c:pt>
                <c:pt idx="2489">
                  <c:v>-6.0095471870336148E-3</c:v>
                </c:pt>
                <c:pt idx="2490">
                  <c:v>-5.2258719723040636E-3</c:v>
                </c:pt>
                <c:pt idx="2491">
                  <c:v>-6.3277867548198197E-3</c:v>
                </c:pt>
                <c:pt idx="2492">
                  <c:v>-7.5250911752249294E-3</c:v>
                </c:pt>
                <c:pt idx="2493">
                  <c:v>-9.1047764716523094E-3</c:v>
                </c:pt>
                <c:pt idx="2494">
                  <c:v>-8.6878579681184398E-3</c:v>
                </c:pt>
                <c:pt idx="2495">
                  <c:v>-8.4255364639225228E-3</c:v>
                </c:pt>
                <c:pt idx="2496">
                  <c:v>-7.6599523874134601E-3</c:v>
                </c:pt>
                <c:pt idx="2497">
                  <c:v>-8.3704407247967572E-3</c:v>
                </c:pt>
                <c:pt idx="2498">
                  <c:v>-6.0465517879388919E-3</c:v>
                </c:pt>
                <c:pt idx="2499">
                  <c:v>-1.18406499652568E-2</c:v>
                </c:pt>
                <c:pt idx="2500">
                  <c:v>-1.0681994794686123E-2</c:v>
                </c:pt>
                <c:pt idx="2501">
                  <c:v>-1.4329826119491962E-2</c:v>
                </c:pt>
                <c:pt idx="2502">
                  <c:v>-1.4543630480278513E-2</c:v>
                </c:pt>
                <c:pt idx="2503">
                  <c:v>-1.7302529058890737E-2</c:v>
                </c:pt>
                <c:pt idx="2504">
                  <c:v>-1.4226213236956942E-2</c:v>
                </c:pt>
                <c:pt idx="2505">
                  <c:v>-1.3349615357731714E-2</c:v>
                </c:pt>
                <c:pt idx="2506">
                  <c:v>-1.3118542183189197E-2</c:v>
                </c:pt>
                <c:pt idx="2507">
                  <c:v>-1.6570660285428862E-2</c:v>
                </c:pt>
                <c:pt idx="2508">
                  <c:v>-1.7433278648756323E-2</c:v>
                </c:pt>
                <c:pt idx="2509">
                  <c:v>-1.3951556865792525E-2</c:v>
                </c:pt>
                <c:pt idx="2510">
                  <c:v>-1.4973706175245516E-2</c:v>
                </c:pt>
                <c:pt idx="2511">
                  <c:v>-1.3811761706816639E-2</c:v>
                </c:pt>
                <c:pt idx="2512">
                  <c:v>-1.242367801063271E-2</c:v>
                </c:pt>
                <c:pt idx="2513">
                  <c:v>-1.0670482252182256E-2</c:v>
                </c:pt>
                <c:pt idx="2514">
                  <c:v>-1.1004345984795272E-2</c:v>
                </c:pt>
                <c:pt idx="2515">
                  <c:v>-6.3689029780480411E-3</c:v>
                </c:pt>
                <c:pt idx="2516">
                  <c:v>-8.0752262420182852E-3</c:v>
                </c:pt>
                <c:pt idx="2517">
                  <c:v>-6.9823570286127179E-3</c:v>
                </c:pt>
                <c:pt idx="2518">
                  <c:v>-3.9882736531353657E-3</c:v>
                </c:pt>
                <c:pt idx="2519">
                  <c:v>-4.6486001981801417E-3</c:v>
                </c:pt>
                <c:pt idx="2520">
                  <c:v>-4.1198455674654744E-3</c:v>
                </c:pt>
                <c:pt idx="2521">
                  <c:v>-2.4538162022589294E-3</c:v>
                </c:pt>
                <c:pt idx="2522">
                  <c:v>-3.8509454675531574E-3</c:v>
                </c:pt>
                <c:pt idx="2523">
                  <c:v>-1.3560130420660066E-3</c:v>
                </c:pt>
                <c:pt idx="2524">
                  <c:v>-1.005702820161769E-3</c:v>
                </c:pt>
                <c:pt idx="2525">
                  <c:v>-4.5441649911805992E-3</c:v>
                </c:pt>
                <c:pt idx="2526">
                  <c:v>-3.7514442073408594E-3</c:v>
                </c:pt>
                <c:pt idx="2527">
                  <c:v>-3.8673919568443793E-3</c:v>
                </c:pt>
                <c:pt idx="2528">
                  <c:v>-5.4437879554134483E-3</c:v>
                </c:pt>
                <c:pt idx="2529">
                  <c:v>-5.1987352649734975E-3</c:v>
                </c:pt>
                <c:pt idx="2530">
                  <c:v>-5.7126880553259873E-3</c:v>
                </c:pt>
                <c:pt idx="2531">
                  <c:v>-7.8828023173103112E-3</c:v>
                </c:pt>
                <c:pt idx="2532">
                  <c:v>-5.5778268431374567E-3</c:v>
                </c:pt>
                <c:pt idx="2533">
                  <c:v>-7.6755765522401598E-3</c:v>
                </c:pt>
                <c:pt idx="2534">
                  <c:v>-1.0626076731095724E-2</c:v>
                </c:pt>
                <c:pt idx="2535">
                  <c:v>-8.8301201004880037E-3</c:v>
                </c:pt>
                <c:pt idx="2536">
                  <c:v>-9.3629863535255042E-3</c:v>
                </c:pt>
                <c:pt idx="2537">
                  <c:v>-1.3978693573123091E-2</c:v>
                </c:pt>
                <c:pt idx="2538">
                  <c:v>-1.2242766628428603E-2</c:v>
                </c:pt>
                <c:pt idx="2539">
                  <c:v>-7.789057328350002E-3</c:v>
                </c:pt>
                <c:pt idx="2540">
                  <c:v>-5.2110701319418862E-3</c:v>
                </c:pt>
                <c:pt idx="2541">
                  <c:v>-5.1156804940525324E-3</c:v>
                </c:pt>
                <c:pt idx="2542">
                  <c:v>-5.1715985576429313E-3</c:v>
                </c:pt>
                <c:pt idx="2543">
                  <c:v>-2.2778387668422884E-3</c:v>
                </c:pt>
                <c:pt idx="2544">
                  <c:v>-1.0731334262560344E-3</c:v>
                </c:pt>
                <c:pt idx="2545">
                  <c:v>-3.042600518887717E-5</c:v>
                </c:pt>
                <c:pt idx="2546">
                  <c:v>-4.3829893961255806E-4</c:v>
                </c:pt>
                <c:pt idx="2547">
                  <c:v>0</c:v>
                </c:pt>
                <c:pt idx="2548">
                  <c:v>-3.1496554345925576E-3</c:v>
                </c:pt>
                <c:pt idx="2549">
                  <c:v>-3.2703539092758804E-3</c:v>
                </c:pt>
                <c:pt idx="2550">
                  <c:v>-2.9698393396562217E-3</c:v>
                </c:pt>
                <c:pt idx="2551">
                  <c:v>-1.7948766371269631E-3</c:v>
                </c:pt>
                <c:pt idx="2552">
                  <c:v>-4.7540419620151209E-4</c:v>
                </c:pt>
                <c:pt idx="2553">
                  <c:v>-8.941540063273079E-4</c:v>
                </c:pt>
                <c:pt idx="2554">
                  <c:v>0</c:v>
                </c:pt>
                <c:pt idx="2555">
                  <c:v>0</c:v>
                </c:pt>
                <c:pt idx="2556">
                  <c:v>0</c:v>
                </c:pt>
                <c:pt idx="2557">
                  <c:v>-2.2159535558400334E-3</c:v>
                </c:pt>
                <c:pt idx="2558">
                  <c:v>0</c:v>
                </c:pt>
                <c:pt idx="2559">
                  <c:v>0</c:v>
                </c:pt>
                <c:pt idx="2560">
                  <c:v>-1.200986279344507E-3</c:v>
                </c:pt>
                <c:pt idx="2561">
                  <c:v>-5.0653843074455196E-5</c:v>
                </c:pt>
                <c:pt idx="2562">
                  <c:v>-2.0424936723546505E-3</c:v>
                </c:pt>
                <c:pt idx="2563">
                  <c:v>0</c:v>
                </c:pt>
                <c:pt idx="2564">
                  <c:v>0</c:v>
                </c:pt>
                <c:pt idx="2565">
                  <c:v>0</c:v>
                </c:pt>
                <c:pt idx="2566">
                  <c:v>-4.8918294218713854E-6</c:v>
                </c:pt>
                <c:pt idx="2567">
                  <c:v>-2.4858646512329052E-3</c:v>
                </c:pt>
                <c:pt idx="2568">
                  <c:v>-1.1397962553045815E-3</c:v>
                </c:pt>
                <c:pt idx="2569">
                  <c:v>-6.8974794848897236E-4</c:v>
                </c:pt>
                <c:pt idx="2570">
                  <c:v>-4.4026464797164433E-4</c:v>
                </c:pt>
                <c:pt idx="2571">
                  <c:v>0</c:v>
                </c:pt>
                <c:pt idx="2572">
                  <c:v>-1.3990321663324146E-3</c:v>
                </c:pt>
                <c:pt idx="2573">
                  <c:v>-2.1152518950489085E-3</c:v>
                </c:pt>
                <c:pt idx="2574">
                  <c:v>-1.6426609477729892E-3</c:v>
                </c:pt>
                <c:pt idx="2575">
                  <c:v>-1.7200680856889194E-3</c:v>
                </c:pt>
                <c:pt idx="2576">
                  <c:v>-2.7491756139812473E-3</c:v>
                </c:pt>
                <c:pt idx="2577">
                  <c:v>-3.699246380401422E-3</c:v>
                </c:pt>
                <c:pt idx="2578">
                  <c:v>-6.8933093344045737E-3</c:v>
                </c:pt>
                <c:pt idx="2579">
                  <c:v>-9.7264105821260882E-3</c:v>
                </c:pt>
                <c:pt idx="2580">
                  <c:v>-5.7444244453370708E-3</c:v>
                </c:pt>
                <c:pt idx="2581">
                  <c:v>-5.6482766319257971E-3</c:v>
                </c:pt>
                <c:pt idx="2582">
                  <c:v>-7.1410121757353728E-3</c:v>
                </c:pt>
                <c:pt idx="2583">
                  <c:v>-1.0636555561621353E-2</c:v>
                </c:pt>
                <c:pt idx="2584">
                  <c:v>-1.2843881210191421E-2</c:v>
                </c:pt>
                <c:pt idx="2585">
                  <c:v>-1.1519811745840491E-2</c:v>
                </c:pt>
                <c:pt idx="2586">
                  <c:v>-1.0086557476429503E-2</c:v>
                </c:pt>
                <c:pt idx="2587">
                  <c:v>-1.0734332998988738E-2</c:v>
                </c:pt>
                <c:pt idx="2588">
                  <c:v>-8.0992310619363295E-3</c:v>
                </c:pt>
                <c:pt idx="2589">
                  <c:v>-4.9002792360648417E-3</c:v>
                </c:pt>
                <c:pt idx="2590">
                  <c:v>-3.405914068299154E-3</c:v>
                </c:pt>
                <c:pt idx="2591">
                  <c:v>-2.7369534343102409E-3</c:v>
                </c:pt>
                <c:pt idx="2592">
                  <c:v>-6.3881259080067476E-4</c:v>
                </c:pt>
                <c:pt idx="2593">
                  <c:v>-6.787383777255851E-4</c:v>
                </c:pt>
                <c:pt idx="2594">
                  <c:v>-2.3629547363790415E-5</c:v>
                </c:pt>
                <c:pt idx="2595">
                  <c:v>-1.7656975564603883E-3</c:v>
                </c:pt>
                <c:pt idx="2596">
                  <c:v>0</c:v>
                </c:pt>
                <c:pt idx="2597">
                  <c:v>0</c:v>
                </c:pt>
                <c:pt idx="2598">
                  <c:v>-4.8845973178668345E-5</c:v>
                </c:pt>
                <c:pt idx="2599">
                  <c:v>0</c:v>
                </c:pt>
                <c:pt idx="2600">
                  <c:v>0</c:v>
                </c:pt>
                <c:pt idx="2601">
                  <c:v>-1.2828621646714389E-3</c:v>
                </c:pt>
                <c:pt idx="2602">
                  <c:v>0</c:v>
                </c:pt>
                <c:pt idx="2603">
                  <c:v>-7.7400826637574749E-4</c:v>
                </c:pt>
                <c:pt idx="2604">
                  <c:v>-9.2507388814488944E-4</c:v>
                </c:pt>
                <c:pt idx="2605">
                  <c:v>-1.267001989030403E-4</c:v>
                </c:pt>
                <c:pt idx="2606">
                  <c:v>-1.5658845095198881E-3</c:v>
                </c:pt>
                <c:pt idx="2607">
                  <c:v>-1.7453764579660191E-3</c:v>
                </c:pt>
                <c:pt idx="2608">
                  <c:v>0</c:v>
                </c:pt>
                <c:pt idx="2609">
                  <c:v>0</c:v>
                </c:pt>
                <c:pt idx="2610">
                  <c:v>0</c:v>
                </c:pt>
                <c:pt idx="2611">
                  <c:v>-3.11806029113737E-4</c:v>
                </c:pt>
                <c:pt idx="2612">
                  <c:v>-3.8874517915488127E-4</c:v>
                </c:pt>
                <c:pt idx="2613">
                  <c:v>-6.0579457084963817E-4</c:v>
                </c:pt>
                <c:pt idx="2614">
                  <c:v>-4.4179269839366153E-3</c:v>
                </c:pt>
                <c:pt idx="2615">
                  <c:v>-1.0072549569059674E-2</c:v>
                </c:pt>
                <c:pt idx="2616">
                  <c:v>-1.2838309541588488E-2</c:v>
                </c:pt>
                <c:pt idx="2617">
                  <c:v>-1.1030644458518424E-2</c:v>
                </c:pt>
                <c:pt idx="2618">
                  <c:v>-1.1885883852658985E-2</c:v>
                </c:pt>
                <c:pt idx="2619">
                  <c:v>-9.1209337659202694E-3</c:v>
                </c:pt>
                <c:pt idx="2620">
                  <c:v>-8.2268198538641979E-3</c:v>
                </c:pt>
                <c:pt idx="2621">
                  <c:v>-1.5199936504954104E-2</c:v>
                </c:pt>
                <c:pt idx="2622">
                  <c:v>-1.5821118905811837E-2</c:v>
                </c:pt>
                <c:pt idx="2623">
                  <c:v>-1.5301982114482193E-2</c:v>
                </c:pt>
                <c:pt idx="2624">
                  <c:v>-1.4415157174535231E-2</c:v>
                </c:pt>
                <c:pt idx="2625">
                  <c:v>-8.7945497925882021E-3</c:v>
                </c:pt>
                <c:pt idx="2626">
                  <c:v>-1.0108184543815568E-2</c:v>
                </c:pt>
                <c:pt idx="2627">
                  <c:v>-7.1796375275158253E-3</c:v>
                </c:pt>
                <c:pt idx="2628">
                  <c:v>-5.3249990686313753E-3</c:v>
                </c:pt>
                <c:pt idx="2629">
                  <c:v>-4.266478341224289E-3</c:v>
                </c:pt>
                <c:pt idx="2630">
                  <c:v>-4.3191209175681422E-3</c:v>
                </c:pt>
                <c:pt idx="2631">
                  <c:v>-3.650965140895801E-3</c:v>
                </c:pt>
                <c:pt idx="2632">
                  <c:v>-3.2387332738337271E-3</c:v>
                </c:pt>
                <c:pt idx="2633">
                  <c:v>-4.7499801577981504E-3</c:v>
                </c:pt>
                <c:pt idx="2634">
                  <c:v>-4.8998090289306129E-3</c:v>
                </c:pt>
                <c:pt idx="2635">
                  <c:v>-2.7309348835626857E-3</c:v>
                </c:pt>
                <c:pt idx="2636">
                  <c:v>-1.979360870530078E-3</c:v>
                </c:pt>
                <c:pt idx="2637">
                  <c:v>-9.9453975000440842E-4</c:v>
                </c:pt>
                <c:pt idx="2638">
                  <c:v>0</c:v>
                </c:pt>
                <c:pt idx="2639">
                  <c:v>0</c:v>
                </c:pt>
                <c:pt idx="2640">
                  <c:v>-4.1750291337563361E-3</c:v>
                </c:pt>
                <c:pt idx="2641">
                  <c:v>-4.3546872976822915E-3</c:v>
                </c:pt>
                <c:pt idx="2642">
                  <c:v>-7.7932798135438297E-4</c:v>
                </c:pt>
                <c:pt idx="2643">
                  <c:v>-1.464780525702869E-4</c:v>
                </c:pt>
                <c:pt idx="2644">
                  <c:v>-3.1229768224781962E-3</c:v>
                </c:pt>
                <c:pt idx="2645">
                  <c:v>-2.3598342612974887E-3</c:v>
                </c:pt>
                <c:pt idx="2646">
                  <c:v>-3.1488734947558994E-3</c:v>
                </c:pt>
                <c:pt idx="2647">
                  <c:v>-4.8523889680175403E-3</c:v>
                </c:pt>
                <c:pt idx="2648">
                  <c:v>-5.6916030040139454E-3</c:v>
                </c:pt>
                <c:pt idx="2649">
                  <c:v>-8.2375695973067042E-3</c:v>
                </c:pt>
                <c:pt idx="2650">
                  <c:v>-1.1065971772627248E-2</c:v>
                </c:pt>
                <c:pt idx="2651">
                  <c:v>-8.7644050239543692E-3</c:v>
                </c:pt>
                <c:pt idx="2652">
                  <c:v>-6.1690728991323773E-3</c:v>
                </c:pt>
                <c:pt idx="2653">
                  <c:v>-8.3338728473391077E-3</c:v>
                </c:pt>
                <c:pt idx="2654">
                  <c:v>-6.816489706072737E-3</c:v>
                </c:pt>
                <c:pt idx="2655">
                  <c:v>-5.0895053735594553E-3</c:v>
                </c:pt>
                <c:pt idx="2656">
                  <c:v>-6.1116146575165287E-3</c:v>
                </c:pt>
                <c:pt idx="2657">
                  <c:v>-4.5570050498510151E-3</c:v>
                </c:pt>
                <c:pt idx="2658">
                  <c:v>-4.7301890457075446E-3</c:v>
                </c:pt>
                <c:pt idx="2659">
                  <c:v>-3.3180111355690656E-3</c:v>
                </c:pt>
                <c:pt idx="2660">
                  <c:v>-3.5179010747118378E-3</c:v>
                </c:pt>
                <c:pt idx="2661">
                  <c:v>-1.7091803703223052E-3</c:v>
                </c:pt>
                <c:pt idx="2662">
                  <c:v>-4.4509905477141398E-4</c:v>
                </c:pt>
                <c:pt idx="2663">
                  <c:v>0</c:v>
                </c:pt>
                <c:pt idx="2664">
                  <c:v>0</c:v>
                </c:pt>
                <c:pt idx="2665">
                  <c:v>0</c:v>
                </c:pt>
                <c:pt idx="2666">
                  <c:v>-5.9129671280346852E-3</c:v>
                </c:pt>
                <c:pt idx="2667">
                  <c:v>-6.8926780729553494E-3</c:v>
                </c:pt>
                <c:pt idx="2668">
                  <c:v>-5.0091151854388949E-3</c:v>
                </c:pt>
                <c:pt idx="2669">
                  <c:v>-7.9974756706460148E-3</c:v>
                </c:pt>
                <c:pt idx="2670">
                  <c:v>-1.2657962249655208E-2</c:v>
                </c:pt>
                <c:pt idx="2671">
                  <c:v>-9.8035655345114492E-3</c:v>
                </c:pt>
                <c:pt idx="2672">
                  <c:v>-8.1443516113178793E-3</c:v>
                </c:pt>
                <c:pt idx="2673">
                  <c:v>-6.0671061646737634E-3</c:v>
                </c:pt>
                <c:pt idx="2674">
                  <c:v>-6.423804877733863E-3</c:v>
                </c:pt>
                <c:pt idx="2675">
                  <c:v>-5.5950049268002067E-3</c:v>
                </c:pt>
                <c:pt idx="2676">
                  <c:v>-4.5910836619884599E-3</c:v>
                </c:pt>
                <c:pt idx="2677">
                  <c:v>-2.8729579603935518E-3</c:v>
                </c:pt>
                <c:pt idx="2678">
                  <c:v>-3.4023569553424116E-3</c:v>
                </c:pt>
                <c:pt idx="2679">
                  <c:v>-3.5040402988845143E-3</c:v>
                </c:pt>
                <c:pt idx="2680">
                  <c:v>-4.535399926239303E-3</c:v>
                </c:pt>
                <c:pt idx="2681">
                  <c:v>-5.6498816518862904E-3</c:v>
                </c:pt>
                <c:pt idx="2682">
                  <c:v>-2.7591694569061298E-3</c:v>
                </c:pt>
                <c:pt idx="2683">
                  <c:v>-1.8012477998872178E-3</c:v>
                </c:pt>
                <c:pt idx="2684">
                  <c:v>-2.3371028801404403E-3</c:v>
                </c:pt>
                <c:pt idx="2685">
                  <c:v>-1.7261958082253059E-3</c:v>
                </c:pt>
                <c:pt idx="2686">
                  <c:v>-2.6179425908755549E-3</c:v>
                </c:pt>
                <c:pt idx="2687">
                  <c:v>-4.5999607792818198E-3</c:v>
                </c:pt>
                <c:pt idx="2688">
                  <c:v>-4.792029317083335E-3</c:v>
                </c:pt>
                <c:pt idx="2689">
                  <c:v>-1.1096396616688819E-3</c:v>
                </c:pt>
                <c:pt idx="2690">
                  <c:v>-9.9585115818134895E-4</c:v>
                </c:pt>
                <c:pt idx="2691">
                  <c:v>0</c:v>
                </c:pt>
                <c:pt idx="2692">
                  <c:v>0</c:v>
                </c:pt>
                <c:pt idx="2693">
                  <c:v>-4.0419202576547075E-4</c:v>
                </c:pt>
                <c:pt idx="2694">
                  <c:v>-3.9687960541858747E-3</c:v>
                </c:pt>
                <c:pt idx="2695">
                  <c:v>-3.7558519451842409E-3</c:v>
                </c:pt>
                <c:pt idx="2696">
                  <c:v>-3.945492736596945E-3</c:v>
                </c:pt>
                <c:pt idx="2697">
                  <c:v>-5.4127981820198956E-3</c:v>
                </c:pt>
                <c:pt idx="2698">
                  <c:v>-1.8522119669768244E-3</c:v>
                </c:pt>
                <c:pt idx="2699">
                  <c:v>-2.3624742659056341E-4</c:v>
                </c:pt>
                <c:pt idx="2700">
                  <c:v>0</c:v>
                </c:pt>
                <c:pt idx="2701">
                  <c:v>-1.4360934407431358E-4</c:v>
                </c:pt>
                <c:pt idx="2702">
                  <c:v>0</c:v>
                </c:pt>
                <c:pt idx="2703">
                  <c:v>-1.2155701743865599E-4</c:v>
                </c:pt>
                <c:pt idx="2704">
                  <c:v>-1.0916140052876777E-3</c:v>
                </c:pt>
                <c:pt idx="2705">
                  <c:v>-1.2819467036456755E-3</c:v>
                </c:pt>
                <c:pt idx="2706">
                  <c:v>0</c:v>
                </c:pt>
                <c:pt idx="2707">
                  <c:v>-1.5901136343651201E-3</c:v>
                </c:pt>
                <c:pt idx="2708">
                  <c:v>-7.4349204623402887E-4</c:v>
                </c:pt>
                <c:pt idx="2709">
                  <c:v>0</c:v>
                </c:pt>
                <c:pt idx="2710">
                  <c:v>0</c:v>
                </c:pt>
                <c:pt idx="2711">
                  <c:v>-8.5828989516778531E-4</c:v>
                </c:pt>
                <c:pt idx="2712">
                  <c:v>-1.5097629481264363E-3</c:v>
                </c:pt>
                <c:pt idx="2713">
                  <c:v>-7.9544939311193552E-4</c:v>
                </c:pt>
                <c:pt idx="2714">
                  <c:v>-2.3927117744806381E-3</c:v>
                </c:pt>
                <c:pt idx="2715">
                  <c:v>-8.6385804091959617E-4</c:v>
                </c:pt>
                <c:pt idx="2716">
                  <c:v>-1.728511531232213E-3</c:v>
                </c:pt>
                <c:pt idx="2717">
                  <c:v>-2.7920273698228693E-3</c:v>
                </c:pt>
                <c:pt idx="2718">
                  <c:v>-1.0579476928385123E-4</c:v>
                </c:pt>
                <c:pt idx="2719">
                  <c:v>0</c:v>
                </c:pt>
                <c:pt idx="2720">
                  <c:v>-1.0968177987874528E-3</c:v>
                </c:pt>
                <c:pt idx="2721">
                  <c:v>-1.3422317740419132E-4</c:v>
                </c:pt>
                <c:pt idx="2722">
                  <c:v>-2.1340690987270428E-3</c:v>
                </c:pt>
                <c:pt idx="2723">
                  <c:v>-1.859268984041762E-3</c:v>
                </c:pt>
                <c:pt idx="2724">
                  <c:v>-1.7560203860386148E-3</c:v>
                </c:pt>
                <c:pt idx="2725">
                  <c:v>-3.1109596798339911E-3</c:v>
                </c:pt>
                <c:pt idx="2726">
                  <c:v>-3.1840279184209841E-3</c:v>
                </c:pt>
                <c:pt idx="2727">
                  <c:v>-9.7371370116838829E-4</c:v>
                </c:pt>
                <c:pt idx="2728">
                  <c:v>-1.3906791931043161E-3</c:v>
                </c:pt>
                <c:pt idx="2729">
                  <c:v>0</c:v>
                </c:pt>
                <c:pt idx="2730">
                  <c:v>0</c:v>
                </c:pt>
                <c:pt idx="2731">
                  <c:v>-2.0886645215231203E-3</c:v>
                </c:pt>
                <c:pt idx="2732">
                  <c:v>-4.4940332919506387E-3</c:v>
                </c:pt>
                <c:pt idx="2733">
                  <c:v>-5.2232448250525421E-3</c:v>
                </c:pt>
                <c:pt idx="2734">
                  <c:v>-5.9199941726417737E-3</c:v>
                </c:pt>
                <c:pt idx="2735">
                  <c:v>-5.2074096126072389E-3</c:v>
                </c:pt>
                <c:pt idx="2736">
                  <c:v>-4.2470039778054192E-3</c:v>
                </c:pt>
                <c:pt idx="2737">
                  <c:v>-3.7537371101370454E-3</c:v>
                </c:pt>
                <c:pt idx="2738">
                  <c:v>-6.6982948643234952E-4</c:v>
                </c:pt>
                <c:pt idx="2739">
                  <c:v>-3.0807405812156574E-3</c:v>
                </c:pt>
                <c:pt idx="2740">
                  <c:v>-2.0221566292533133E-3</c:v>
                </c:pt>
                <c:pt idx="2741">
                  <c:v>-2.4275380678506764E-3</c:v>
                </c:pt>
                <c:pt idx="2742">
                  <c:v>-5.843193392282009E-4</c:v>
                </c:pt>
                <c:pt idx="2743">
                  <c:v>0</c:v>
                </c:pt>
                <c:pt idx="2744">
                  <c:v>-1.0729231978329201E-3</c:v>
                </c:pt>
                <c:pt idx="2745">
                  <c:v>-2.2454693307638607E-4</c:v>
                </c:pt>
                <c:pt idx="2746">
                  <c:v>-6.7759409030421214E-4</c:v>
                </c:pt>
                <c:pt idx="2747">
                  <c:v>-3.3761105782947887E-4</c:v>
                </c:pt>
                <c:pt idx="2748">
                  <c:v>-2.2209589260964169E-3</c:v>
                </c:pt>
                <c:pt idx="2749">
                  <c:v>-5.9299366129309528E-3</c:v>
                </c:pt>
                <c:pt idx="2750">
                  <c:v>-8.2568437398450323E-3</c:v>
                </c:pt>
                <c:pt idx="2751">
                  <c:v>-6.5553472610413444E-3</c:v>
                </c:pt>
                <c:pt idx="2752">
                  <c:v>-9.2586076983228738E-3</c:v>
                </c:pt>
                <c:pt idx="2753">
                  <c:v>-7.9303018970262595E-3</c:v>
                </c:pt>
                <c:pt idx="2754">
                  <c:v>-9.5993813890125068E-3</c:v>
                </c:pt>
                <c:pt idx="2755">
                  <c:v>-9.8863903210784088E-3</c:v>
                </c:pt>
                <c:pt idx="2756">
                  <c:v>-7.5610645105944618E-3</c:v>
                </c:pt>
                <c:pt idx="2757">
                  <c:v>-7.0669031261835213E-3</c:v>
                </c:pt>
                <c:pt idx="2758">
                  <c:v>-5.8405922346294048E-3</c:v>
                </c:pt>
                <c:pt idx="2759">
                  <c:v>-3.9967772771154486E-3</c:v>
                </c:pt>
                <c:pt idx="2760">
                  <c:v>-3.9358965945559543E-3</c:v>
                </c:pt>
                <c:pt idx="2761">
                  <c:v>-3.6733980671569411E-3</c:v>
                </c:pt>
                <c:pt idx="2762">
                  <c:v>0</c:v>
                </c:pt>
                <c:pt idx="2763">
                  <c:v>0</c:v>
                </c:pt>
                <c:pt idx="2764">
                  <c:v>0</c:v>
                </c:pt>
                <c:pt idx="2765">
                  <c:v>0</c:v>
                </c:pt>
                <c:pt idx="2766">
                  <c:v>0</c:v>
                </c:pt>
                <c:pt idx="2767">
                  <c:v>0</c:v>
                </c:pt>
                <c:pt idx="2768">
                  <c:v>-1.1410302388709104E-3</c:v>
                </c:pt>
                <c:pt idx="2769">
                  <c:v>-2.8541451023200715E-3</c:v>
                </c:pt>
                <c:pt idx="2770">
                  <c:v>-1.8041461617359644E-3</c:v>
                </c:pt>
                <c:pt idx="2771">
                  <c:v>-1.0311648788695615E-3</c:v>
                </c:pt>
                <c:pt idx="2772">
                  <c:v>-2.0474194588817607E-3</c:v>
                </c:pt>
                <c:pt idx="2773">
                  <c:v>-9.6132190001152473E-4</c:v>
                </c:pt>
                <c:pt idx="2774">
                  <c:v>0</c:v>
                </c:pt>
                <c:pt idx="2775">
                  <c:v>0</c:v>
                </c:pt>
                <c:pt idx="2776">
                  <c:v>-2.4721087415514598E-3</c:v>
                </c:pt>
                <c:pt idx="2777">
                  <c:v>-5.0910135802008094E-3</c:v>
                </c:pt>
                <c:pt idx="2778">
                  <c:v>-3.5676136576590078E-3</c:v>
                </c:pt>
                <c:pt idx="2779">
                  <c:v>-3.4426808090651795E-3</c:v>
                </c:pt>
                <c:pt idx="2780">
                  <c:v>-5.3994415501668058E-3</c:v>
                </c:pt>
                <c:pt idx="2781">
                  <c:v>-4.3859238159490443E-3</c:v>
                </c:pt>
                <c:pt idx="2782">
                  <c:v>-4.3828004947341626E-3</c:v>
                </c:pt>
                <c:pt idx="2783">
                  <c:v>-3.1600202391215415E-3</c:v>
                </c:pt>
                <c:pt idx="2784">
                  <c:v>-2.6844945841610901E-3</c:v>
                </c:pt>
                <c:pt idx="2785">
                  <c:v>0</c:v>
                </c:pt>
                <c:pt idx="2786">
                  <c:v>-3.1202804977790155E-3</c:v>
                </c:pt>
                <c:pt idx="2787">
                  <c:v>-6.1625929671279556E-3</c:v>
                </c:pt>
                <c:pt idx="2788">
                  <c:v>-3.2169608530325799E-3</c:v>
                </c:pt>
                <c:pt idx="2789">
                  <c:v>-5.3517254714532392E-3</c:v>
                </c:pt>
                <c:pt idx="2790">
                  <c:v>-3.6013432331938322E-3</c:v>
                </c:pt>
                <c:pt idx="2791">
                  <c:v>-4.4808225938870461E-3</c:v>
                </c:pt>
                <c:pt idx="2792">
                  <c:v>-3.051668632760518E-3</c:v>
                </c:pt>
                <c:pt idx="2793">
                  <c:v>-4.9876147786839242E-3</c:v>
                </c:pt>
                <c:pt idx="2794">
                  <c:v>-1.0130385933943997E-2</c:v>
                </c:pt>
                <c:pt idx="2795">
                  <c:v>-5.1045668213293149E-3</c:v>
                </c:pt>
                <c:pt idx="2796">
                  <c:v>-5.0445314394379492E-3</c:v>
                </c:pt>
                <c:pt idx="2797">
                  <c:v>-1.047344525903704E-2</c:v>
                </c:pt>
                <c:pt idx="2798">
                  <c:v>-9.0021885625580778E-3</c:v>
                </c:pt>
                <c:pt idx="2799">
                  <c:v>-1.3122019184813039E-2</c:v>
                </c:pt>
                <c:pt idx="2800">
                  <c:v>-1.6147178687907271E-2</c:v>
                </c:pt>
                <c:pt idx="2801">
                  <c:v>-2.0104056130743064E-2</c:v>
                </c:pt>
                <c:pt idx="2802">
                  <c:v>-1.8884636166093705E-2</c:v>
                </c:pt>
                <c:pt idx="2803">
                  <c:v>-2.3974389062021206E-2</c:v>
                </c:pt>
                <c:pt idx="2804">
                  <c:v>-2.9156144231496484E-2</c:v>
                </c:pt>
                <c:pt idx="2805">
                  <c:v>-2.1838844763316323E-2</c:v>
                </c:pt>
                <c:pt idx="2806">
                  <c:v>-2.0175007036614567E-2</c:v>
                </c:pt>
                <c:pt idx="2807">
                  <c:v>-1.3866613856322041E-2</c:v>
                </c:pt>
                <c:pt idx="2808">
                  <c:v>-1.2948930161697847E-2</c:v>
                </c:pt>
                <c:pt idx="2809">
                  <c:v>-1.0929558225354019E-2</c:v>
                </c:pt>
                <c:pt idx="2810">
                  <c:v>-9.4793528965512186E-3</c:v>
                </c:pt>
                <c:pt idx="2811">
                  <c:v>-1.0211472683511413E-2</c:v>
                </c:pt>
                <c:pt idx="2812">
                  <c:v>-8.3597320082926529E-3</c:v>
                </c:pt>
                <c:pt idx="2813">
                  <c:v>-8.3301041574891377E-3</c:v>
                </c:pt>
                <c:pt idx="2814">
                  <c:v>-3.7401263237996085E-3</c:v>
                </c:pt>
                <c:pt idx="2815">
                  <c:v>0</c:v>
                </c:pt>
                <c:pt idx="2816">
                  <c:v>-1.8413626394836458E-3</c:v>
                </c:pt>
                <c:pt idx="2817">
                  <c:v>-2.6118398216851135E-3</c:v>
                </c:pt>
                <c:pt idx="2818">
                  <c:v>-6.0315132950128358E-4</c:v>
                </c:pt>
                <c:pt idx="2819">
                  <c:v>0</c:v>
                </c:pt>
                <c:pt idx="2820">
                  <c:v>0</c:v>
                </c:pt>
                <c:pt idx="2821">
                  <c:v>0</c:v>
                </c:pt>
                <c:pt idx="2822">
                  <c:v>0</c:v>
                </c:pt>
                <c:pt idx="2823">
                  <c:v>-1.5514598531656265E-3</c:v>
                </c:pt>
                <c:pt idx="2824">
                  <c:v>-1.3723557921554441E-3</c:v>
                </c:pt>
                <c:pt idx="2825">
                  <c:v>-1.0769503928271806E-3</c:v>
                </c:pt>
                <c:pt idx="2826">
                  <c:v>-9.7150384608535312E-4</c:v>
                </c:pt>
                <c:pt idx="2827">
                  <c:v>-9.9243808698268321E-4</c:v>
                </c:pt>
                <c:pt idx="2828">
                  <c:v>-2.3834020932690381E-3</c:v>
                </c:pt>
                <c:pt idx="2829">
                  <c:v>-4.6675603778401076E-4</c:v>
                </c:pt>
                <c:pt idx="2830">
                  <c:v>0</c:v>
                </c:pt>
                <c:pt idx="2831">
                  <c:v>-9.6584294869084264E-4</c:v>
                </c:pt>
                <c:pt idx="2832">
                  <c:v>-1.0105864718729096E-3</c:v>
                </c:pt>
                <c:pt idx="2833">
                  <c:v>-1.7874266071219447E-3</c:v>
                </c:pt>
                <c:pt idx="2834">
                  <c:v>-2.4763225761170737E-4</c:v>
                </c:pt>
                <c:pt idx="2835">
                  <c:v>-1.666310518508074E-3</c:v>
                </c:pt>
                <c:pt idx="2836">
                  <c:v>-4.0847750905093072E-3</c:v>
                </c:pt>
                <c:pt idx="2837">
                  <c:v>-1.4395071423777273E-3</c:v>
                </c:pt>
                <c:pt idx="2838">
                  <c:v>0</c:v>
                </c:pt>
                <c:pt idx="2839">
                  <c:v>-4.2076783778455251E-3</c:v>
                </c:pt>
                <c:pt idx="2840">
                  <c:v>0</c:v>
                </c:pt>
                <c:pt idx="2841">
                  <c:v>-1.3719468795710954E-3</c:v>
                </c:pt>
                <c:pt idx="2842">
                  <c:v>-6.3511214492314449E-3</c:v>
                </c:pt>
                <c:pt idx="2843">
                  <c:v>-1.0450033971651673E-2</c:v>
                </c:pt>
                <c:pt idx="2844">
                  <c:v>-9.2096647232675632E-3</c:v>
                </c:pt>
                <c:pt idx="2845">
                  <c:v>-1.4535865676935988E-2</c:v>
                </c:pt>
                <c:pt idx="2846">
                  <c:v>-1.7626016360254959E-2</c:v>
                </c:pt>
                <c:pt idx="2847">
                  <c:v>-1.9422705066815982E-2</c:v>
                </c:pt>
                <c:pt idx="2848">
                  <c:v>-1.3767175305263946E-2</c:v>
                </c:pt>
                <c:pt idx="2849">
                  <c:v>-5.483170759295164E-3</c:v>
                </c:pt>
                <c:pt idx="2850">
                  <c:v>-2.6469418203726169E-3</c:v>
                </c:pt>
                <c:pt idx="2851">
                  <c:v>-1.263453043328977E-3</c:v>
                </c:pt>
                <c:pt idx="2852">
                  <c:v>0</c:v>
                </c:pt>
                <c:pt idx="2853">
                  <c:v>-1.0766497735126279E-5</c:v>
                </c:pt>
                <c:pt idx="2854">
                  <c:v>-1.3227411503213826E-4</c:v>
                </c:pt>
                <c:pt idx="2855">
                  <c:v>0</c:v>
                </c:pt>
                <c:pt idx="2856">
                  <c:v>0</c:v>
                </c:pt>
                <c:pt idx="2857">
                  <c:v>-1.8202384113278347E-3</c:v>
                </c:pt>
                <c:pt idx="2858">
                  <c:v>-2.72268376196938E-3</c:v>
                </c:pt>
                <c:pt idx="2859">
                  <c:v>-2.7664247355972948E-3</c:v>
                </c:pt>
                <c:pt idx="2860">
                  <c:v>-1.3352507739095021E-4</c:v>
                </c:pt>
                <c:pt idx="2861">
                  <c:v>-5.9948155435469719E-3</c:v>
                </c:pt>
                <c:pt idx="2862">
                  <c:v>-6.5243115400966945E-3</c:v>
                </c:pt>
                <c:pt idx="2863">
                  <c:v>-4.6357758190690435E-3</c:v>
                </c:pt>
                <c:pt idx="2864">
                  <c:v>0</c:v>
                </c:pt>
                <c:pt idx="2865">
                  <c:v>-2.3456722997009516E-3</c:v>
                </c:pt>
                <c:pt idx="2866">
                  <c:v>-2.3747730334222616E-3</c:v>
                </c:pt>
                <c:pt idx="2867">
                  <c:v>-1.8892502655442067E-3</c:v>
                </c:pt>
                <c:pt idx="2868">
                  <c:v>-3.1834671073641685E-3</c:v>
                </c:pt>
                <c:pt idx="2869">
                  <c:v>0</c:v>
                </c:pt>
                <c:pt idx="2870">
                  <c:v>0</c:v>
                </c:pt>
                <c:pt idx="2871">
                  <c:v>-2.5239216594213909E-3</c:v>
                </c:pt>
                <c:pt idx="2872">
                  <c:v>-1.2710999546089452E-3</c:v>
                </c:pt>
                <c:pt idx="2873">
                  <c:v>-9.7712477037947831E-4</c:v>
                </c:pt>
                <c:pt idx="2874">
                  <c:v>0</c:v>
                </c:pt>
                <c:pt idx="2875">
                  <c:v>0</c:v>
                </c:pt>
                <c:pt idx="2876">
                  <c:v>-1.7138359584114582E-3</c:v>
                </c:pt>
                <c:pt idx="2877">
                  <c:v>-6.7096452464709966E-3</c:v>
                </c:pt>
                <c:pt idx="2878">
                  <c:v>-8.0397081221705857E-3</c:v>
                </c:pt>
                <c:pt idx="2879">
                  <c:v>-7.3773052670791373E-3</c:v>
                </c:pt>
                <c:pt idx="2880">
                  <c:v>-7.1362266769606775E-3</c:v>
                </c:pt>
                <c:pt idx="2881">
                  <c:v>-6.8170416277386625E-3</c:v>
                </c:pt>
                <c:pt idx="2882">
                  <c:v>-6.4400277578340326E-3</c:v>
                </c:pt>
                <c:pt idx="2883">
                  <c:v>-5.2706839422131946E-3</c:v>
                </c:pt>
                <c:pt idx="2884">
                  <c:v>-3.4404393187915661E-3</c:v>
                </c:pt>
                <c:pt idx="2885">
                  <c:v>-2.6781503188847422E-3</c:v>
                </c:pt>
                <c:pt idx="2886">
                  <c:v>-3.4351821532749849E-3</c:v>
                </c:pt>
                <c:pt idx="2887">
                  <c:v>-1.4239408313532209E-3</c:v>
                </c:pt>
                <c:pt idx="2888">
                  <c:v>-5.2721859895032974E-4</c:v>
                </c:pt>
                <c:pt idx="2889">
                  <c:v>0</c:v>
                </c:pt>
                <c:pt idx="2890">
                  <c:v>0</c:v>
                </c:pt>
                <c:pt idx="2891">
                  <c:v>-2.2787085419329056E-4</c:v>
                </c:pt>
                <c:pt idx="2892">
                  <c:v>-7.4957517826712561E-5</c:v>
                </c:pt>
                <c:pt idx="2893">
                  <c:v>0</c:v>
                </c:pt>
                <c:pt idx="2894">
                  <c:v>-7.8547249911187222E-5</c:v>
                </c:pt>
                <c:pt idx="2895">
                  <c:v>0</c:v>
                </c:pt>
                <c:pt idx="2896">
                  <c:v>0</c:v>
                </c:pt>
                <c:pt idx="2897">
                  <c:v>0</c:v>
                </c:pt>
                <c:pt idx="2898">
                  <c:v>0</c:v>
                </c:pt>
                <c:pt idx="2899">
                  <c:v>0</c:v>
                </c:pt>
                <c:pt idx="2900">
                  <c:v>-2.1829348346109612E-3</c:v>
                </c:pt>
                <c:pt idx="2901">
                  <c:v>-1.2075494090203476E-3</c:v>
                </c:pt>
                <c:pt idx="2902">
                  <c:v>-2.2355982302132427E-3</c:v>
                </c:pt>
                <c:pt idx="2903">
                  <c:v>0</c:v>
                </c:pt>
                <c:pt idx="2904">
                  <c:v>0</c:v>
                </c:pt>
                <c:pt idx="2905">
                  <c:v>-3.4691068270387149E-4</c:v>
                </c:pt>
                <c:pt idx="2906">
                  <c:v>0</c:v>
                </c:pt>
                <c:pt idx="2907">
                  <c:v>-6.4644627964982604E-4</c:v>
                </c:pt>
                <c:pt idx="2908">
                  <c:v>0</c:v>
                </c:pt>
                <c:pt idx="2909">
                  <c:v>-6.0669023236092912E-4</c:v>
                </c:pt>
                <c:pt idx="2910">
                  <c:v>0</c:v>
                </c:pt>
                <c:pt idx="2911">
                  <c:v>0</c:v>
                </c:pt>
                <c:pt idx="2912">
                  <c:v>-2.6494654464935818E-3</c:v>
                </c:pt>
                <c:pt idx="2913">
                  <c:v>0</c:v>
                </c:pt>
                <c:pt idx="2914">
                  <c:v>0</c:v>
                </c:pt>
                <c:pt idx="2915">
                  <c:v>-8.4591144025580878E-4</c:v>
                </c:pt>
                <c:pt idx="2916">
                  <c:v>-5.6420973619144554E-3</c:v>
                </c:pt>
                <c:pt idx="2917">
                  <c:v>-5.2917111674235517E-3</c:v>
                </c:pt>
                <c:pt idx="2918">
                  <c:v>-9.3072249193488776E-3</c:v>
                </c:pt>
                <c:pt idx="2919">
                  <c:v>-9.4061833633996006E-3</c:v>
                </c:pt>
                <c:pt idx="2920">
                  <c:v>-8.5588058721207672E-3</c:v>
                </c:pt>
                <c:pt idx="2921">
                  <c:v>-4.540360018149614E-3</c:v>
                </c:pt>
                <c:pt idx="2922">
                  <c:v>-3.9935229865804001E-3</c:v>
                </c:pt>
                <c:pt idx="2923">
                  <c:v>-5.8561408112685065E-3</c:v>
                </c:pt>
                <c:pt idx="2924">
                  <c:v>-8.06328062635564E-3</c:v>
                </c:pt>
                <c:pt idx="2925">
                  <c:v>-7.3199927577077828E-3</c:v>
                </c:pt>
                <c:pt idx="2926">
                  <c:v>-8.983960668783042E-3</c:v>
                </c:pt>
                <c:pt idx="2927">
                  <c:v>-3.8168638383120346E-3</c:v>
                </c:pt>
                <c:pt idx="2928">
                  <c:v>-1.5672085435588512E-3</c:v>
                </c:pt>
                <c:pt idx="2929">
                  <c:v>0</c:v>
                </c:pt>
                <c:pt idx="2930">
                  <c:v>0</c:v>
                </c:pt>
                <c:pt idx="2931">
                  <c:v>-3.4996952348653743E-5</c:v>
                </c:pt>
                <c:pt idx="2932">
                  <c:v>-2.0064919346606258E-3</c:v>
                </c:pt>
                <c:pt idx="2933">
                  <c:v>0</c:v>
                </c:pt>
                <c:pt idx="2934">
                  <c:v>-3.5630101905292921E-3</c:v>
                </c:pt>
                <c:pt idx="2935">
                  <c:v>-8.6469949109210242E-3</c:v>
                </c:pt>
                <c:pt idx="2936">
                  <c:v>-5.5803027248730874E-3</c:v>
                </c:pt>
                <c:pt idx="2937">
                  <c:v>-5.3998234505162612E-3</c:v>
                </c:pt>
                <c:pt idx="2938">
                  <c:v>-3.9276074342906586E-3</c:v>
                </c:pt>
                <c:pt idx="2939">
                  <c:v>-4.6604406168606616E-3</c:v>
                </c:pt>
                <c:pt idx="2940">
                  <c:v>-5.3758080632025917E-3</c:v>
                </c:pt>
                <c:pt idx="2941">
                  <c:v>-4.982101259061178E-3</c:v>
                </c:pt>
                <c:pt idx="2942">
                  <c:v>-7.5524754406277594E-3</c:v>
                </c:pt>
                <c:pt idx="2943">
                  <c:v>-1.7102594462342746E-2</c:v>
                </c:pt>
                <c:pt idx="2944">
                  <c:v>-1.9057301441869234E-2</c:v>
                </c:pt>
                <c:pt idx="2945">
                  <c:v>-1.651239812563543E-2</c:v>
                </c:pt>
                <c:pt idx="2946">
                  <c:v>-1.4297888319716123E-2</c:v>
                </c:pt>
                <c:pt idx="2947">
                  <c:v>-2.3414274891766951E-2</c:v>
                </c:pt>
                <c:pt idx="2948">
                  <c:v>-2.4732937976987501E-2</c:v>
                </c:pt>
                <c:pt idx="2949">
                  <c:v>-1.9090049697296885E-2</c:v>
                </c:pt>
                <c:pt idx="2950">
                  <c:v>-1.298577488558128E-2</c:v>
                </c:pt>
                <c:pt idx="2951">
                  <c:v>-1.5155164872911353E-2</c:v>
                </c:pt>
                <c:pt idx="2952">
                  <c:v>-1.949758354261899E-2</c:v>
                </c:pt>
                <c:pt idx="2953">
                  <c:v>-1.9687523424099296E-2</c:v>
                </c:pt>
                <c:pt idx="2954">
                  <c:v>-1.7332559989345908E-2</c:v>
                </c:pt>
                <c:pt idx="2955">
                  <c:v>-1.6190737483434914E-2</c:v>
                </c:pt>
                <c:pt idx="2956">
                  <c:v>-1.6743819130657589E-2</c:v>
                </c:pt>
                <c:pt idx="2957">
                  <c:v>-8.9017035642472431E-3</c:v>
                </c:pt>
                <c:pt idx="2958">
                  <c:v>-9.9008892242957725E-3</c:v>
                </c:pt>
                <c:pt idx="2959">
                  <c:v>-9.2277306405049719E-3</c:v>
                </c:pt>
                <c:pt idx="2960">
                  <c:v>-6.9091541562266157E-3</c:v>
                </c:pt>
                <c:pt idx="2961">
                  <c:v>-7.4083831167460756E-3</c:v>
                </c:pt>
                <c:pt idx="2962">
                  <c:v>-7.3217821746152101E-3</c:v>
                </c:pt>
                <c:pt idx="2963">
                  <c:v>-4.5243534220835713E-3</c:v>
                </c:pt>
                <c:pt idx="2964">
                  <c:v>-6.5161750910947003E-3</c:v>
                </c:pt>
                <c:pt idx="2965">
                  <c:v>-8.8471231385345295E-3</c:v>
                </c:pt>
                <c:pt idx="2966">
                  <c:v>-8.7823543666888382E-3</c:v>
                </c:pt>
                <c:pt idx="2967">
                  <c:v>-1.7577080296539149E-2</c:v>
                </c:pt>
                <c:pt idx="2968">
                  <c:v>-1.9341847394585221E-2</c:v>
                </c:pt>
                <c:pt idx="2969">
                  <c:v>-1.8413252418458703E-2</c:v>
                </c:pt>
                <c:pt idx="2970">
                  <c:v>-1.7731360966553811E-2</c:v>
                </c:pt>
                <c:pt idx="2971">
                  <c:v>-2.1535980508238461E-2</c:v>
                </c:pt>
                <c:pt idx="2972">
                  <c:v>-2.3493598443802832E-2</c:v>
                </c:pt>
                <c:pt idx="2973">
                  <c:v>-1.9913850256054966E-2</c:v>
                </c:pt>
                <c:pt idx="2974">
                  <c:v>-1.3756450496645423E-2</c:v>
                </c:pt>
                <c:pt idx="2975">
                  <c:v>-1.9319287485290548E-2</c:v>
                </c:pt>
                <c:pt idx="2976">
                  <c:v>-2.1890389405866628E-2</c:v>
                </c:pt>
                <c:pt idx="2977">
                  <c:v>-1.8806959222600228E-2</c:v>
                </c:pt>
                <c:pt idx="2978">
                  <c:v>-1.897506693379547E-2</c:v>
                </c:pt>
                <c:pt idx="2979">
                  <c:v>-2.0377420005108782E-2</c:v>
                </c:pt>
                <c:pt idx="2980">
                  <c:v>-1.9031102837527292E-2</c:v>
                </c:pt>
                <c:pt idx="2981">
                  <c:v>-1.8507858489694273E-2</c:v>
                </c:pt>
                <c:pt idx="2982">
                  <c:v>-1.1739157962301738E-2</c:v>
                </c:pt>
                <c:pt idx="2983">
                  <c:v>-1.3965311592373131E-2</c:v>
                </c:pt>
                <c:pt idx="2984">
                  <c:v>-1.5175541565177308E-2</c:v>
                </c:pt>
                <c:pt idx="2985">
                  <c:v>-1.5305079108869135E-2</c:v>
                </c:pt>
                <c:pt idx="2986">
                  <c:v>-2.1175749698534085E-2</c:v>
                </c:pt>
                <c:pt idx="2987">
                  <c:v>-2.0221683857075123E-2</c:v>
                </c:pt>
                <c:pt idx="2988">
                  <c:v>-1.849912562158007E-2</c:v>
                </c:pt>
                <c:pt idx="2989">
                  <c:v>-1.9375323389022259E-2</c:v>
                </c:pt>
                <c:pt idx="2990">
                  <c:v>-1.6779478342123233E-2</c:v>
                </c:pt>
                <c:pt idx="2991">
                  <c:v>-2.0734739858774942E-2</c:v>
                </c:pt>
                <c:pt idx="2992">
                  <c:v>-1.4395405346989687E-2</c:v>
                </c:pt>
                <c:pt idx="2993">
                  <c:v>-2.3625319204523043E-2</c:v>
                </c:pt>
                <c:pt idx="2994">
                  <c:v>-2.1804516202745261E-2</c:v>
                </c:pt>
                <c:pt idx="2995">
                  <c:v>-2.2565003467676314E-2</c:v>
                </c:pt>
                <c:pt idx="2996">
                  <c:v>-1.2679396762580231E-2</c:v>
                </c:pt>
                <c:pt idx="2997">
                  <c:v>-1.0563859461953484E-2</c:v>
                </c:pt>
                <c:pt idx="2998">
                  <c:v>-8.4643324195358138E-3</c:v>
                </c:pt>
                <c:pt idx="2999">
                  <c:v>-6.3182300805098013E-3</c:v>
                </c:pt>
                <c:pt idx="3000">
                  <c:v>-3.7034638193635949E-3</c:v>
                </c:pt>
                <c:pt idx="3001">
                  <c:v>-4.4537627381616707E-3</c:v>
                </c:pt>
                <c:pt idx="3002">
                  <c:v>-8.8813268719812877E-3</c:v>
                </c:pt>
                <c:pt idx="3003">
                  <c:v>-7.8799579949042631E-3</c:v>
                </c:pt>
                <c:pt idx="3004">
                  <c:v>-1.1510647913317684E-2</c:v>
                </c:pt>
                <c:pt idx="3005">
                  <c:v>-1.2780552484901286E-2</c:v>
                </c:pt>
                <c:pt idx="3006">
                  <c:v>-1.9967702942758181E-2</c:v>
                </c:pt>
                <c:pt idx="3007">
                  <c:v>-1.5887998055481356E-2</c:v>
                </c:pt>
                <c:pt idx="3008">
                  <c:v>-1.3846690133824002E-2</c:v>
                </c:pt>
                <c:pt idx="3009">
                  <c:v>-9.1396742203549985E-3</c:v>
                </c:pt>
                <c:pt idx="3010">
                  <c:v>-1.2351914208303727E-2</c:v>
                </c:pt>
                <c:pt idx="3011">
                  <c:v>-1.1616897808705118E-2</c:v>
                </c:pt>
                <c:pt idx="3012">
                  <c:v>-1.1875245157078829E-2</c:v>
                </c:pt>
                <c:pt idx="3013">
                  <c:v>-1.1001230606665025E-2</c:v>
                </c:pt>
                <c:pt idx="3014">
                  <c:v>-1.0635905623894271E-2</c:v>
                </c:pt>
                <c:pt idx="3015">
                  <c:v>-1.1752985003482319E-2</c:v>
                </c:pt>
                <c:pt idx="3016">
                  <c:v>-1.1228285177630193E-2</c:v>
                </c:pt>
                <c:pt idx="3017">
                  <c:v>-1.3243394494945604E-2</c:v>
                </c:pt>
                <c:pt idx="3018">
                  <c:v>-2.0228233508160609E-2</c:v>
                </c:pt>
                <c:pt idx="3019">
                  <c:v>-1.9314921051233558E-2</c:v>
                </c:pt>
                <c:pt idx="3020">
                  <c:v>-1.8321557303261349E-2</c:v>
                </c:pt>
                <c:pt idx="3021">
                  <c:v>-1.5015438983086549E-2</c:v>
                </c:pt>
                <c:pt idx="3022">
                  <c:v>-1.6337740763354591E-2</c:v>
                </c:pt>
                <c:pt idx="3023">
                  <c:v>-1.9263251581558727E-2</c:v>
                </c:pt>
                <c:pt idx="3024">
                  <c:v>-2.7094451062826597E-2</c:v>
                </c:pt>
                <c:pt idx="3025">
                  <c:v>-3.8910021621126001E-2</c:v>
                </c:pt>
                <c:pt idx="3026">
                  <c:v>-5.61152272838088E-2</c:v>
                </c:pt>
                <c:pt idx="3027">
                  <c:v>-5.6114499544799301E-2</c:v>
                </c:pt>
                <c:pt idx="3028">
                  <c:v>-4.5581932860254359E-2</c:v>
                </c:pt>
                <c:pt idx="3029">
                  <c:v>-3.5846240391116058E-2</c:v>
                </c:pt>
                <c:pt idx="3030">
                  <c:v>-3.409311711722196E-2</c:v>
                </c:pt>
                <c:pt idx="3031">
                  <c:v>-3.7162720259308113E-2</c:v>
                </c:pt>
                <c:pt idx="3032">
                  <c:v>-4.6036042002184585E-2</c:v>
                </c:pt>
                <c:pt idx="3033">
                  <c:v>-4.1609205607374689E-2</c:v>
                </c:pt>
                <c:pt idx="3034">
                  <c:v>-3.547800445230731E-2</c:v>
                </c:pt>
                <c:pt idx="3035">
                  <c:v>-4.0873461468766581E-2</c:v>
                </c:pt>
                <c:pt idx="3036">
                  <c:v>-4.351515407326445E-2</c:v>
                </c:pt>
                <c:pt idx="3037">
                  <c:v>-3.8259422946629873E-2</c:v>
                </c:pt>
                <c:pt idx="3038">
                  <c:v>-3.7987976296084969E-2</c:v>
                </c:pt>
                <c:pt idx="3039">
                  <c:v>-3.9558437078593633E-2</c:v>
                </c:pt>
                <c:pt idx="3040">
                  <c:v>-4.0550345348546957E-2</c:v>
                </c:pt>
                <c:pt idx="3041">
                  <c:v>-4.2397346954666904E-2</c:v>
                </c:pt>
                <c:pt idx="3042">
                  <c:v>-4.1051029787085525E-2</c:v>
                </c:pt>
                <c:pt idx="3043">
                  <c:v>-3.7076119317176914E-2</c:v>
                </c:pt>
                <c:pt idx="3044">
                  <c:v>-3.7196196253745151E-2</c:v>
                </c:pt>
                <c:pt idx="3045">
                  <c:v>-3.935758111197063E-2</c:v>
                </c:pt>
                <c:pt idx="3046">
                  <c:v>-3.8819054244938145E-2</c:v>
                </c:pt>
                <c:pt idx="3047">
                  <c:v>-3.9790585822625291E-2</c:v>
                </c:pt>
                <c:pt idx="3048">
                  <c:v>-4.2779409934656343E-2</c:v>
                </c:pt>
                <c:pt idx="3049">
                  <c:v>-4.767709346861515E-2</c:v>
                </c:pt>
                <c:pt idx="3050">
                  <c:v>-4.5077609726668522E-2</c:v>
                </c:pt>
                <c:pt idx="3051">
                  <c:v>-4.9594685758656998E-2</c:v>
                </c:pt>
                <c:pt idx="3052">
                  <c:v>-5.2297508439953289E-2</c:v>
                </c:pt>
                <c:pt idx="3053">
                  <c:v>-4.4901496886368797E-2</c:v>
                </c:pt>
                <c:pt idx="3054">
                  <c:v>-4.4054408679306434E-2</c:v>
                </c:pt>
                <c:pt idx="3055">
                  <c:v>-4.2353682614096666E-2</c:v>
                </c:pt>
                <c:pt idx="3056">
                  <c:v>-3.7415245695605726E-2</c:v>
                </c:pt>
                <c:pt idx="3057">
                  <c:v>-3.7708524516435693E-2</c:v>
                </c:pt>
                <c:pt idx="3058">
                  <c:v>-3.4042903125566237E-2</c:v>
                </c:pt>
                <c:pt idx="3059">
                  <c:v>-3.2947655916263474E-2</c:v>
                </c:pt>
                <c:pt idx="3060">
                  <c:v>-3.398031757074893E-2</c:v>
                </c:pt>
                <c:pt idx="3061">
                  <c:v>-3.2962210696453553E-2</c:v>
                </c:pt>
                <c:pt idx="3062">
                  <c:v>-3.6619826958218415E-2</c:v>
                </c:pt>
                <c:pt idx="3063">
                  <c:v>-3.8124063490862059E-2</c:v>
                </c:pt>
                <c:pt idx="3064">
                  <c:v>-3.4398767501213512E-2</c:v>
                </c:pt>
                <c:pt idx="3065">
                  <c:v>-3.1851680967951101E-2</c:v>
                </c:pt>
                <c:pt idx="3066">
                  <c:v>-3.1525653891693484E-2</c:v>
                </c:pt>
                <c:pt idx="3067">
                  <c:v>-3.3946841576311892E-2</c:v>
                </c:pt>
                <c:pt idx="3068">
                  <c:v>-3.2193718302417795E-2</c:v>
                </c:pt>
                <c:pt idx="3069">
                  <c:v>-2.3191586754858995E-2</c:v>
                </c:pt>
                <c:pt idx="3070">
                  <c:v>-1.9095143870363374E-2</c:v>
                </c:pt>
                <c:pt idx="3071">
                  <c:v>-1.9445186333934661E-2</c:v>
                </c:pt>
                <c:pt idx="3072">
                  <c:v>-2.0047026494794173E-2</c:v>
                </c:pt>
                <c:pt idx="3073">
                  <c:v>-1.8267704616557912E-2</c:v>
                </c:pt>
                <c:pt idx="3074">
                  <c:v>-1.9561624575455405E-2</c:v>
                </c:pt>
                <c:pt idx="3075">
                  <c:v>-1.9594372830882834E-2</c:v>
                </c:pt>
                <c:pt idx="3076">
                  <c:v>-1.9194116375655934E-2</c:v>
                </c:pt>
                <c:pt idx="3077">
                  <c:v>-1.5074385842856475E-2</c:v>
                </c:pt>
                <c:pt idx="3078">
                  <c:v>-1.3487187063129125E-2</c:v>
                </c:pt>
                <c:pt idx="3079">
                  <c:v>-1.4289155451602142E-2</c:v>
                </c:pt>
                <c:pt idx="3080">
                  <c:v>-1.3580337656345587E-2</c:v>
                </c:pt>
                <c:pt idx="3081">
                  <c:v>-1.3911458905669694E-2</c:v>
                </c:pt>
                <c:pt idx="3082">
                  <c:v>-1.0857866021792839E-2</c:v>
                </c:pt>
                <c:pt idx="3083">
                  <c:v>-1.2255124920039662E-2</c:v>
                </c:pt>
                <c:pt idx="3084">
                  <c:v>-1.7106233157390349E-2</c:v>
                </c:pt>
                <c:pt idx="3085">
                  <c:v>-1.8587909780739542E-2</c:v>
                </c:pt>
                <c:pt idx="3086">
                  <c:v>-1.6490565955350256E-2</c:v>
                </c:pt>
                <c:pt idx="3087">
                  <c:v>-1.3218651368622436E-2</c:v>
                </c:pt>
                <c:pt idx="3088">
                  <c:v>-9.7844509827752502E-3</c:v>
                </c:pt>
                <c:pt idx="3089">
                  <c:v>-1.0790914032918542E-2</c:v>
                </c:pt>
                <c:pt idx="3090">
                  <c:v>-8.696481163567249E-3</c:v>
                </c:pt>
                <c:pt idx="3091">
                  <c:v>-9.7953670679177263E-3</c:v>
                </c:pt>
                <c:pt idx="3092">
                  <c:v>-9.1287581352125224E-3</c:v>
                </c:pt>
                <c:pt idx="3093">
                  <c:v>-7.2148045402181671E-3</c:v>
                </c:pt>
                <c:pt idx="3094">
                  <c:v>-7.6274325586066505E-3</c:v>
                </c:pt>
                <c:pt idx="3095">
                  <c:v>-6.9106096342457235E-3</c:v>
                </c:pt>
                <c:pt idx="3096">
                  <c:v>-8.2008908980955031E-3</c:v>
                </c:pt>
                <c:pt idx="3097">
                  <c:v>-5.9019633670738259E-3</c:v>
                </c:pt>
                <c:pt idx="3098">
                  <c:v>-7.2446418396077128E-3</c:v>
                </c:pt>
                <c:pt idx="3099">
                  <c:v>-2.3568555561781723E-2</c:v>
                </c:pt>
                <c:pt idx="3100">
                  <c:v>-1.6838425201893048E-2</c:v>
                </c:pt>
                <c:pt idx="3101">
                  <c:v>-1.4363384830571535E-2</c:v>
                </c:pt>
                <c:pt idx="3102">
                  <c:v>-1.9400794254354925E-2</c:v>
                </c:pt>
                <c:pt idx="3103">
                  <c:v>-2.4393083859549303E-2</c:v>
                </c:pt>
                <c:pt idx="3104">
                  <c:v>-2.2367786196100914E-2</c:v>
                </c:pt>
                <c:pt idx="3105">
                  <c:v>-2.8552840037871507E-2</c:v>
                </c:pt>
                <c:pt idx="3106">
                  <c:v>-3.2068547192783181E-2</c:v>
                </c:pt>
                <c:pt idx="3107">
                  <c:v>-2.7445949004416659E-2</c:v>
                </c:pt>
                <c:pt idx="3108">
                  <c:v>-2.2274635602884452E-2</c:v>
                </c:pt>
                <c:pt idx="3109">
                  <c:v>-1.9900750953883883E-2</c:v>
                </c:pt>
                <c:pt idx="3110">
                  <c:v>-2.4377073601340338E-2</c:v>
                </c:pt>
                <c:pt idx="3111">
                  <c:v>-2.6879768055022901E-2</c:v>
                </c:pt>
                <c:pt idx="3112">
                  <c:v>-2.7292396073411496E-2</c:v>
                </c:pt>
                <c:pt idx="3113">
                  <c:v>-2.078786480646877E-2</c:v>
                </c:pt>
                <c:pt idx="3114">
                  <c:v>-2.1378788882185695E-2</c:v>
                </c:pt>
                <c:pt idx="3115">
                  <c:v>-2.1538163725266846E-2</c:v>
                </c:pt>
                <c:pt idx="3116">
                  <c:v>-2.2345226286806352E-2</c:v>
                </c:pt>
                <c:pt idx="3117">
                  <c:v>-1.76098285519668E-2</c:v>
                </c:pt>
                <c:pt idx="3118">
                  <c:v>-1.9301094010052977E-2</c:v>
                </c:pt>
                <c:pt idx="3119">
                  <c:v>-2.0632128658435001E-2</c:v>
                </c:pt>
                <c:pt idx="3120">
                  <c:v>-2.0668515608910143E-2</c:v>
                </c:pt>
                <c:pt idx="3121">
                  <c:v>-2.3424463237900151E-2</c:v>
                </c:pt>
                <c:pt idx="3122">
                  <c:v>-2.1834353502134918E-2</c:v>
                </c:pt>
                <c:pt idx="3123">
                  <c:v>-2.6026857935884773E-2</c:v>
                </c:pt>
                <c:pt idx="3124">
                  <c:v>-3.6665674515817037E-2</c:v>
                </c:pt>
                <c:pt idx="3125">
                  <c:v>-3.8960963351791222E-2</c:v>
                </c:pt>
                <c:pt idx="3126">
                  <c:v>-3.9892469283955623E-2</c:v>
                </c:pt>
                <c:pt idx="3127">
                  <c:v>-3.7777659722338486E-2</c:v>
                </c:pt>
                <c:pt idx="3128">
                  <c:v>-4.0658778460962886E-2</c:v>
                </c:pt>
                <c:pt idx="3129">
                  <c:v>-4.0916398070327209E-2</c:v>
                </c:pt>
                <c:pt idx="3130">
                  <c:v>-4.7543189490866666E-2</c:v>
                </c:pt>
                <c:pt idx="3131">
                  <c:v>-4.8122469742431395E-2</c:v>
                </c:pt>
                <c:pt idx="3132">
                  <c:v>-4.7110184780211894E-2</c:v>
                </c:pt>
                <c:pt idx="3133">
                  <c:v>-5.2136678118852808E-2</c:v>
                </c:pt>
                <c:pt idx="3134">
                  <c:v>-4.8083899574927758E-2</c:v>
                </c:pt>
                <c:pt idx="3135">
                  <c:v>-4.2166653688654243E-2</c:v>
                </c:pt>
                <c:pt idx="3136">
                  <c:v>-4.4680264227479616E-2</c:v>
                </c:pt>
                <c:pt idx="3137">
                  <c:v>-4.1726371587904709E-2</c:v>
                </c:pt>
                <c:pt idx="3138">
                  <c:v>-4.3858646885750141E-2</c:v>
                </c:pt>
                <c:pt idx="3139">
                  <c:v>-4.4955349573071901E-2</c:v>
                </c:pt>
                <c:pt idx="3140">
                  <c:v>-3.4693501800062476E-2</c:v>
                </c:pt>
                <c:pt idx="3141">
                  <c:v>-3.8832153547109227E-2</c:v>
                </c:pt>
                <c:pt idx="3142">
                  <c:v>-4.3034118587982562E-2</c:v>
                </c:pt>
                <c:pt idx="3143">
                  <c:v>-4.5758045700554306E-2</c:v>
                </c:pt>
                <c:pt idx="3144">
                  <c:v>-4.9238821383009723E-2</c:v>
                </c:pt>
                <c:pt idx="3145">
                  <c:v>-5.236664364585597E-2</c:v>
                </c:pt>
                <c:pt idx="3146">
                  <c:v>-5.6837872120245825E-2</c:v>
                </c:pt>
                <c:pt idx="3147">
                  <c:v>-6.354034839777345E-2</c:v>
                </c:pt>
                <c:pt idx="3148">
                  <c:v>-6.0194204432076126E-2</c:v>
                </c:pt>
                <c:pt idx="3149">
                  <c:v>-6.6793341770254311E-2</c:v>
                </c:pt>
                <c:pt idx="3150">
                  <c:v>-6.2548440127820015E-2</c:v>
                </c:pt>
                <c:pt idx="3151">
                  <c:v>-5.4595708231965467E-2</c:v>
                </c:pt>
                <c:pt idx="3152">
                  <c:v>-5.3307610185144072E-2</c:v>
                </c:pt>
                <c:pt idx="3153">
                  <c:v>-4.736707665056672E-2</c:v>
                </c:pt>
                <c:pt idx="3154">
                  <c:v>-4.5080520682706626E-2</c:v>
                </c:pt>
                <c:pt idx="3155">
                  <c:v>-4.7757872498670029E-2</c:v>
                </c:pt>
                <c:pt idx="3156">
                  <c:v>-4.1101971517750635E-2</c:v>
                </c:pt>
                <c:pt idx="3157">
                  <c:v>-4.5320674555842655E-2</c:v>
                </c:pt>
                <c:pt idx="3158">
                  <c:v>-4.5651068066157263E-2</c:v>
                </c:pt>
                <c:pt idx="3159">
                  <c:v>-4.2656422042050224E-2</c:v>
                </c:pt>
                <c:pt idx="3160">
                  <c:v>-3.9811690253900744E-2</c:v>
                </c:pt>
                <c:pt idx="3161">
                  <c:v>-3.8209936693983648E-2</c:v>
                </c:pt>
                <c:pt idx="3162">
                  <c:v>-3.4995513489006314E-2</c:v>
                </c:pt>
                <c:pt idx="3163">
                  <c:v>-3.2492091296314141E-2</c:v>
                </c:pt>
                <c:pt idx="3164">
                  <c:v>-3.1012597889993554E-2</c:v>
                </c:pt>
                <c:pt idx="3165">
                  <c:v>-3.3232929607988737E-2</c:v>
                </c:pt>
                <c:pt idx="3166">
                  <c:v>-3.0930363381919679E-2</c:v>
                </c:pt>
                <c:pt idx="3167">
                  <c:v>-3.4694229539071975E-2</c:v>
                </c:pt>
                <c:pt idx="3168">
                  <c:v>-3.4861609511257829E-2</c:v>
                </c:pt>
                <c:pt idx="3169">
                  <c:v>-3.8984251000095282E-2</c:v>
                </c:pt>
                <c:pt idx="3170">
                  <c:v>-3.0158232292836429E-2</c:v>
                </c:pt>
                <c:pt idx="3171">
                  <c:v>-3.0356905042430826E-2</c:v>
                </c:pt>
                <c:pt idx="3172">
                  <c:v>-3.3660112406567522E-2</c:v>
                </c:pt>
                <c:pt idx="3173">
                  <c:v>-3.050609153937911E-2</c:v>
                </c:pt>
                <c:pt idx="3174">
                  <c:v>-3.1750525245630046E-2</c:v>
                </c:pt>
                <c:pt idx="3175">
                  <c:v>-3.1907716871682923E-2</c:v>
                </c:pt>
                <c:pt idx="3176">
                  <c:v>-3.1556946669102137E-2</c:v>
                </c:pt>
                <c:pt idx="3177">
                  <c:v>-3.0750611846572351E-2</c:v>
                </c:pt>
                <c:pt idx="3178">
                  <c:v>-3.1817477234504343E-2</c:v>
                </c:pt>
                <c:pt idx="3179">
                  <c:v>-3.2686397611851659E-2</c:v>
                </c:pt>
                <c:pt idx="3180">
                  <c:v>-3.2781731422096727E-2</c:v>
                </c:pt>
                <c:pt idx="3181">
                  <c:v>-3.3421414011450268E-2</c:v>
                </c:pt>
                <c:pt idx="3182">
                  <c:v>-2.9320604692897767E-2</c:v>
                </c:pt>
                <c:pt idx="3183">
                  <c:v>-3.2420772873382964E-2</c:v>
                </c:pt>
                <c:pt idx="3184">
                  <c:v>-3.405600242773732E-2</c:v>
                </c:pt>
                <c:pt idx="3185">
                  <c:v>-3.3718331527327616E-2</c:v>
                </c:pt>
                <c:pt idx="3186">
                  <c:v>-3.4671669629777302E-2</c:v>
                </c:pt>
                <c:pt idx="3187">
                  <c:v>-3.8161178180346811E-2</c:v>
                </c:pt>
                <c:pt idx="3188">
                  <c:v>-3.6600178004961736E-2</c:v>
                </c:pt>
                <c:pt idx="3189">
                  <c:v>-3.8374405710131398E-2</c:v>
                </c:pt>
                <c:pt idx="3190">
                  <c:v>-3.663583721642738E-2</c:v>
                </c:pt>
                <c:pt idx="3191">
                  <c:v>-3.8287804768000422E-2</c:v>
                </c:pt>
                <c:pt idx="3192">
                  <c:v>-3.4967859406645374E-2</c:v>
                </c:pt>
                <c:pt idx="3193">
                  <c:v>-2.6526086896404233E-2</c:v>
                </c:pt>
                <c:pt idx="3194">
                  <c:v>-2.6651258006038847E-2</c:v>
                </c:pt>
                <c:pt idx="3195">
                  <c:v>-2.6469323253662913E-2</c:v>
                </c:pt>
                <c:pt idx="3196">
                  <c:v>-2.7461959262625846E-2</c:v>
                </c:pt>
                <c:pt idx="3197">
                  <c:v>-2.593443508167792E-2</c:v>
                </c:pt>
                <c:pt idx="3198">
                  <c:v>-2.3107896768766012E-2</c:v>
                </c:pt>
                <c:pt idx="3199">
                  <c:v>-2.518559164089873E-2</c:v>
                </c:pt>
                <c:pt idx="3200">
                  <c:v>-2.2822623077040638E-2</c:v>
                </c:pt>
                <c:pt idx="3201">
                  <c:v>-2.4877030300869074E-2</c:v>
                </c:pt>
                <c:pt idx="3202">
                  <c:v>-2.5258365541849015E-2</c:v>
                </c:pt>
                <c:pt idx="3203">
                  <c:v>-2.4446936546252518E-2</c:v>
                </c:pt>
                <c:pt idx="3204">
                  <c:v>-2.5229255981468857E-2</c:v>
                </c:pt>
                <c:pt idx="3205">
                  <c:v>-3.1449969034705094E-2</c:v>
                </c:pt>
                <c:pt idx="3206">
                  <c:v>-3.1312426361909118E-2</c:v>
                </c:pt>
                <c:pt idx="3207">
                  <c:v>-3.2152964917885662E-2</c:v>
                </c:pt>
                <c:pt idx="3208">
                  <c:v>-3.6446625073956573E-2</c:v>
                </c:pt>
                <c:pt idx="3209">
                  <c:v>-3.3802749252430098E-2</c:v>
                </c:pt>
                <c:pt idx="3210">
                  <c:v>-3.3941019664235905E-2</c:v>
                </c:pt>
                <c:pt idx="3211">
                  <c:v>-3.3400309580174592E-2</c:v>
                </c:pt>
                <c:pt idx="3212">
                  <c:v>-2.9886785642291525E-2</c:v>
                </c:pt>
                <c:pt idx="3213">
                  <c:v>-3.2724240040345909E-2</c:v>
                </c:pt>
                <c:pt idx="3214">
                  <c:v>-3.3341362720404888E-2</c:v>
                </c:pt>
                <c:pt idx="3215">
                  <c:v>-3.1488539202208843E-2</c:v>
                </c:pt>
                <c:pt idx="3216">
                  <c:v>-3.1035157799288116E-2</c:v>
                </c:pt>
                <c:pt idx="3217">
                  <c:v>-3.1337169488232175E-2</c:v>
                </c:pt>
                <c:pt idx="3218">
                  <c:v>-3.1479078595085364E-2</c:v>
                </c:pt>
                <c:pt idx="3219">
                  <c:v>-3.099513215376537E-2</c:v>
                </c:pt>
                <c:pt idx="3220">
                  <c:v>-2.891962049866148E-2</c:v>
                </c:pt>
                <c:pt idx="3221">
                  <c:v>-2.9316965997850275E-2</c:v>
                </c:pt>
                <c:pt idx="3222">
                  <c:v>-2.4331226043741494E-2</c:v>
                </c:pt>
                <c:pt idx="3223">
                  <c:v>-2.0559354757484605E-2</c:v>
                </c:pt>
                <c:pt idx="3224">
                  <c:v>-2.2092700850508518E-2</c:v>
                </c:pt>
                <c:pt idx="3225">
                  <c:v>-2.0209312293913539E-2</c:v>
                </c:pt>
                <c:pt idx="3226">
                  <c:v>-2.0149637695134115E-2</c:v>
                </c:pt>
                <c:pt idx="3227">
                  <c:v>-2.0366503919966084E-2</c:v>
                </c:pt>
                <c:pt idx="3228">
                  <c:v>-2.1487221994601513E-2</c:v>
                </c:pt>
                <c:pt idx="3229">
                  <c:v>-2.0726006990661072E-2</c:v>
                </c:pt>
                <c:pt idx="3230">
                  <c:v>-2.3479771402622474E-2</c:v>
                </c:pt>
                <c:pt idx="3231">
                  <c:v>-2.4770052666472253E-2</c:v>
                </c:pt>
                <c:pt idx="3232">
                  <c:v>-2.154980754941882E-2</c:v>
                </c:pt>
                <c:pt idx="3233">
                  <c:v>-2.2268813690808464E-2</c:v>
                </c:pt>
                <c:pt idx="3234">
                  <c:v>-2.1933326007427367E-2</c:v>
                </c:pt>
                <c:pt idx="3235">
                  <c:v>-2.5660805214104521E-2</c:v>
                </c:pt>
                <c:pt idx="3236">
                  <c:v>-3.0556305531034833E-2</c:v>
                </c:pt>
                <c:pt idx="3237">
                  <c:v>-2.9693934804773003E-2</c:v>
                </c:pt>
                <c:pt idx="3238">
                  <c:v>-2.9707761845953695E-2</c:v>
                </c:pt>
                <c:pt idx="3239">
                  <c:v>-2.8680194364534728E-2</c:v>
                </c:pt>
                <c:pt idx="3240">
                  <c:v>-3.013858333957975E-2</c:v>
                </c:pt>
                <c:pt idx="3241">
                  <c:v>-2.6900144747289079E-2</c:v>
                </c:pt>
                <c:pt idx="3242">
                  <c:v>-2.4477501584651784E-2</c:v>
                </c:pt>
                <c:pt idx="3243">
                  <c:v>-2.5100446176786861E-2</c:v>
                </c:pt>
                <c:pt idx="3244">
                  <c:v>-2.2921595582333087E-2</c:v>
                </c:pt>
                <c:pt idx="3245">
                  <c:v>-2.9811100785303246E-2</c:v>
                </c:pt>
                <c:pt idx="3246">
                  <c:v>-3.2028521547260547E-2</c:v>
                </c:pt>
                <c:pt idx="3247">
                  <c:v>-2.9458875104703464E-2</c:v>
                </c:pt>
                <c:pt idx="3248">
                  <c:v>-2.5245993978687431E-2</c:v>
                </c:pt>
                <c:pt idx="3249">
                  <c:v>-2.1945697570588951E-2</c:v>
                </c:pt>
                <c:pt idx="3250">
                  <c:v>-2.0955972517664123E-2</c:v>
                </c:pt>
                <c:pt idx="3251">
                  <c:v>-2.1830714807087204E-2</c:v>
                </c:pt>
                <c:pt idx="3252">
                  <c:v>-2.3109352246785009E-2</c:v>
                </c:pt>
                <c:pt idx="3253">
                  <c:v>-2.3545267913477663E-2</c:v>
                </c:pt>
                <c:pt idx="3254">
                  <c:v>-2.359402642711439E-2</c:v>
                </c:pt>
                <c:pt idx="3255">
                  <c:v>-1.7900924155768161E-2</c:v>
                </c:pt>
                <c:pt idx="3256">
                  <c:v>-1.6983973003793729E-2</c:v>
                </c:pt>
                <c:pt idx="3257">
                  <c:v>-1.6079393414980769E-2</c:v>
                </c:pt>
                <c:pt idx="3258">
                  <c:v>-1.3878710650242154E-2</c:v>
                </c:pt>
                <c:pt idx="3259">
                  <c:v>-1.4547502799975853E-2</c:v>
                </c:pt>
                <c:pt idx="3260">
                  <c:v>-1.4278967105468943E-2</c:v>
                </c:pt>
                <c:pt idx="3261">
                  <c:v>-1.1873061940050444E-2</c:v>
                </c:pt>
                <c:pt idx="3262">
                  <c:v>-1.1496093133127494E-2</c:v>
                </c:pt>
                <c:pt idx="3263">
                  <c:v>-1.0374647319482566E-2</c:v>
                </c:pt>
                <c:pt idx="3264">
                  <c:v>-1.041030653094821E-2</c:v>
                </c:pt>
                <c:pt idx="3265">
                  <c:v>-9.140401959364497E-3</c:v>
                </c:pt>
                <c:pt idx="3266">
                  <c:v>-9.0319688469483461E-3</c:v>
                </c:pt>
                <c:pt idx="3267">
                  <c:v>-1.0014416509778301E-2</c:v>
                </c:pt>
                <c:pt idx="3268">
                  <c:v>-8.2874918402263686E-3</c:v>
                </c:pt>
                <c:pt idx="3269">
                  <c:v>-1.2089928164882413E-2</c:v>
                </c:pt>
                <c:pt idx="3270">
                  <c:v>-1.1266127606124443E-2</c:v>
                </c:pt>
                <c:pt idx="3271">
                  <c:v>-1.3062187481579168E-2</c:v>
                </c:pt>
                <c:pt idx="3272">
                  <c:v>-1.7605462117909698E-2</c:v>
                </c:pt>
                <c:pt idx="3273">
                  <c:v>-1.5155892611920851E-2</c:v>
                </c:pt>
                <c:pt idx="3274">
                  <c:v>-1.1673661451446438E-2</c:v>
                </c:pt>
                <c:pt idx="3275">
                  <c:v>-1.0590785805305036E-2</c:v>
                </c:pt>
                <c:pt idx="3276">
                  <c:v>-9.2575679398945177E-3</c:v>
                </c:pt>
                <c:pt idx="3277">
                  <c:v>-8.3864643455188181E-3</c:v>
                </c:pt>
                <c:pt idx="3278">
                  <c:v>-9.6083381424753034E-3</c:v>
                </c:pt>
                <c:pt idx="3279">
                  <c:v>-9.5937833622852242E-3</c:v>
                </c:pt>
                <c:pt idx="3280">
                  <c:v>-9.345624360044491E-3</c:v>
                </c:pt>
                <c:pt idx="3281">
                  <c:v>-9.8754183589631062E-3</c:v>
                </c:pt>
                <c:pt idx="3282">
                  <c:v>-1.3450800112653982E-2</c:v>
                </c:pt>
                <c:pt idx="3283">
                  <c:v>-1.192691462675366E-2</c:v>
                </c:pt>
                <c:pt idx="3284">
                  <c:v>-1.1928370104772656E-2</c:v>
                </c:pt>
                <c:pt idx="3285">
                  <c:v>-1.468577321178155E-2</c:v>
                </c:pt>
                <c:pt idx="3286">
                  <c:v>-1.2712145018007992E-2</c:v>
                </c:pt>
                <c:pt idx="3287">
                  <c:v>-1.2352641947313225E-2</c:v>
                </c:pt>
                <c:pt idx="3288">
                  <c:v>-1.1987316964542361E-2</c:v>
                </c:pt>
                <c:pt idx="3289">
                  <c:v>-1.3499558626290709E-2</c:v>
                </c:pt>
                <c:pt idx="3290">
                  <c:v>-1.3046177223369981E-2</c:v>
                </c:pt>
                <c:pt idx="3291">
                  <c:v>-1.0472164346755908E-2</c:v>
                </c:pt>
                <c:pt idx="3292">
                  <c:v>-1.0461248261613432E-2</c:v>
                </c:pt>
                <c:pt idx="3293">
                  <c:v>-1.144151270741478E-2</c:v>
                </c:pt>
                <c:pt idx="3294">
                  <c:v>-1.212413189832906E-2</c:v>
                </c:pt>
                <c:pt idx="3295">
                  <c:v>-9.2633898519705049E-3</c:v>
                </c:pt>
                <c:pt idx="3296">
                  <c:v>-7.0510632630798042E-3</c:v>
                </c:pt>
                <c:pt idx="3297">
                  <c:v>-6.8734949447609717E-3</c:v>
                </c:pt>
                <c:pt idx="3298">
                  <c:v>-7.9097952942941419E-3</c:v>
                </c:pt>
                <c:pt idx="3299">
                  <c:v>-1.2002599483742049E-2</c:v>
                </c:pt>
                <c:pt idx="3300">
                  <c:v>-1.7041464385544547E-2</c:v>
                </c:pt>
                <c:pt idx="3301">
                  <c:v>-1.3736801543388855E-2</c:v>
                </c:pt>
                <c:pt idx="3302">
                  <c:v>-1.7612011768995184E-2</c:v>
                </c:pt>
                <c:pt idx="3303">
                  <c:v>-1.7780119480190537E-2</c:v>
                </c:pt>
                <c:pt idx="3304">
                  <c:v>-1.6291893205755748E-2</c:v>
                </c:pt>
                <c:pt idx="3305">
                  <c:v>-1.4523487412662184E-2</c:v>
                </c:pt>
                <c:pt idx="3306">
                  <c:v>-1.4396133085999185E-2</c:v>
                </c:pt>
                <c:pt idx="3307">
                  <c:v>-1.2677213545551624E-2</c:v>
                </c:pt>
                <c:pt idx="3308">
                  <c:v>-1.0602429629457011E-2</c:v>
                </c:pt>
                <c:pt idx="3309">
                  <c:v>-6.578032906902509E-3</c:v>
                </c:pt>
                <c:pt idx="3310">
                  <c:v>-1.1106025024033683E-2</c:v>
                </c:pt>
                <c:pt idx="3311">
                  <c:v>-1.3714969373103791E-2</c:v>
                </c:pt>
                <c:pt idx="3312">
                  <c:v>-1.1266127606124443E-2</c:v>
                </c:pt>
                <c:pt idx="3313">
                  <c:v>-9.7786290706992629E-3</c:v>
                </c:pt>
                <c:pt idx="3314">
                  <c:v>-1.3262315709192674E-2</c:v>
                </c:pt>
                <c:pt idx="3315">
                  <c:v>-1.1433507578310187E-2</c:v>
                </c:pt>
                <c:pt idx="3316">
                  <c:v>-1.2148147285642619E-2</c:v>
                </c:pt>
                <c:pt idx="3317">
                  <c:v>-1.0986675826475056E-2</c:v>
                </c:pt>
                <c:pt idx="3318">
                  <c:v>-1.3704781026970814E-2</c:v>
                </c:pt>
                <c:pt idx="3319">
                  <c:v>-1.0796735944994529E-2</c:v>
                </c:pt>
                <c:pt idx="3320">
                  <c:v>-1.2484362708033214E-2</c:v>
                </c:pt>
                <c:pt idx="3321">
                  <c:v>-1.1015785386855104E-2</c:v>
                </c:pt>
                <c:pt idx="3322">
                  <c:v>-1.0459065044584825E-2</c:v>
                </c:pt>
                <c:pt idx="3323">
                  <c:v>-1.1436418534348292E-2</c:v>
                </c:pt>
                <c:pt idx="3324">
                  <c:v>-1.1216641353478218E-2</c:v>
                </c:pt>
                <c:pt idx="3325">
                  <c:v>-1.0964115917180384E-2</c:v>
                </c:pt>
                <c:pt idx="3326">
                  <c:v>-1.1397120627835045E-2</c:v>
                </c:pt>
                <c:pt idx="3327">
                  <c:v>-7.8734083438187774E-3</c:v>
                </c:pt>
                <c:pt idx="3328">
                  <c:v>-7.1049159497831305E-3</c:v>
                </c:pt>
                <c:pt idx="3329">
                  <c:v>-5.8459274633420044E-3</c:v>
                </c:pt>
                <c:pt idx="3330">
                  <c:v>-5.7593265212111389E-3</c:v>
                </c:pt>
                <c:pt idx="3331">
                  <c:v>-5.5220836041129928E-3</c:v>
                </c:pt>
                <c:pt idx="3332">
                  <c:v>-5.1865959207318957E-3</c:v>
                </c:pt>
                <c:pt idx="3333">
                  <c:v>-9.1578676955925697E-3</c:v>
                </c:pt>
                <c:pt idx="3334">
                  <c:v>-1.0368825407406579E-2</c:v>
                </c:pt>
                <c:pt idx="3335">
                  <c:v>-9.0312411079390698E-3</c:v>
                </c:pt>
                <c:pt idx="3336">
                  <c:v>-9.5777731040761482E-3</c:v>
                </c:pt>
                <c:pt idx="3337">
                  <c:v>-1.4281150322497549E-2</c:v>
                </c:pt>
                <c:pt idx="3338">
                  <c:v>-1.5499385424406431E-2</c:v>
                </c:pt>
                <c:pt idx="3339">
                  <c:v>-1.832519599830873E-2</c:v>
                </c:pt>
                <c:pt idx="3340">
                  <c:v>-1.9047840834745755E-2</c:v>
                </c:pt>
                <c:pt idx="3341">
                  <c:v>-1.2367196727503194E-2</c:v>
                </c:pt>
                <c:pt idx="3342">
                  <c:v>-1.2300244738628896E-2</c:v>
                </c:pt>
                <c:pt idx="3343">
                  <c:v>-8.4672433755736964E-3</c:v>
                </c:pt>
                <c:pt idx="3344">
                  <c:v>-9.3594514012250718E-3</c:v>
                </c:pt>
                <c:pt idx="3345">
                  <c:v>-7.3188712185771054E-3</c:v>
                </c:pt>
                <c:pt idx="3346">
                  <c:v>-4.1313743569516559E-3</c:v>
                </c:pt>
                <c:pt idx="3347">
                  <c:v>0</c:v>
                </c:pt>
                <c:pt idx="3348">
                  <c:v>-2.1324379129145088E-3</c:v>
                </c:pt>
                <c:pt idx="3349">
                  <c:v>0</c:v>
                </c:pt>
                <c:pt idx="3350">
                  <c:v>0</c:v>
                </c:pt>
                <c:pt idx="3351">
                  <c:v>0</c:v>
                </c:pt>
                <c:pt idx="3352">
                  <c:v>0</c:v>
                </c:pt>
                <c:pt idx="3353">
                  <c:v>-1.635263247729779E-3</c:v>
                </c:pt>
                <c:pt idx="3354">
                  <c:v>0</c:v>
                </c:pt>
                <c:pt idx="3355">
                  <c:v>0</c:v>
                </c:pt>
                <c:pt idx="3356">
                  <c:v>0</c:v>
                </c:pt>
                <c:pt idx="3357">
                  <c:v>-1.3601959376350337E-3</c:v>
                </c:pt>
                <c:pt idx="3358">
                  <c:v>-2.3364131177557868E-3</c:v>
                </c:pt>
                <c:pt idx="3359">
                  <c:v>-4.2476294192809183E-3</c:v>
                </c:pt>
                <c:pt idx="3360">
                  <c:v>-2.1245378334776577E-3</c:v>
                </c:pt>
                <c:pt idx="3361">
                  <c:v>-5.335207670319364E-3</c:v>
                </c:pt>
                <c:pt idx="3362">
                  <c:v>-2.6148157950494078E-3</c:v>
                </c:pt>
                <c:pt idx="3363">
                  <c:v>0</c:v>
                </c:pt>
                <c:pt idx="3364">
                  <c:v>0</c:v>
                </c:pt>
                <c:pt idx="3365">
                  <c:v>0</c:v>
                </c:pt>
                <c:pt idx="3366">
                  <c:v>-3.6700771203437288E-3</c:v>
                </c:pt>
                <c:pt idx="3367">
                  <c:v>0</c:v>
                </c:pt>
                <c:pt idx="3368">
                  <c:v>-2.3927777193241129E-3</c:v>
                </c:pt>
                <c:pt idx="3369">
                  <c:v>-4.7812608929365119E-4</c:v>
                </c:pt>
                <c:pt idx="3370">
                  <c:v>0</c:v>
                </c:pt>
                <c:pt idx="3371">
                  <c:v>0</c:v>
                </c:pt>
                <c:pt idx="3372">
                  <c:v>0</c:v>
                </c:pt>
                <c:pt idx="3373">
                  <c:v>-1.2540392475764994E-3</c:v>
                </c:pt>
                <c:pt idx="3374">
                  <c:v>-3.4874845741759142E-3</c:v>
                </c:pt>
                <c:pt idx="3375">
                  <c:v>-1.8361188983287979E-3</c:v>
                </c:pt>
                <c:pt idx="3376">
                  <c:v>-2.8190916418784351E-3</c:v>
                </c:pt>
                <c:pt idx="3377">
                  <c:v>-2.347578591452959E-3</c:v>
                </c:pt>
                <c:pt idx="3378">
                  <c:v>-1.59929237375811E-3</c:v>
                </c:pt>
                <c:pt idx="3379">
                  <c:v>-3.6943511167228937E-3</c:v>
                </c:pt>
                <c:pt idx="3380">
                  <c:v>-7.5313688145121072E-3</c:v>
                </c:pt>
                <c:pt idx="3381">
                  <c:v>-6.0276630500688544E-3</c:v>
                </c:pt>
                <c:pt idx="3382">
                  <c:v>-2.4196252148915853E-3</c:v>
                </c:pt>
                <c:pt idx="3383">
                  <c:v>-6.7409959554032284E-4</c:v>
                </c:pt>
                <c:pt idx="3384">
                  <c:v>-2.6100851006156667E-3</c:v>
                </c:pt>
                <c:pt idx="3385">
                  <c:v>-2.6407584155450081E-3</c:v>
                </c:pt>
                <c:pt idx="3386">
                  <c:v>-1.6506523429420383E-3</c:v>
                </c:pt>
                <c:pt idx="3387">
                  <c:v>-2.3746852418556896E-3</c:v>
                </c:pt>
                <c:pt idx="3388">
                  <c:v>0</c:v>
                </c:pt>
                <c:pt idx="3389">
                  <c:v>-4.9621640334999162E-3</c:v>
                </c:pt>
                <c:pt idx="3390">
                  <c:v>-4.3730584268812933E-3</c:v>
                </c:pt>
                <c:pt idx="3391">
                  <c:v>-3.4926055492749963E-3</c:v>
                </c:pt>
                <c:pt idx="3392">
                  <c:v>-5.628914756347525E-3</c:v>
                </c:pt>
                <c:pt idx="3393">
                  <c:v>-6.720932767165122E-3</c:v>
                </c:pt>
                <c:pt idx="3394">
                  <c:v>-6.1061829019753988E-3</c:v>
                </c:pt>
                <c:pt idx="3395">
                  <c:v>-7.3392443349338254E-3</c:v>
                </c:pt>
                <c:pt idx="3396">
                  <c:v>-6.4808740133193155E-3</c:v>
                </c:pt>
                <c:pt idx="3397">
                  <c:v>-7.0172664217639236E-3</c:v>
                </c:pt>
                <c:pt idx="3398">
                  <c:v>-5.6488602907914798E-3</c:v>
                </c:pt>
                <c:pt idx="3399">
                  <c:v>-3.4292072433631526E-3</c:v>
                </c:pt>
                <c:pt idx="3400">
                  <c:v>-2.6620165077789748E-3</c:v>
                </c:pt>
                <c:pt idx="3401">
                  <c:v>-4.9329580723495026E-3</c:v>
                </c:pt>
                <c:pt idx="3402">
                  <c:v>-7.1853787835074456E-3</c:v>
                </c:pt>
                <c:pt idx="3403">
                  <c:v>-7.433985623543693E-3</c:v>
                </c:pt>
                <c:pt idx="3404">
                  <c:v>-5.5078168686506501E-3</c:v>
                </c:pt>
                <c:pt idx="3405">
                  <c:v>-5.328307058653392E-3</c:v>
                </c:pt>
                <c:pt idx="3406">
                  <c:v>-5.3981164292077333E-3</c:v>
                </c:pt>
                <c:pt idx="3407">
                  <c:v>-3.0481050673767385E-3</c:v>
                </c:pt>
                <c:pt idx="3408">
                  <c:v>-1.3270903810522761E-3</c:v>
                </c:pt>
                <c:pt idx="3409">
                  <c:v>-2.0586640908426546E-4</c:v>
                </c:pt>
                <c:pt idx="3410">
                  <c:v>0</c:v>
                </c:pt>
                <c:pt idx="3411">
                  <c:v>0</c:v>
                </c:pt>
                <c:pt idx="3412">
                  <c:v>0</c:v>
                </c:pt>
                <c:pt idx="3413">
                  <c:v>0</c:v>
                </c:pt>
                <c:pt idx="3414">
                  <c:v>-2.0755117942894419E-4</c:v>
                </c:pt>
                <c:pt idx="3415">
                  <c:v>-2.6280371183662332E-4</c:v>
                </c:pt>
                <c:pt idx="3416">
                  <c:v>-1.7709145002464677E-4</c:v>
                </c:pt>
                <c:pt idx="3417">
                  <c:v>0</c:v>
                </c:pt>
                <c:pt idx="3418">
                  <c:v>0</c:v>
                </c:pt>
                <c:pt idx="3419">
                  <c:v>-6.4995049508453917E-4</c:v>
                </c:pt>
                <c:pt idx="3420">
                  <c:v>-1.8277652359055541E-4</c:v>
                </c:pt>
                <c:pt idx="3421">
                  <c:v>-2.3288128488367921E-3</c:v>
                </c:pt>
                <c:pt idx="3422">
                  <c:v>-3.3139712539811406E-3</c:v>
                </c:pt>
                <c:pt idx="3423">
                  <c:v>-3.1474258502461883E-4</c:v>
                </c:pt>
                <c:pt idx="3424">
                  <c:v>0</c:v>
                </c:pt>
                <c:pt idx="3425">
                  <c:v>-1.4498793765237439E-3</c:v>
                </c:pt>
                <c:pt idx="3426">
                  <c:v>-2.2573267919514528E-3</c:v>
                </c:pt>
                <c:pt idx="3427">
                  <c:v>-2.3899033108164547E-3</c:v>
                </c:pt>
                <c:pt idx="3428">
                  <c:v>-4.4970237276709124E-3</c:v>
                </c:pt>
                <c:pt idx="3429">
                  <c:v>-4.1409006317835173E-3</c:v>
                </c:pt>
                <c:pt idx="3430">
                  <c:v>-5.4857060651642975E-3</c:v>
                </c:pt>
                <c:pt idx="3431">
                  <c:v>-2.8581522923397662E-3</c:v>
                </c:pt>
                <c:pt idx="3432">
                  <c:v>-3.2481247121926016E-3</c:v>
                </c:pt>
                <c:pt idx="3433">
                  <c:v>-5.7120734191951072E-5</c:v>
                </c:pt>
                <c:pt idx="3434">
                  <c:v>-3.9970410049300353E-3</c:v>
                </c:pt>
                <c:pt idx="3435">
                  <c:v>-3.041502797152984E-3</c:v>
                </c:pt>
                <c:pt idx="3436">
                  <c:v>-3.8165112771139098E-3</c:v>
                </c:pt>
                <c:pt idx="3437">
                  <c:v>-7.4891629273742266E-3</c:v>
                </c:pt>
                <c:pt idx="3438">
                  <c:v>-6.5611272953191024E-3</c:v>
                </c:pt>
                <c:pt idx="3439">
                  <c:v>-7.3967824807182891E-3</c:v>
                </c:pt>
                <c:pt idx="3440">
                  <c:v>-6.9172503912064975E-3</c:v>
                </c:pt>
                <c:pt idx="3441">
                  <c:v>-9.5582028547673836E-3</c:v>
                </c:pt>
                <c:pt idx="3442">
                  <c:v>-6.28398595535129E-3</c:v>
                </c:pt>
                <c:pt idx="3443">
                  <c:v>-3.0690053728750222E-3</c:v>
                </c:pt>
                <c:pt idx="3444">
                  <c:v>-2.9505327389955927E-3</c:v>
                </c:pt>
                <c:pt idx="3445">
                  <c:v>-3.103559891089791E-3</c:v>
                </c:pt>
                <c:pt idx="3446">
                  <c:v>-1.4809079234920919E-3</c:v>
                </c:pt>
                <c:pt idx="3447">
                  <c:v>-1.4957170027268818E-3</c:v>
                </c:pt>
                <c:pt idx="3448">
                  <c:v>-3.1092014450840866E-3</c:v>
                </c:pt>
                <c:pt idx="3449">
                  <c:v>-2.5471616284062915E-3</c:v>
                </c:pt>
                <c:pt idx="3450">
                  <c:v>-8.7232528636183027E-4</c:v>
                </c:pt>
                <c:pt idx="3451">
                  <c:v>-1.1177328851118551E-3</c:v>
                </c:pt>
                <c:pt idx="3452">
                  <c:v>-1.5380286576838209E-3</c:v>
                </c:pt>
                <c:pt idx="3453">
                  <c:v>-2.1783450360318701E-3</c:v>
                </c:pt>
                <c:pt idx="3454">
                  <c:v>-3.4667349294700278E-3</c:v>
                </c:pt>
                <c:pt idx="3455">
                  <c:v>-3.9885786739387585E-3</c:v>
                </c:pt>
                <c:pt idx="3456">
                  <c:v>-2.8031471408958009E-3</c:v>
                </c:pt>
                <c:pt idx="3457">
                  <c:v>-4.7494832689137789E-3</c:v>
                </c:pt>
                <c:pt idx="3458">
                  <c:v>-6.3538001860302673E-3</c:v>
                </c:pt>
                <c:pt idx="3459">
                  <c:v>-5.8841408160086317E-3</c:v>
                </c:pt>
                <c:pt idx="3460">
                  <c:v>-4.404643281015086E-3</c:v>
                </c:pt>
                <c:pt idx="3461">
                  <c:v>-3.7939450611368386E-3</c:v>
                </c:pt>
                <c:pt idx="3462">
                  <c:v>-5.2071543366979389E-3</c:v>
                </c:pt>
                <c:pt idx="3463">
                  <c:v>-2.6317849383201697E-3</c:v>
                </c:pt>
                <c:pt idx="3464">
                  <c:v>-1.2072925547707003E-3</c:v>
                </c:pt>
                <c:pt idx="3465">
                  <c:v>-3.8827995365463552E-3</c:v>
                </c:pt>
                <c:pt idx="3466">
                  <c:v>-3.6557269882776522E-3</c:v>
                </c:pt>
                <c:pt idx="3467">
                  <c:v>-2.74250043545754E-3</c:v>
                </c:pt>
                <c:pt idx="3468">
                  <c:v>-2.8511003498469245E-3</c:v>
                </c:pt>
                <c:pt idx="3469">
                  <c:v>-4.2911070068805124E-3</c:v>
                </c:pt>
                <c:pt idx="3470">
                  <c:v>-3.2685753454217981E-3</c:v>
                </c:pt>
                <c:pt idx="3471">
                  <c:v>-1.6416922123283495E-3</c:v>
                </c:pt>
                <c:pt idx="3472">
                  <c:v>-1.3962846135783247E-3</c:v>
                </c:pt>
                <c:pt idx="3473">
                  <c:v>0</c:v>
                </c:pt>
                <c:pt idx="3474">
                  <c:v>-2.0453153963705395E-3</c:v>
                </c:pt>
                <c:pt idx="3475">
                  <c:v>-1.5676289207455785E-3</c:v>
                </c:pt>
                <c:pt idx="3476">
                  <c:v>-3.2176904633911541E-3</c:v>
                </c:pt>
                <c:pt idx="3477">
                  <c:v>-4.2237911819640317E-3</c:v>
                </c:pt>
                <c:pt idx="3478">
                  <c:v>-8.7561762818095801E-3</c:v>
                </c:pt>
                <c:pt idx="3479">
                  <c:v>-8.9654283220170772E-3</c:v>
                </c:pt>
                <c:pt idx="3480">
                  <c:v>-9.2352718620825058E-3</c:v>
                </c:pt>
                <c:pt idx="3481">
                  <c:v>-9.4748196522188577E-3</c:v>
                </c:pt>
                <c:pt idx="3482">
                  <c:v>-8.0037143998517024E-3</c:v>
                </c:pt>
                <c:pt idx="3483">
                  <c:v>-6.8073845538176858E-3</c:v>
                </c:pt>
                <c:pt idx="3484">
                  <c:v>-5.4743715569407492E-3</c:v>
                </c:pt>
                <c:pt idx="3485">
                  <c:v>-4.9903441104005575E-3</c:v>
                </c:pt>
                <c:pt idx="3486">
                  <c:v>-5.8111475677797841E-3</c:v>
                </c:pt>
                <c:pt idx="3487">
                  <c:v>-5.7463287539779584E-3</c:v>
                </c:pt>
                <c:pt idx="3488">
                  <c:v>-7.4154132093697811E-3</c:v>
                </c:pt>
                <c:pt idx="3489">
                  <c:v>-5.7639425620762408E-3</c:v>
                </c:pt>
                <c:pt idx="3490">
                  <c:v>-4.2519732749212169E-3</c:v>
                </c:pt>
                <c:pt idx="3491">
                  <c:v>-4.7726374423060491E-3</c:v>
                </c:pt>
                <c:pt idx="3492">
                  <c:v>-4.7493872156163519E-3</c:v>
                </c:pt>
                <c:pt idx="3493">
                  <c:v>-5.7054647191900898E-3</c:v>
                </c:pt>
                <c:pt idx="3494">
                  <c:v>-3.9574704035182373E-3</c:v>
                </c:pt>
                <c:pt idx="3495">
                  <c:v>-3.724968136621265E-3</c:v>
                </c:pt>
                <c:pt idx="3496">
                  <c:v>-4.0448348916856114E-3</c:v>
                </c:pt>
                <c:pt idx="3497">
                  <c:v>-3.5340344568359772E-3</c:v>
                </c:pt>
                <c:pt idx="3498">
                  <c:v>-4.1350175891489149E-3</c:v>
                </c:pt>
                <c:pt idx="3499">
                  <c:v>-5.2721650399727427E-3</c:v>
                </c:pt>
                <c:pt idx="3500">
                  <c:v>-4.0934490020367864E-3</c:v>
                </c:pt>
                <c:pt idx="3501">
                  <c:v>-9.5396384660206834E-4</c:v>
                </c:pt>
                <c:pt idx="3502">
                  <c:v>-1.5042192115919395E-3</c:v>
                </c:pt>
                <c:pt idx="3503">
                  <c:v>-2.764663319103744E-3</c:v>
                </c:pt>
                <c:pt idx="3504">
                  <c:v>-3.057052533534943E-3</c:v>
                </c:pt>
                <c:pt idx="3505">
                  <c:v>-4.1582678158385011E-3</c:v>
                </c:pt>
                <c:pt idx="3506">
                  <c:v>-3.3656464514165707E-3</c:v>
                </c:pt>
                <c:pt idx="3507">
                  <c:v>-9.8757099245354585E-3</c:v>
                </c:pt>
                <c:pt idx="3508">
                  <c:v>-7.0751144369112229E-3</c:v>
                </c:pt>
                <c:pt idx="3509">
                  <c:v>-1.3112423300672638E-2</c:v>
                </c:pt>
                <c:pt idx="3510">
                  <c:v>-1.0866310491981945E-2</c:v>
                </c:pt>
                <c:pt idx="3511">
                  <c:v>-8.8815865954693374E-3</c:v>
                </c:pt>
                <c:pt idx="3512">
                  <c:v>-8.3116037654094033E-3</c:v>
                </c:pt>
                <c:pt idx="3513">
                  <c:v>-7.6056423368309201E-3</c:v>
                </c:pt>
                <c:pt idx="3514">
                  <c:v>-1.4064273490302814E-2</c:v>
                </c:pt>
                <c:pt idx="3515">
                  <c:v>-1.0782468765434206E-2</c:v>
                </c:pt>
                <c:pt idx="3516">
                  <c:v>-8.59553835195348E-3</c:v>
                </c:pt>
                <c:pt idx="3517">
                  <c:v>-1.1360906223381262E-2</c:v>
                </c:pt>
                <c:pt idx="3518">
                  <c:v>-6.4804722755138489E-3</c:v>
                </c:pt>
                <c:pt idx="3519">
                  <c:v>-7.654960999506133E-3</c:v>
                </c:pt>
                <c:pt idx="3520">
                  <c:v>-6.2500836655885461E-3</c:v>
                </c:pt>
                <c:pt idx="3521">
                  <c:v>-6.1345370844638758E-3</c:v>
                </c:pt>
                <c:pt idx="3522">
                  <c:v>-8.9006095082153625E-3</c:v>
                </c:pt>
                <c:pt idx="3523">
                  <c:v>-5.9865810964384591E-3</c:v>
                </c:pt>
                <c:pt idx="3524">
                  <c:v>-8.5624243927288068E-3</c:v>
                </c:pt>
                <c:pt idx="3525">
                  <c:v>-9.1944078272945262E-3</c:v>
                </c:pt>
                <c:pt idx="3526">
                  <c:v>-1.0089893831010222E-2</c:v>
                </c:pt>
                <c:pt idx="3527">
                  <c:v>-1.166245461802351E-2</c:v>
                </c:pt>
                <c:pt idx="3528">
                  <c:v>-8.673743659909805E-3</c:v>
                </c:pt>
                <c:pt idx="3529">
                  <c:v>-8.907655031454631E-3</c:v>
                </c:pt>
                <c:pt idx="3530">
                  <c:v>-1.2576258982161415E-2</c:v>
                </c:pt>
                <c:pt idx="3531">
                  <c:v>-1.2720692208567197E-2</c:v>
                </c:pt>
                <c:pt idx="3532">
                  <c:v>-1.0413987900018462E-2</c:v>
                </c:pt>
                <c:pt idx="3533">
                  <c:v>-1.3127923451799139E-2</c:v>
                </c:pt>
                <c:pt idx="3534">
                  <c:v>-1.3399176096512422E-2</c:v>
                </c:pt>
                <c:pt idx="3535">
                  <c:v>-1.1391201973310228E-2</c:v>
                </c:pt>
                <c:pt idx="3536">
                  <c:v>-1.1038925811344802E-2</c:v>
                </c:pt>
                <c:pt idx="3537">
                  <c:v>-1.1084721712400269E-2</c:v>
                </c:pt>
                <c:pt idx="3538">
                  <c:v>-1.0550671050860938E-2</c:v>
                </c:pt>
                <c:pt idx="3539">
                  <c:v>-1.4692734163248899E-2</c:v>
                </c:pt>
                <c:pt idx="3540">
                  <c:v>-1.5770699218862982E-2</c:v>
                </c:pt>
                <c:pt idx="3541">
                  <c:v>-1.3979022659107332E-2</c:v>
                </c:pt>
                <c:pt idx="3542">
                  <c:v>-1.3336470939682599E-2</c:v>
                </c:pt>
                <c:pt idx="3543">
                  <c:v>-1.1564521844997122E-2</c:v>
                </c:pt>
                <c:pt idx="3544">
                  <c:v>-1.4792076040923252E-2</c:v>
                </c:pt>
                <c:pt idx="3545">
                  <c:v>-1.5476900899783708E-2</c:v>
                </c:pt>
                <c:pt idx="3546">
                  <c:v>-1.7380601279044394E-2</c:v>
                </c:pt>
                <c:pt idx="3547">
                  <c:v>-1.4634960872686675E-2</c:v>
                </c:pt>
                <c:pt idx="3548">
                  <c:v>-1.5481832766051196E-2</c:v>
                </c:pt>
                <c:pt idx="3549">
                  <c:v>-1.6188498746953606E-2</c:v>
                </c:pt>
                <c:pt idx="3550">
                  <c:v>-1.6966324512573072E-2</c:v>
                </c:pt>
                <c:pt idx="3551">
                  <c:v>-1.8662886508598042E-2</c:v>
                </c:pt>
                <c:pt idx="3552">
                  <c:v>-1.9363916070909037E-2</c:v>
                </c:pt>
                <c:pt idx="3553">
                  <c:v>-1.7830105661711948E-2</c:v>
                </c:pt>
                <c:pt idx="3554">
                  <c:v>-1.4711052523671109E-2</c:v>
                </c:pt>
                <c:pt idx="3555">
                  <c:v>-1.4300298518819532E-2</c:v>
                </c:pt>
                <c:pt idx="3556">
                  <c:v>-1.4374981065156334E-2</c:v>
                </c:pt>
                <c:pt idx="3557">
                  <c:v>-1.5485355527670941E-2</c:v>
                </c:pt>
                <c:pt idx="3558">
                  <c:v>-1.6479478856737062E-2</c:v>
                </c:pt>
                <c:pt idx="3559">
                  <c:v>-1.5703766748089487E-2</c:v>
                </c:pt>
                <c:pt idx="3560">
                  <c:v>-1.7954106870723852E-2</c:v>
                </c:pt>
                <c:pt idx="3561">
                  <c:v>-1.395647698474145E-2</c:v>
                </c:pt>
                <c:pt idx="3562">
                  <c:v>-1.3525995514819922E-2</c:v>
                </c:pt>
                <c:pt idx="3563">
                  <c:v>-1.1493362060280177E-2</c:v>
                </c:pt>
                <c:pt idx="3564">
                  <c:v>-1.0995243567261115E-2</c:v>
                </c:pt>
                <c:pt idx="3565">
                  <c:v>-1.2707305714412476E-2</c:v>
                </c:pt>
                <c:pt idx="3566">
                  <c:v>-1.1744887239923285E-2</c:v>
                </c:pt>
                <c:pt idx="3567">
                  <c:v>-1.0931833858107476E-2</c:v>
                </c:pt>
                <c:pt idx="3568">
                  <c:v>-1.1135449479723336E-2</c:v>
                </c:pt>
                <c:pt idx="3569">
                  <c:v>-1.1323564950212806E-2</c:v>
                </c:pt>
                <c:pt idx="3570">
                  <c:v>-1.1355974357113552E-2</c:v>
                </c:pt>
                <c:pt idx="3571">
                  <c:v>-8.4891509510399699E-3</c:v>
                </c:pt>
                <c:pt idx="3572">
                  <c:v>-8.249603160903507E-3</c:v>
                </c:pt>
                <c:pt idx="3573">
                  <c:v>-7.1610698204307432E-3</c:v>
                </c:pt>
                <c:pt idx="3574">
                  <c:v>-6.9461813616318313E-3</c:v>
                </c:pt>
                <c:pt idx="3575">
                  <c:v>-5.9767173639033722E-3</c:v>
                </c:pt>
                <c:pt idx="3576">
                  <c:v>-3.5368526661317956E-3</c:v>
                </c:pt>
                <c:pt idx="3577">
                  <c:v>-3.7066497761990558E-3</c:v>
                </c:pt>
                <c:pt idx="3578">
                  <c:v>-3.379032945571292E-3</c:v>
                </c:pt>
                <c:pt idx="3579">
                  <c:v>-1.0406237824456266E-3</c:v>
                </c:pt>
                <c:pt idx="3580">
                  <c:v>-2.1897486227763219E-3</c:v>
                </c:pt>
                <c:pt idx="3581">
                  <c:v>-1.545787798703846E-3</c:v>
                </c:pt>
                <c:pt idx="3582">
                  <c:v>-3.1296214228997421E-3</c:v>
                </c:pt>
                <c:pt idx="3583">
                  <c:v>-3.310691370149943E-3</c:v>
                </c:pt>
                <c:pt idx="3584">
                  <c:v>-2.925301248959844E-3</c:v>
                </c:pt>
                <c:pt idx="3585">
                  <c:v>-1.350626804974997E-3</c:v>
                </c:pt>
                <c:pt idx="3586">
                  <c:v>-3.8820833048580639E-4</c:v>
                </c:pt>
                <c:pt idx="3587">
                  <c:v>-3.8045825492272201E-5</c:v>
                </c:pt>
                <c:pt idx="3588">
                  <c:v>-1.4534914442688729E-3</c:v>
                </c:pt>
                <c:pt idx="3589">
                  <c:v>-2.0664519660884562E-3</c:v>
                </c:pt>
                <c:pt idx="3590">
                  <c:v>-1.399240915326172E-3</c:v>
                </c:pt>
                <c:pt idx="3591">
                  <c:v>0</c:v>
                </c:pt>
                <c:pt idx="3592">
                  <c:v>-1.9631568463073235E-3</c:v>
                </c:pt>
                <c:pt idx="3593">
                  <c:v>-3.4371082396981167E-3</c:v>
                </c:pt>
                <c:pt idx="3594">
                  <c:v>0</c:v>
                </c:pt>
                <c:pt idx="3595">
                  <c:v>0</c:v>
                </c:pt>
                <c:pt idx="3596">
                  <c:v>-9.8033929543028808E-4</c:v>
                </c:pt>
                <c:pt idx="3597">
                  <c:v>-1.9746834379379408E-3</c:v>
                </c:pt>
                <c:pt idx="3598">
                  <c:v>-8.528951870242496E-4</c:v>
                </c:pt>
                <c:pt idx="3599">
                  <c:v>-2.0398059768486076E-3</c:v>
                </c:pt>
                <c:pt idx="3600">
                  <c:v>-1.435496825451521E-4</c:v>
                </c:pt>
                <c:pt idx="3601">
                  <c:v>0</c:v>
                </c:pt>
                <c:pt idx="3602">
                  <c:v>0</c:v>
                </c:pt>
                <c:pt idx="3603">
                  <c:v>-6.5495071443455455E-4</c:v>
                </c:pt>
                <c:pt idx="3604">
                  <c:v>-4.4406637020303341E-3</c:v>
                </c:pt>
                <c:pt idx="3605">
                  <c:v>-4.5294350368575431E-3</c:v>
                </c:pt>
                <c:pt idx="3606">
                  <c:v>-4.4092092920520187E-3</c:v>
                </c:pt>
                <c:pt idx="3607">
                  <c:v>-6.7885606601791881E-3</c:v>
                </c:pt>
                <c:pt idx="3608">
                  <c:v>-9.7257035652525969E-3</c:v>
                </c:pt>
                <c:pt idx="3609">
                  <c:v>-7.0199253202408718E-3</c:v>
                </c:pt>
                <c:pt idx="3610">
                  <c:v>-7.3309744855806214E-3</c:v>
                </c:pt>
                <c:pt idx="3611">
                  <c:v>-5.9260108398887512E-3</c:v>
                </c:pt>
                <c:pt idx="3612">
                  <c:v>-3.3733107234373838E-3</c:v>
                </c:pt>
                <c:pt idx="3613">
                  <c:v>-5.1676100659703295E-3</c:v>
                </c:pt>
                <c:pt idx="3614">
                  <c:v>-6.1993147132546333E-3</c:v>
                </c:pt>
                <c:pt idx="3615">
                  <c:v>-8.0977631021597052E-3</c:v>
                </c:pt>
                <c:pt idx="3616">
                  <c:v>-7.0562726384378882E-3</c:v>
                </c:pt>
                <c:pt idx="3617">
                  <c:v>-4.6867070867484539E-3</c:v>
                </c:pt>
                <c:pt idx="3618">
                  <c:v>-5.3808010669336159E-3</c:v>
                </c:pt>
                <c:pt idx="3619">
                  <c:v>-3.8807752044187627E-3</c:v>
                </c:pt>
                <c:pt idx="3620">
                  <c:v>-2.4450561356369471E-3</c:v>
                </c:pt>
                <c:pt idx="3621">
                  <c:v>-4.344902498318981E-3</c:v>
                </c:pt>
                <c:pt idx="3622">
                  <c:v>-3.7780241318233765E-3</c:v>
                </c:pt>
                <c:pt idx="3623">
                  <c:v>-3.4243367662909474E-3</c:v>
                </c:pt>
                <c:pt idx="3624">
                  <c:v>-2.8560604260186029E-3</c:v>
                </c:pt>
                <c:pt idx="3625">
                  <c:v>-7.6119672147190176E-4</c:v>
                </c:pt>
                <c:pt idx="3626">
                  <c:v>-5.3332699585229015E-4</c:v>
                </c:pt>
                <c:pt idx="3627">
                  <c:v>0</c:v>
                </c:pt>
                <c:pt idx="3628">
                  <c:v>-2.0049852176018401E-4</c:v>
                </c:pt>
                <c:pt idx="3629">
                  <c:v>-1.1422128330231818E-3</c:v>
                </c:pt>
                <c:pt idx="3630">
                  <c:v>0</c:v>
                </c:pt>
                <c:pt idx="3631">
                  <c:v>0</c:v>
                </c:pt>
                <c:pt idx="3632">
                  <c:v>-2.9580537930660178E-3</c:v>
                </c:pt>
                <c:pt idx="3633">
                  <c:v>-4.1888328936698915E-3</c:v>
                </c:pt>
                <c:pt idx="3634">
                  <c:v>-1.6903164531805182E-3</c:v>
                </c:pt>
                <c:pt idx="3635">
                  <c:v>-1.1659278505437021E-3</c:v>
                </c:pt>
                <c:pt idx="3636">
                  <c:v>-1.1722037779688943E-3</c:v>
                </c:pt>
                <c:pt idx="3637">
                  <c:v>-2.0354924615652026E-3</c:v>
                </c:pt>
                <c:pt idx="3638">
                  <c:v>-1.5536407003656771E-3</c:v>
                </c:pt>
                <c:pt idx="3639">
                  <c:v>-3.9022322079201865E-3</c:v>
                </c:pt>
                <c:pt idx="3640">
                  <c:v>-5.527697411040422E-3</c:v>
                </c:pt>
                <c:pt idx="3641">
                  <c:v>-4.8596598028940452E-3</c:v>
                </c:pt>
                <c:pt idx="3642">
                  <c:v>-5.0528189025356163E-3</c:v>
                </c:pt>
                <c:pt idx="3643">
                  <c:v>-1.3374698668318086E-3</c:v>
                </c:pt>
                <c:pt idx="3644">
                  <c:v>-5.7250404622988249E-4</c:v>
                </c:pt>
                <c:pt idx="3645">
                  <c:v>0</c:v>
                </c:pt>
                <c:pt idx="3646">
                  <c:v>0</c:v>
                </c:pt>
                <c:pt idx="3647">
                  <c:v>0</c:v>
                </c:pt>
                <c:pt idx="3648">
                  <c:v>-6.1721923641155918E-4</c:v>
                </c:pt>
                <c:pt idx="3649">
                  <c:v>-1.544783803167471E-3</c:v>
                </c:pt>
                <c:pt idx="3650">
                  <c:v>-5.5126217515277798E-4</c:v>
                </c:pt>
                <c:pt idx="3651">
                  <c:v>-3.1576075221596556E-3</c:v>
                </c:pt>
                <c:pt idx="3652">
                  <c:v>-1.8349948727063303E-3</c:v>
                </c:pt>
                <c:pt idx="3653">
                  <c:v>-1.3462183345355205E-3</c:v>
                </c:pt>
                <c:pt idx="3654">
                  <c:v>-2.1439516333398023E-3</c:v>
                </c:pt>
                <c:pt idx="3655">
                  <c:v>0</c:v>
                </c:pt>
                <c:pt idx="3656">
                  <c:v>0</c:v>
                </c:pt>
                <c:pt idx="3657">
                  <c:v>0</c:v>
                </c:pt>
                <c:pt idx="3658">
                  <c:v>-2.7341776362982406E-3</c:v>
                </c:pt>
                <c:pt idx="3659">
                  <c:v>-5.3983547805137588E-3</c:v>
                </c:pt>
                <c:pt idx="3660">
                  <c:v>-1.498426375076356E-3</c:v>
                </c:pt>
                <c:pt idx="3661">
                  <c:v>-2.5449683854212868E-3</c:v>
                </c:pt>
                <c:pt idx="3662">
                  <c:v>-5.0046886468210205E-3</c:v>
                </c:pt>
                <c:pt idx="3663">
                  <c:v>-6.20509312491202E-3</c:v>
                </c:pt>
                <c:pt idx="3664">
                  <c:v>-6.6264822257661171E-3</c:v>
                </c:pt>
                <c:pt idx="3665">
                  <c:v>-1.2656920657561077E-2</c:v>
                </c:pt>
                <c:pt idx="3666">
                  <c:v>-2.0155983274733891E-2</c:v>
                </c:pt>
                <c:pt idx="3667">
                  <c:v>-1.8070523070013556E-2</c:v>
                </c:pt>
                <c:pt idx="3668">
                  <c:v>-1.7932601308385254E-2</c:v>
                </c:pt>
                <c:pt idx="3669">
                  <c:v>-2.5639586179269203E-2</c:v>
                </c:pt>
                <c:pt idx="3670">
                  <c:v>-2.355343290036982E-2</c:v>
                </c:pt>
                <c:pt idx="3671">
                  <c:v>-2.0573907004692638E-2</c:v>
                </c:pt>
                <c:pt idx="3672">
                  <c:v>-2.2504118593308808E-2</c:v>
                </c:pt>
                <c:pt idx="3673">
                  <c:v>-1.9543998774644744E-2</c:v>
                </c:pt>
                <c:pt idx="3674">
                  <c:v>-1.7699035310050126E-2</c:v>
                </c:pt>
                <c:pt idx="3675">
                  <c:v>-1.4624558251845055E-2</c:v>
                </c:pt>
                <c:pt idx="3676">
                  <c:v>-1.5715457009648159E-2</c:v>
                </c:pt>
                <c:pt idx="3677">
                  <c:v>-1.4935055484053383E-2</c:v>
                </c:pt>
                <c:pt idx="3678">
                  <c:v>-1.5241394271187314E-2</c:v>
                </c:pt>
                <c:pt idx="3679">
                  <c:v>-1.5524861610413221E-2</c:v>
                </c:pt>
                <c:pt idx="3680">
                  <c:v>-1.0712154511185012E-2</c:v>
                </c:pt>
                <c:pt idx="3681">
                  <c:v>-8.3557023024615207E-3</c:v>
                </c:pt>
                <c:pt idx="3682">
                  <c:v>-1.0486905402998237E-2</c:v>
                </c:pt>
                <c:pt idx="3683">
                  <c:v>-1.1800974046451196E-2</c:v>
                </c:pt>
                <c:pt idx="3684">
                  <c:v>-1.5278127202676295E-2</c:v>
                </c:pt>
                <c:pt idx="3685">
                  <c:v>-1.9025579288725503E-2</c:v>
                </c:pt>
                <c:pt idx="3686">
                  <c:v>-1.6979624312210451E-2</c:v>
                </c:pt>
                <c:pt idx="3687">
                  <c:v>-1.7715669090346942E-2</c:v>
                </c:pt>
                <c:pt idx="3688">
                  <c:v>-1.6712097679102422E-2</c:v>
                </c:pt>
                <c:pt idx="3689">
                  <c:v>-1.3253657525711282E-2</c:v>
                </c:pt>
                <c:pt idx="3690">
                  <c:v>-1.1214633290986487E-2</c:v>
                </c:pt>
                <c:pt idx="3691">
                  <c:v>-9.319075411322153E-3</c:v>
                </c:pt>
                <c:pt idx="3692">
                  <c:v>-1.2859991392018544E-2</c:v>
                </c:pt>
                <c:pt idx="3693">
                  <c:v>-1.3159399437362329E-2</c:v>
                </c:pt>
                <c:pt idx="3694">
                  <c:v>-1.2403255508033673E-2</c:v>
                </c:pt>
                <c:pt idx="3695">
                  <c:v>-1.1431565509024799E-2</c:v>
                </c:pt>
                <c:pt idx="3696">
                  <c:v>-1.587832944172185E-2</c:v>
                </c:pt>
                <c:pt idx="3697">
                  <c:v>-1.4384754585898385E-2</c:v>
                </c:pt>
                <c:pt idx="3698">
                  <c:v>-1.5106244806275315E-2</c:v>
                </c:pt>
                <c:pt idx="3699">
                  <c:v>-1.9017955472756309E-2</c:v>
                </c:pt>
                <c:pt idx="3700">
                  <c:v>-2.7142170999419735E-2</c:v>
                </c:pt>
                <c:pt idx="3701">
                  <c:v>-2.4441953997894283E-2</c:v>
                </c:pt>
                <c:pt idx="3702">
                  <c:v>-2.4239576337615865E-2</c:v>
                </c:pt>
                <c:pt idx="3703">
                  <c:v>-2.4720569817867077E-2</c:v>
                </c:pt>
                <c:pt idx="3704">
                  <c:v>-2.0507371883505265E-2</c:v>
                </c:pt>
                <c:pt idx="3705">
                  <c:v>-2.0857374343918655E-2</c:v>
                </c:pt>
                <c:pt idx="3706">
                  <c:v>-2.508443376186098E-2</c:v>
                </c:pt>
                <c:pt idx="3707">
                  <c:v>-2.3118182315935099E-2</c:v>
                </c:pt>
                <c:pt idx="3708">
                  <c:v>-2.1051435114048722E-2</c:v>
                </c:pt>
                <c:pt idx="3709">
                  <c:v>-1.7976264981664603E-2</c:v>
                </c:pt>
                <c:pt idx="3710">
                  <c:v>-2.1321040969693783E-2</c:v>
                </c:pt>
                <c:pt idx="3711">
                  <c:v>-2.1775697631141733E-2</c:v>
                </c:pt>
                <c:pt idx="3712">
                  <c:v>-1.8965281835149339E-2</c:v>
                </c:pt>
                <c:pt idx="3713">
                  <c:v>-1.9676375942840774E-2</c:v>
                </c:pt>
                <c:pt idx="3714">
                  <c:v>-1.7953393533756468E-2</c:v>
                </c:pt>
                <c:pt idx="3715">
                  <c:v>-1.7735075167360059E-2</c:v>
                </c:pt>
                <c:pt idx="3716">
                  <c:v>-1.7519529097679731E-2</c:v>
                </c:pt>
                <c:pt idx="3717">
                  <c:v>-1.3828216020132289E-2</c:v>
                </c:pt>
                <c:pt idx="3718">
                  <c:v>-1.4395150698584103E-2</c:v>
                </c:pt>
                <c:pt idx="3719">
                  <c:v>-1.6456353307037985E-2</c:v>
                </c:pt>
                <c:pt idx="3720">
                  <c:v>-1.5263572644916512E-2</c:v>
                </c:pt>
                <c:pt idx="3721">
                  <c:v>-1.4623172103486959E-2</c:v>
                </c:pt>
                <c:pt idx="3722">
                  <c:v>-1.604050879961616E-2</c:v>
                </c:pt>
                <c:pt idx="3723">
                  <c:v>-1.5883180960974963E-2</c:v>
                </c:pt>
                <c:pt idx="3724">
                  <c:v>-1.0993542627873887E-2</c:v>
                </c:pt>
                <c:pt idx="3725">
                  <c:v>-1.0598490345823053E-2</c:v>
                </c:pt>
                <c:pt idx="3726">
                  <c:v>-1.2040084638218596E-2</c:v>
                </c:pt>
                <c:pt idx="3727">
                  <c:v>-1.0003139626030944E-2</c:v>
                </c:pt>
                <c:pt idx="3728">
                  <c:v>-1.0520172963592089E-2</c:v>
                </c:pt>
                <c:pt idx="3729">
                  <c:v>-9.8250195620186442E-3</c:v>
                </c:pt>
                <c:pt idx="3730">
                  <c:v>-8.2593649915756462E-3</c:v>
                </c:pt>
                <c:pt idx="3731">
                  <c:v>-6.0415276186592815E-3</c:v>
                </c:pt>
                <c:pt idx="3732">
                  <c:v>-5.5272665778144381E-3</c:v>
                </c:pt>
                <c:pt idx="3733">
                  <c:v>-2.5893251328795719E-3</c:v>
                </c:pt>
                <c:pt idx="3734">
                  <c:v>-1.1608992498857162E-3</c:v>
                </c:pt>
                <c:pt idx="3735">
                  <c:v>-1.4797133722423972E-3</c:v>
                </c:pt>
                <c:pt idx="3736">
                  <c:v>-2.5740775009408523E-3</c:v>
                </c:pt>
                <c:pt idx="3737">
                  <c:v>-1.8130820523588609E-3</c:v>
                </c:pt>
                <c:pt idx="3738">
                  <c:v>0</c:v>
                </c:pt>
                <c:pt idx="3739">
                  <c:v>0</c:v>
                </c:pt>
                <c:pt idx="3740">
                  <c:v>0</c:v>
                </c:pt>
                <c:pt idx="3741">
                  <c:v>0</c:v>
                </c:pt>
                <c:pt idx="3742">
                  <c:v>-3.2681996572880845E-4</c:v>
                </c:pt>
                <c:pt idx="3743">
                  <c:v>0</c:v>
                </c:pt>
                <c:pt idx="3744">
                  <c:v>-5.9843000129078394E-4</c:v>
                </c:pt>
                <c:pt idx="3745">
                  <c:v>-5.9635930924473168E-4</c:v>
                </c:pt>
                <c:pt idx="3746">
                  <c:v>-3.6720272282197985E-4</c:v>
                </c:pt>
                <c:pt idx="3747">
                  <c:v>-4.404361981817817E-3</c:v>
                </c:pt>
                <c:pt idx="3748">
                  <c:v>-1.6317053322391084E-3</c:v>
                </c:pt>
                <c:pt idx="3749">
                  <c:v>-1.752495701588308E-3</c:v>
                </c:pt>
                <c:pt idx="3750">
                  <c:v>-8.386302786254074E-4</c:v>
                </c:pt>
                <c:pt idx="3751">
                  <c:v>0</c:v>
                </c:pt>
                <c:pt idx="3752">
                  <c:v>-5.1319405357086456E-4</c:v>
                </c:pt>
                <c:pt idx="3753">
                  <c:v>-3.6896169254709843E-3</c:v>
                </c:pt>
                <c:pt idx="3754">
                  <c:v>-2.459054840026953E-3</c:v>
                </c:pt>
                <c:pt idx="3755">
                  <c:v>0</c:v>
                </c:pt>
                <c:pt idx="3756">
                  <c:v>0</c:v>
                </c:pt>
                <c:pt idx="3757">
                  <c:v>0</c:v>
                </c:pt>
                <c:pt idx="3758">
                  <c:v>0</c:v>
                </c:pt>
                <c:pt idx="3759">
                  <c:v>0</c:v>
                </c:pt>
                <c:pt idx="3760">
                  <c:v>-3.1499586181904515E-4</c:v>
                </c:pt>
                <c:pt idx="3761">
                  <c:v>-2.4307523803117626E-3</c:v>
                </c:pt>
                <c:pt idx="3762">
                  <c:v>-3.0140780503471465E-3</c:v>
                </c:pt>
                <c:pt idx="3763">
                  <c:v>-3.0600578384558652E-3</c:v>
                </c:pt>
                <c:pt idx="3764">
                  <c:v>-6.0027642774104217E-3</c:v>
                </c:pt>
                <c:pt idx="3765">
                  <c:v>-5.0104243728562592E-3</c:v>
                </c:pt>
                <c:pt idx="3766">
                  <c:v>-1.0615154663654369E-2</c:v>
                </c:pt>
                <c:pt idx="3767">
                  <c:v>-1.0113494587423943E-2</c:v>
                </c:pt>
                <c:pt idx="3768">
                  <c:v>-8.3545961258940649E-3</c:v>
                </c:pt>
                <c:pt idx="3769">
                  <c:v>-7.87901413844172E-3</c:v>
                </c:pt>
                <c:pt idx="3770">
                  <c:v>-8.127442247327199E-3</c:v>
                </c:pt>
                <c:pt idx="3771">
                  <c:v>-8.0608744943938548E-3</c:v>
                </c:pt>
                <c:pt idx="3772">
                  <c:v>-9.5164436075054759E-3</c:v>
                </c:pt>
                <c:pt idx="3773">
                  <c:v>-9.6468340513957695E-3</c:v>
                </c:pt>
                <c:pt idx="3774">
                  <c:v>-9.2089966661220712E-3</c:v>
                </c:pt>
                <c:pt idx="3775">
                  <c:v>-7.8254854298972498E-3</c:v>
                </c:pt>
                <c:pt idx="3776">
                  <c:v>-5.3748313502547385E-3</c:v>
                </c:pt>
                <c:pt idx="3777">
                  <c:v>-3.8478906257506384E-3</c:v>
                </c:pt>
                <c:pt idx="3778">
                  <c:v>-6.3575635378906314E-3</c:v>
                </c:pt>
                <c:pt idx="3779">
                  <c:v>-3.0772144758097753E-3</c:v>
                </c:pt>
                <c:pt idx="3780">
                  <c:v>-1.8700734715836331E-3</c:v>
                </c:pt>
                <c:pt idx="3781">
                  <c:v>-4.4360201542450461E-3</c:v>
                </c:pt>
                <c:pt idx="3782">
                  <c:v>-1.4027266700613605E-3</c:v>
                </c:pt>
                <c:pt idx="3783">
                  <c:v>-9.5528156786950369E-4</c:v>
                </c:pt>
                <c:pt idx="3784">
                  <c:v>-9.8341845312999165E-4</c:v>
                </c:pt>
                <c:pt idx="3785">
                  <c:v>-4.0036728929245813E-3</c:v>
                </c:pt>
                <c:pt idx="3786">
                  <c:v>-3.4285824088192696E-3</c:v>
                </c:pt>
                <c:pt idx="3787">
                  <c:v>-7.9469544223620403E-4</c:v>
                </c:pt>
                <c:pt idx="3788">
                  <c:v>0</c:v>
                </c:pt>
                <c:pt idx="3789">
                  <c:v>-1.7816907971546225E-4</c:v>
                </c:pt>
                <c:pt idx="3790">
                  <c:v>-7.2638163268656797E-4</c:v>
                </c:pt>
                <c:pt idx="3791">
                  <c:v>-4.2541294110552963E-3</c:v>
                </c:pt>
                <c:pt idx="3792">
                  <c:v>-1.4883970813163172E-3</c:v>
                </c:pt>
                <c:pt idx="3793">
                  <c:v>-3.0878072046094385E-3</c:v>
                </c:pt>
                <c:pt idx="3794">
                  <c:v>-7.6338598001224334E-4</c:v>
                </c:pt>
                <c:pt idx="3795">
                  <c:v>0</c:v>
                </c:pt>
                <c:pt idx="3796">
                  <c:v>0</c:v>
                </c:pt>
                <c:pt idx="3797">
                  <c:v>-5.9303633235707753E-4</c:v>
                </c:pt>
                <c:pt idx="3798">
                  <c:v>-5.513598159128108E-4</c:v>
                </c:pt>
                <c:pt idx="3799">
                  <c:v>0</c:v>
                </c:pt>
                <c:pt idx="3800">
                  <c:v>0</c:v>
                </c:pt>
                <c:pt idx="3801">
                  <c:v>-2.5598475286549016E-3</c:v>
                </c:pt>
                <c:pt idx="3802">
                  <c:v>0</c:v>
                </c:pt>
                <c:pt idx="3803">
                  <c:v>-1.4685089075672231E-3</c:v>
                </c:pt>
                <c:pt idx="3804">
                  <c:v>-1.380521146732927E-3</c:v>
                </c:pt>
                <c:pt idx="3805">
                  <c:v>-6.2137093116299003E-4</c:v>
                </c:pt>
                <c:pt idx="3806">
                  <c:v>0</c:v>
                </c:pt>
                <c:pt idx="3807">
                  <c:v>-1.9502282653538483E-3</c:v>
                </c:pt>
                <c:pt idx="3808">
                  <c:v>-4.0027412299393772E-3</c:v>
                </c:pt>
                <c:pt idx="3809">
                  <c:v>-3.8513598750762323E-3</c:v>
                </c:pt>
                <c:pt idx="3810">
                  <c:v>-3.5274583275086702E-3</c:v>
                </c:pt>
                <c:pt idx="3811">
                  <c:v>-1.8527168520859894E-3</c:v>
                </c:pt>
                <c:pt idx="3812">
                  <c:v>-3.7374829099313667E-3</c:v>
                </c:pt>
                <c:pt idx="3813">
                  <c:v>-1.2560561065668718E-3</c:v>
                </c:pt>
                <c:pt idx="3814">
                  <c:v>-6.8189799487894387E-4</c:v>
                </c:pt>
                <c:pt idx="3815">
                  <c:v>-1.4865376288359933E-3</c:v>
                </c:pt>
                <c:pt idx="3816">
                  <c:v>-1.4497151371125616E-3</c:v>
                </c:pt>
                <c:pt idx="3817">
                  <c:v>-7.8145510213123437E-4</c:v>
                </c:pt>
                <c:pt idx="3818">
                  <c:v>-4.5203018080524071E-3</c:v>
                </c:pt>
                <c:pt idx="3819">
                  <c:v>-4.8421576616353157E-3</c:v>
                </c:pt>
                <c:pt idx="3820">
                  <c:v>-5.7306707489626074E-3</c:v>
                </c:pt>
                <c:pt idx="3821">
                  <c:v>-4.6975952867209791E-3</c:v>
                </c:pt>
                <c:pt idx="3822">
                  <c:v>-4.4009696589486502E-3</c:v>
                </c:pt>
                <c:pt idx="3823">
                  <c:v>-3.8799995908611606E-3</c:v>
                </c:pt>
                <c:pt idx="3824">
                  <c:v>-4.1752614226435725E-3</c:v>
                </c:pt>
                <c:pt idx="3825">
                  <c:v>-3.7136164801107041E-3</c:v>
                </c:pt>
                <c:pt idx="3826">
                  <c:v>-4.2175390983261174E-3</c:v>
                </c:pt>
                <c:pt idx="3827">
                  <c:v>-3.2594724155212695E-3</c:v>
                </c:pt>
                <c:pt idx="3828">
                  <c:v>-2.2550366690645696E-3</c:v>
                </c:pt>
                <c:pt idx="3829">
                  <c:v>-1.3883443175735088E-3</c:v>
                </c:pt>
                <c:pt idx="3830">
                  <c:v>-3.3276622150091306E-4</c:v>
                </c:pt>
                <c:pt idx="3831">
                  <c:v>-4.0675215394528896E-3</c:v>
                </c:pt>
                <c:pt idx="3832">
                  <c:v>-2.7071350396693505E-3</c:v>
                </c:pt>
                <c:pt idx="3833">
                  <c:v>-1.3890262155683564E-3</c:v>
                </c:pt>
                <c:pt idx="3834">
                  <c:v>-2.720772999565968E-4</c:v>
                </c:pt>
                <c:pt idx="3835">
                  <c:v>0</c:v>
                </c:pt>
                <c:pt idx="3836">
                  <c:v>0</c:v>
                </c:pt>
                <c:pt idx="3837">
                  <c:v>0</c:v>
                </c:pt>
                <c:pt idx="3838">
                  <c:v>0</c:v>
                </c:pt>
                <c:pt idx="3839">
                  <c:v>-2.9692923753250611E-3</c:v>
                </c:pt>
                <c:pt idx="3840">
                  <c:v>-4.535549897169755E-3</c:v>
                </c:pt>
                <c:pt idx="3841">
                  <c:v>-3.8833393181645359E-3</c:v>
                </c:pt>
                <c:pt idx="3842">
                  <c:v>-3.9799127302798665E-3</c:v>
                </c:pt>
                <c:pt idx="3843">
                  <c:v>-1.2849024472518678E-2</c:v>
                </c:pt>
                <c:pt idx="3844">
                  <c:v>-1.9519390853001695E-2</c:v>
                </c:pt>
                <c:pt idx="3845">
                  <c:v>-1.6716721618298291E-2</c:v>
                </c:pt>
                <c:pt idx="3846">
                  <c:v>-1.8675393638668547E-2</c:v>
                </c:pt>
                <c:pt idx="3847">
                  <c:v>-1.2572906125202676E-2</c:v>
                </c:pt>
                <c:pt idx="3848">
                  <c:v>-1.2021349525021985E-2</c:v>
                </c:pt>
                <c:pt idx="3849">
                  <c:v>-1.5332049315008867E-2</c:v>
                </c:pt>
                <c:pt idx="3850">
                  <c:v>-1.5303485348045154E-2</c:v>
                </c:pt>
                <c:pt idx="3851">
                  <c:v>-1.5403459232418037E-2</c:v>
                </c:pt>
                <c:pt idx="3852">
                  <c:v>-1.8067389199011963E-2</c:v>
                </c:pt>
                <c:pt idx="3853">
                  <c:v>-2.3100768234692537E-2</c:v>
                </c:pt>
                <c:pt idx="3854">
                  <c:v>-1.9992056496806132E-2</c:v>
                </c:pt>
                <c:pt idx="3855">
                  <c:v>-2.2706993547263798E-2</c:v>
                </c:pt>
                <c:pt idx="3856">
                  <c:v>-2.4932262592628818E-2</c:v>
                </c:pt>
                <c:pt idx="3857">
                  <c:v>-2.1741939520560583E-2</c:v>
                </c:pt>
                <c:pt idx="3858">
                  <c:v>-1.6531055833034158E-2</c:v>
                </c:pt>
                <c:pt idx="3859">
                  <c:v>-1.5827158075713554E-2</c:v>
                </c:pt>
                <c:pt idx="3860">
                  <c:v>-1.5846880814807451E-2</c:v>
                </c:pt>
                <c:pt idx="3861">
                  <c:v>-1.5527236422594348E-2</c:v>
                </c:pt>
                <c:pt idx="3862">
                  <c:v>-1.5139582585229405E-2</c:v>
                </c:pt>
                <c:pt idx="3863">
                  <c:v>-1.1305210067574123E-2</c:v>
                </c:pt>
                <c:pt idx="3864">
                  <c:v>-1.0701286194626736E-2</c:v>
                </c:pt>
                <c:pt idx="3865">
                  <c:v>-1.0423127563956136E-2</c:v>
                </c:pt>
                <c:pt idx="3866">
                  <c:v>-1.3333251721999173E-2</c:v>
                </c:pt>
                <c:pt idx="3867">
                  <c:v>-1.4787973753794814E-2</c:v>
                </c:pt>
                <c:pt idx="3868">
                  <c:v>-1.7132939422626947E-2</c:v>
                </c:pt>
                <c:pt idx="3869">
                  <c:v>-1.4850542443334391E-2</c:v>
                </c:pt>
                <c:pt idx="3870">
                  <c:v>-1.6864302114277696E-2</c:v>
                </c:pt>
                <c:pt idx="3871">
                  <c:v>-2.1808588776809246E-2</c:v>
                </c:pt>
                <c:pt idx="3872">
                  <c:v>-2.4735715296140381E-2</c:v>
                </c:pt>
                <c:pt idx="3873">
                  <c:v>-2.2949787266455468E-2</c:v>
                </c:pt>
                <c:pt idx="3874">
                  <c:v>-2.3279633075441564E-2</c:v>
                </c:pt>
                <c:pt idx="3875">
                  <c:v>-2.2587296923796796E-2</c:v>
                </c:pt>
                <c:pt idx="3876">
                  <c:v>-1.9224909955494529E-2</c:v>
                </c:pt>
                <c:pt idx="3877">
                  <c:v>-1.7993938998248082E-2</c:v>
                </c:pt>
                <c:pt idx="3878">
                  <c:v>-1.3533199490745274E-2</c:v>
                </c:pt>
                <c:pt idx="3879">
                  <c:v>-1.4464248794872625E-2</c:v>
                </c:pt>
                <c:pt idx="3880">
                  <c:v>-1.271776624337595E-2</c:v>
                </c:pt>
                <c:pt idx="3881">
                  <c:v>-9.4390308926103339E-3</c:v>
                </c:pt>
                <c:pt idx="3882">
                  <c:v>-1.6399117509439565E-2</c:v>
                </c:pt>
                <c:pt idx="3883">
                  <c:v>-1.7986457959281332E-2</c:v>
                </c:pt>
                <c:pt idx="3884">
                  <c:v>-2.1350205116486554E-2</c:v>
                </c:pt>
                <c:pt idx="3885">
                  <c:v>-2.5968726536741427E-2</c:v>
                </c:pt>
                <c:pt idx="3886">
                  <c:v>-2.662705796581033E-2</c:v>
                </c:pt>
                <c:pt idx="3887">
                  <c:v>-2.5419890314366755E-2</c:v>
                </c:pt>
                <c:pt idx="3888">
                  <c:v>-2.3160616546425872E-2</c:v>
                </c:pt>
                <c:pt idx="3889">
                  <c:v>-2.2857974515500645E-2</c:v>
                </c:pt>
                <c:pt idx="3890">
                  <c:v>-2.6102705143690286E-2</c:v>
                </c:pt>
                <c:pt idx="3891">
                  <c:v>-3.1771972491539513E-2</c:v>
                </c:pt>
                <c:pt idx="3892">
                  <c:v>-3.2868964841837212E-2</c:v>
                </c:pt>
                <c:pt idx="3893">
                  <c:v>-3.6506790063003947E-2</c:v>
                </c:pt>
                <c:pt idx="3894">
                  <c:v>-4.0827430113494101E-2</c:v>
                </c:pt>
                <c:pt idx="3895">
                  <c:v>-4.635523781542783E-2</c:v>
                </c:pt>
                <c:pt idx="3896">
                  <c:v>-5.060174757070246E-2</c:v>
                </c:pt>
                <c:pt idx="3897">
                  <c:v>-5.1893927028585751E-2</c:v>
                </c:pt>
                <c:pt idx="3898">
                  <c:v>-4.2907839040685958E-2</c:v>
                </c:pt>
                <c:pt idx="3899">
                  <c:v>-4.0272473041055856E-2</c:v>
                </c:pt>
                <c:pt idx="3900">
                  <c:v>-4.0809067563303159E-2</c:v>
                </c:pt>
                <c:pt idx="3901">
                  <c:v>-3.8166220524706418E-2</c:v>
                </c:pt>
                <c:pt idx="3902">
                  <c:v>-3.824239110327643E-2</c:v>
                </c:pt>
                <c:pt idx="3903">
                  <c:v>-3.5386674501354798E-2</c:v>
                </c:pt>
                <c:pt idx="3904">
                  <c:v>-4.2745296466773275E-2</c:v>
                </c:pt>
                <c:pt idx="3905">
                  <c:v>-3.5659392376413246E-2</c:v>
                </c:pt>
                <c:pt idx="3906">
                  <c:v>-3.3909509352658795E-2</c:v>
                </c:pt>
                <c:pt idx="3907">
                  <c:v>-3.1063994167509934E-2</c:v>
                </c:pt>
                <c:pt idx="3908">
                  <c:v>-2.920665622041585E-2</c:v>
                </c:pt>
                <c:pt idx="3909">
                  <c:v>-2.874147161557794E-2</c:v>
                </c:pt>
                <c:pt idx="3910">
                  <c:v>-2.7582590670192308E-2</c:v>
                </c:pt>
                <c:pt idx="3911">
                  <c:v>-2.8532682618962135E-2</c:v>
                </c:pt>
                <c:pt idx="3912">
                  <c:v>-2.5447774186878935E-2</c:v>
                </c:pt>
                <c:pt idx="3913">
                  <c:v>-2.4339220230905623E-2</c:v>
                </c:pt>
                <c:pt idx="3914">
                  <c:v>-2.297019010000112E-2</c:v>
                </c:pt>
                <c:pt idx="3915">
                  <c:v>-1.8611464760226015E-2</c:v>
                </c:pt>
                <c:pt idx="3916">
                  <c:v>-1.8682194583183653E-2</c:v>
                </c:pt>
                <c:pt idx="3917">
                  <c:v>-2.09924754349885E-2</c:v>
                </c:pt>
                <c:pt idx="3918">
                  <c:v>-2.1775264148684914E-2</c:v>
                </c:pt>
                <c:pt idx="3919">
                  <c:v>-1.934120610670409E-2</c:v>
                </c:pt>
                <c:pt idx="3920">
                  <c:v>-1.9226950238849128E-2</c:v>
                </c:pt>
                <c:pt idx="3921">
                  <c:v>-2.2334981882283778E-2</c:v>
                </c:pt>
                <c:pt idx="3922">
                  <c:v>-2.1223027454052801E-2</c:v>
                </c:pt>
                <c:pt idx="3923">
                  <c:v>-1.8321064429427825E-2</c:v>
                </c:pt>
                <c:pt idx="3924">
                  <c:v>-1.6131840389993268E-2</c:v>
                </c:pt>
                <c:pt idx="3925">
                  <c:v>-1.7688576589516725E-2</c:v>
                </c:pt>
                <c:pt idx="3926">
                  <c:v>-1.4940314910934838E-2</c:v>
                </c:pt>
                <c:pt idx="3927">
                  <c:v>-1.2072356608885948E-2</c:v>
                </c:pt>
                <c:pt idx="3928">
                  <c:v>-1.1964901685546092E-2</c:v>
                </c:pt>
                <c:pt idx="3929">
                  <c:v>-1.3893649550049569E-2</c:v>
                </c:pt>
                <c:pt idx="3930">
                  <c:v>-1.4325509526763147E-2</c:v>
                </c:pt>
                <c:pt idx="3931">
                  <c:v>-1.3015647613140557E-2</c:v>
                </c:pt>
                <c:pt idx="3932">
                  <c:v>-1.0155170350058196E-2</c:v>
                </c:pt>
                <c:pt idx="3933">
                  <c:v>-8.193097857430498E-3</c:v>
                </c:pt>
                <c:pt idx="3934">
                  <c:v>-8.4046072318522125E-3</c:v>
                </c:pt>
                <c:pt idx="3935">
                  <c:v>-5.9705491898713881E-3</c:v>
                </c:pt>
                <c:pt idx="3936">
                  <c:v>-5.8705753054985044E-3</c:v>
                </c:pt>
                <c:pt idx="3937">
                  <c:v>-6.1235704414628334E-3</c:v>
                </c:pt>
                <c:pt idx="3938">
                  <c:v>-5.5522911021881338E-3</c:v>
                </c:pt>
                <c:pt idx="3939">
                  <c:v>-6.8703141492290065E-3</c:v>
                </c:pt>
                <c:pt idx="3940">
                  <c:v>-4.175779932316992E-3</c:v>
                </c:pt>
                <c:pt idx="3941">
                  <c:v>-3.9629103689919898E-3</c:v>
                </c:pt>
                <c:pt idx="3942">
                  <c:v>-4.3777679844176909E-3</c:v>
                </c:pt>
                <c:pt idx="3943">
                  <c:v>-6.0623619408263218E-3</c:v>
                </c:pt>
                <c:pt idx="3944">
                  <c:v>-6.1745775253265744E-3</c:v>
                </c:pt>
                <c:pt idx="3945">
                  <c:v>-4.657966898442889E-3</c:v>
                </c:pt>
                <c:pt idx="3946">
                  <c:v>-2.8829203799823899E-3</c:v>
                </c:pt>
                <c:pt idx="3947">
                  <c:v>-3.361026779399201E-3</c:v>
                </c:pt>
                <c:pt idx="3948">
                  <c:v>-3.8642966735219497E-3</c:v>
                </c:pt>
                <c:pt idx="3949">
                  <c:v>-3.084228337631445E-3</c:v>
                </c:pt>
                <c:pt idx="3950">
                  <c:v>-6.6520038302918527E-3</c:v>
                </c:pt>
                <c:pt idx="3951">
                  <c:v>-3.0543041817646666E-3</c:v>
                </c:pt>
                <c:pt idx="3952">
                  <c:v>-3.0651856929889698E-3</c:v>
                </c:pt>
                <c:pt idx="3953">
                  <c:v>-2.2953187738713465E-3</c:v>
                </c:pt>
                <c:pt idx="3954">
                  <c:v>-1.6614707450571808E-3</c:v>
                </c:pt>
                <c:pt idx="3955">
                  <c:v>-4.8762772173793767E-4</c:v>
                </c:pt>
                <c:pt idx="3956">
                  <c:v>0</c:v>
                </c:pt>
                <c:pt idx="3957">
                  <c:v>-1.1846288966580465E-3</c:v>
                </c:pt>
                <c:pt idx="3958">
                  <c:v>-1.8767945191893176E-3</c:v>
                </c:pt>
                <c:pt idx="3959">
                  <c:v>0</c:v>
                </c:pt>
                <c:pt idx="3960">
                  <c:v>-2.5091455948859087E-3</c:v>
                </c:pt>
                <c:pt idx="3961">
                  <c:v>-6.4488908274076273E-3</c:v>
                </c:pt>
                <c:pt idx="3962">
                  <c:v>-2.6264968216811457E-3</c:v>
                </c:pt>
                <c:pt idx="3963">
                  <c:v>-1.1646939676722701E-3</c:v>
                </c:pt>
                <c:pt idx="3964">
                  <c:v>-2.9263190311810128E-3</c:v>
                </c:pt>
                <c:pt idx="3965">
                  <c:v>-3.7579525806086256E-4</c:v>
                </c:pt>
                <c:pt idx="3966">
                  <c:v>0</c:v>
                </c:pt>
                <c:pt idx="3967">
                  <c:v>0</c:v>
                </c:pt>
                <c:pt idx="3968">
                  <c:v>-1.1974665549749908E-3</c:v>
                </c:pt>
                <c:pt idx="3969">
                  <c:v>0</c:v>
                </c:pt>
                <c:pt idx="3970">
                  <c:v>0</c:v>
                </c:pt>
                <c:pt idx="3971">
                  <c:v>-6.5525012420775131E-4</c:v>
                </c:pt>
                <c:pt idx="3972">
                  <c:v>-1.9286734623026325E-3</c:v>
                </c:pt>
                <c:pt idx="3973">
                  <c:v>-1.6381253105202109E-4</c:v>
                </c:pt>
                <c:pt idx="3974">
                  <c:v>-1.7163238850130824E-3</c:v>
                </c:pt>
                <c:pt idx="3975">
                  <c:v>-2.5299935351351666E-3</c:v>
                </c:pt>
                <c:pt idx="3976">
                  <c:v>-8.8175633998333058E-4</c:v>
                </c:pt>
                <c:pt idx="3977">
                  <c:v>-2.7167263380212248E-4</c:v>
                </c:pt>
                <c:pt idx="3978">
                  <c:v>-9.0602486310198405E-4</c:v>
                </c:pt>
                <c:pt idx="3979">
                  <c:v>0</c:v>
                </c:pt>
                <c:pt idx="3980">
                  <c:v>-1.4242418333045848E-3</c:v>
                </c:pt>
                <c:pt idx="3981">
                  <c:v>-1.5506617882909968E-3</c:v>
                </c:pt>
                <c:pt idx="3982">
                  <c:v>0</c:v>
                </c:pt>
                <c:pt idx="3983">
                  <c:v>0</c:v>
                </c:pt>
                <c:pt idx="3984">
                  <c:v>-8.7876822186283565E-4</c:v>
                </c:pt>
                <c:pt idx="3985">
                  <c:v>0</c:v>
                </c:pt>
                <c:pt idx="3986">
                  <c:v>-6.8075526312272316E-4</c:v>
                </c:pt>
                <c:pt idx="3987">
                  <c:v>-1.255645042413156E-3</c:v>
                </c:pt>
                <c:pt idx="3988">
                  <c:v>-3.3059512482747078E-3</c:v>
                </c:pt>
                <c:pt idx="3989">
                  <c:v>-2.8818192782387175E-3</c:v>
                </c:pt>
                <c:pt idx="3990">
                  <c:v>-5.9566085523221624E-4</c:v>
                </c:pt>
                <c:pt idx="3991">
                  <c:v>-2.3712528308966752E-3</c:v>
                </c:pt>
                <c:pt idx="3992">
                  <c:v>-5.7535880358602354E-3</c:v>
                </c:pt>
                <c:pt idx="3993">
                  <c:v>-7.3643514734064164E-3</c:v>
                </c:pt>
                <c:pt idx="3994">
                  <c:v>-1.0242150543398276E-2</c:v>
                </c:pt>
                <c:pt idx="3995">
                  <c:v>-9.0240274446216073E-3</c:v>
                </c:pt>
                <c:pt idx="3996">
                  <c:v>-1.4242257748951492E-2</c:v>
                </c:pt>
                <c:pt idx="3997">
                  <c:v>-1.1720917143508092E-2</c:v>
                </c:pt>
                <c:pt idx="3998">
                  <c:v>-9.4930517400803049E-3</c:v>
                </c:pt>
                <c:pt idx="3999">
                  <c:v>-6.5817509346984826E-3</c:v>
                </c:pt>
                <c:pt idx="4000">
                  <c:v>-7.3857925840559169E-3</c:v>
                </c:pt>
                <c:pt idx="4001">
                  <c:v>-9.9319244736878476E-3</c:v>
                </c:pt>
                <c:pt idx="4002">
                  <c:v>-8.2481272529918437E-3</c:v>
                </c:pt>
                <c:pt idx="4003">
                  <c:v>-7.7496214303900413E-3</c:v>
                </c:pt>
                <c:pt idx="4004">
                  <c:v>-1.0961767819573032E-2</c:v>
                </c:pt>
                <c:pt idx="4005">
                  <c:v>-1.1076343754606643E-2</c:v>
                </c:pt>
                <c:pt idx="4006">
                  <c:v>-1.1087064309931338E-2</c:v>
                </c:pt>
                <c:pt idx="4007">
                  <c:v>-1.1959449499484243E-2</c:v>
                </c:pt>
                <c:pt idx="4008">
                  <c:v>-1.3430845717808282E-2</c:v>
                </c:pt>
                <c:pt idx="4009">
                  <c:v>-1.3707570052128748E-2</c:v>
                </c:pt>
                <c:pt idx="4010">
                  <c:v>-1.6035940661726311E-2</c:v>
                </c:pt>
                <c:pt idx="4011">
                  <c:v>-1.794151937070354E-2</c:v>
                </c:pt>
                <c:pt idx="4012">
                  <c:v>-1.3885129249695205E-2</c:v>
                </c:pt>
                <c:pt idx="4013">
                  <c:v>-1.2044543907374528E-2</c:v>
                </c:pt>
                <c:pt idx="4014">
                  <c:v>-1.1390590032563819E-2</c:v>
                </c:pt>
                <c:pt idx="4015">
                  <c:v>-8.7138013749111787E-3</c:v>
                </c:pt>
                <c:pt idx="4016">
                  <c:v>-9.7376144084264649E-3</c:v>
                </c:pt>
                <c:pt idx="4017">
                  <c:v>-7.1894724146711608E-3</c:v>
                </c:pt>
                <c:pt idx="4018">
                  <c:v>-9.0200072363748607E-3</c:v>
                </c:pt>
                <c:pt idx="4019">
                  <c:v>-6.8042024576873139E-3</c:v>
                </c:pt>
                <c:pt idx="4020">
                  <c:v>-5.64102220495033E-3</c:v>
                </c:pt>
                <c:pt idx="4021">
                  <c:v>-6.9710410999289651E-3</c:v>
                </c:pt>
                <c:pt idx="4022">
                  <c:v>0</c:v>
                </c:pt>
                <c:pt idx="4023">
                  <c:v>-3.662493522006427E-3</c:v>
                </c:pt>
                <c:pt idx="4024">
                  <c:v>-5.7247385033187825E-4</c:v>
                </c:pt>
                <c:pt idx="4025">
                  <c:v>-4.4244528689978413E-3</c:v>
                </c:pt>
                <c:pt idx="4026">
                  <c:v>-4.1680113664516183E-3</c:v>
                </c:pt>
                <c:pt idx="4027">
                  <c:v>-6.1365179395225233E-3</c:v>
                </c:pt>
                <c:pt idx="4028">
                  <c:v>-7.7441316408640715E-3</c:v>
                </c:pt>
                <c:pt idx="4029">
                  <c:v>-5.8271811923257255E-3</c:v>
                </c:pt>
                <c:pt idx="4030">
                  <c:v>-4.4036965071729828E-3</c:v>
                </c:pt>
                <c:pt idx="4031">
                  <c:v>0</c:v>
                </c:pt>
                <c:pt idx="4032">
                  <c:v>0</c:v>
                </c:pt>
                <c:pt idx="4033">
                  <c:v>0</c:v>
                </c:pt>
                <c:pt idx="4034">
                  <c:v>-1.6628648176177929E-3</c:v>
                </c:pt>
                <c:pt idx="4035">
                  <c:v>-3.087891999061898E-3</c:v>
                </c:pt>
                <c:pt idx="4036">
                  <c:v>-2.8447246679599303E-3</c:v>
                </c:pt>
                <c:pt idx="4037">
                  <c:v>-3.3297269064318513E-3</c:v>
                </c:pt>
                <c:pt idx="4038">
                  <c:v>-3.7820847634681964E-3</c:v>
                </c:pt>
                <c:pt idx="4039">
                  <c:v>-3.5395836442321249E-3</c:v>
                </c:pt>
                <c:pt idx="4040">
                  <c:v>-2.1618575052764211E-3</c:v>
                </c:pt>
                <c:pt idx="4041">
                  <c:v>0</c:v>
                </c:pt>
                <c:pt idx="4042">
                  <c:v>-7.9264901301878687E-4</c:v>
                </c:pt>
                <c:pt idx="4043">
                  <c:v>-1.8277553711962824E-3</c:v>
                </c:pt>
                <c:pt idx="4044">
                  <c:v>-1.9463196773452651E-3</c:v>
                </c:pt>
                <c:pt idx="4045">
                  <c:v>-3.0880006927354042E-3</c:v>
                </c:pt>
                <c:pt idx="4046">
                  <c:v>-2.5271515591539506E-3</c:v>
                </c:pt>
                <c:pt idx="4047">
                  <c:v>0</c:v>
                </c:pt>
                <c:pt idx="4048">
                  <c:v>0</c:v>
                </c:pt>
                <c:pt idx="4049">
                  <c:v>-3.5751671254552475E-3</c:v>
                </c:pt>
                <c:pt idx="4050">
                  <c:v>-9.7311455735549224E-4</c:v>
                </c:pt>
                <c:pt idx="4051">
                  <c:v>-1.1861908008148347E-3</c:v>
                </c:pt>
                <c:pt idx="4052">
                  <c:v>-3.0720151237666471E-3</c:v>
                </c:pt>
                <c:pt idx="4053">
                  <c:v>-3.784260635392056E-3</c:v>
                </c:pt>
                <c:pt idx="4054">
                  <c:v>-4.46862701235895E-3</c:v>
                </c:pt>
                <c:pt idx="4055">
                  <c:v>-8.4440588568359676E-3</c:v>
                </c:pt>
                <c:pt idx="4056">
                  <c:v>-1.8272781401696414E-2</c:v>
                </c:pt>
                <c:pt idx="4057">
                  <c:v>-1.6379655400619697E-2</c:v>
                </c:pt>
                <c:pt idx="4058">
                  <c:v>-1.4950517854926182E-2</c:v>
                </c:pt>
                <c:pt idx="4059">
                  <c:v>-1.3708568784794872E-2</c:v>
                </c:pt>
                <c:pt idx="4060">
                  <c:v>-1.486621666203114E-2</c:v>
                </c:pt>
                <c:pt idx="4061">
                  <c:v>-1.5642849698938477E-2</c:v>
                </c:pt>
                <c:pt idx="4062">
                  <c:v>-1.2195793835126811E-2</c:v>
                </c:pt>
                <c:pt idx="4063">
                  <c:v>-1.7261167086955576E-2</c:v>
                </c:pt>
                <c:pt idx="4064">
                  <c:v>-1.5553238194679908E-2</c:v>
                </c:pt>
                <c:pt idx="4065">
                  <c:v>-1.5536643471669165E-2</c:v>
                </c:pt>
                <c:pt idx="4066">
                  <c:v>-1.2365723798757777E-2</c:v>
                </c:pt>
                <c:pt idx="4067">
                  <c:v>-1.1134395351353299E-2</c:v>
                </c:pt>
                <c:pt idx="4068">
                  <c:v>-1.0689656774662937E-2</c:v>
                </c:pt>
                <c:pt idx="4069">
                  <c:v>-1.1726495068380083E-2</c:v>
                </c:pt>
                <c:pt idx="4070">
                  <c:v>-1.5678030511721452E-2</c:v>
                </c:pt>
                <c:pt idx="4071">
                  <c:v>-1.4992336556913566E-2</c:v>
                </c:pt>
                <c:pt idx="4072">
                  <c:v>-1.271487677090577E-2</c:v>
                </c:pt>
                <c:pt idx="4073">
                  <c:v>-1.1513418824920962E-2</c:v>
                </c:pt>
                <c:pt idx="4074">
                  <c:v>-1.0244254409051856E-2</c:v>
                </c:pt>
                <c:pt idx="4075">
                  <c:v>-7.712563466517941E-3</c:v>
                </c:pt>
                <c:pt idx="4076">
                  <c:v>-6.8708791154082904E-3</c:v>
                </c:pt>
                <c:pt idx="4077">
                  <c:v>-6.633906470813411E-3</c:v>
                </c:pt>
                <c:pt idx="4078">
                  <c:v>-7.440410009140197E-3</c:v>
                </c:pt>
                <c:pt idx="4079">
                  <c:v>-6.1214614242386389E-3</c:v>
                </c:pt>
                <c:pt idx="4080">
                  <c:v>-1.1516737769522445E-3</c:v>
                </c:pt>
                <c:pt idx="4081">
                  <c:v>-5.2465876271071687E-3</c:v>
                </c:pt>
                <c:pt idx="4082">
                  <c:v>-3.2764621112602033E-3</c:v>
                </c:pt>
                <c:pt idx="4083">
                  <c:v>0</c:v>
                </c:pt>
                <c:pt idx="4084">
                  <c:v>-9.2137001755920878E-5</c:v>
                </c:pt>
                <c:pt idx="4085">
                  <c:v>-3.8889769014525122E-3</c:v>
                </c:pt>
                <c:pt idx="4086">
                  <c:v>0</c:v>
                </c:pt>
                <c:pt idx="4087">
                  <c:v>-2.4442073742088066E-3</c:v>
                </c:pt>
                <c:pt idx="4088">
                  <c:v>-8.9596656117707507E-4</c:v>
                </c:pt>
                <c:pt idx="4089">
                  <c:v>-1.8813311162630963E-3</c:v>
                </c:pt>
                <c:pt idx="4090">
                  <c:v>-1.1111839539209578E-3</c:v>
                </c:pt>
                <c:pt idx="4091">
                  <c:v>0</c:v>
                </c:pt>
                <c:pt idx="4092">
                  <c:v>-3.4838595288784191E-3</c:v>
                </c:pt>
                <c:pt idx="4093">
                  <c:v>-2.9942932449114057E-3</c:v>
                </c:pt>
                <c:pt idx="4094">
                  <c:v>-2.3095620234171443E-3</c:v>
                </c:pt>
                <c:pt idx="4095">
                  <c:v>-3.41704034687762E-3</c:v>
                </c:pt>
                <c:pt idx="4096">
                  <c:v>-1.2338393508085632E-3</c:v>
                </c:pt>
                <c:pt idx="4097">
                  <c:v>-5.0716420714741473E-3</c:v>
                </c:pt>
                <c:pt idx="4098">
                  <c:v>-1.1484960391441201E-2</c:v>
                </c:pt>
                <c:pt idx="4099">
                  <c:v>-8.9683250614274179E-3</c:v>
                </c:pt>
                <c:pt idx="4100">
                  <c:v>-6.953164384449928E-3</c:v>
                </c:pt>
                <c:pt idx="4101">
                  <c:v>-8.0341796655336584E-3</c:v>
                </c:pt>
                <c:pt idx="4102">
                  <c:v>-9.8958546967269356E-3</c:v>
                </c:pt>
                <c:pt idx="4103">
                  <c:v>-1.0179009250156468E-2</c:v>
                </c:pt>
                <c:pt idx="4104">
                  <c:v>-1.0188271314988229E-2</c:v>
                </c:pt>
                <c:pt idx="4105">
                  <c:v>-5.4646182507663843E-3</c:v>
                </c:pt>
                <c:pt idx="4106">
                  <c:v>-4.5714905705563913E-3</c:v>
                </c:pt>
                <c:pt idx="4107">
                  <c:v>-3.4666585513336567E-3</c:v>
                </c:pt>
                <c:pt idx="4108">
                  <c:v>-3.276786222281669E-3</c:v>
                </c:pt>
                <c:pt idx="4109">
                  <c:v>-3.6022816435137273E-3</c:v>
                </c:pt>
                <c:pt idx="4110">
                  <c:v>-5.8840574724353667E-3</c:v>
                </c:pt>
                <c:pt idx="4111">
                  <c:v>-4.8599377324612947E-3</c:v>
                </c:pt>
                <c:pt idx="4112">
                  <c:v>-2.7151081478384853E-3</c:v>
                </c:pt>
                <c:pt idx="4113">
                  <c:v>-2.3525644672791612E-3</c:v>
                </c:pt>
                <c:pt idx="4114">
                  <c:v>-1.304627989166085E-3</c:v>
                </c:pt>
                <c:pt idx="4115">
                  <c:v>-1.243762991699926E-3</c:v>
                </c:pt>
                <c:pt idx="4116">
                  <c:v>-3.4600427907394149E-4</c:v>
                </c:pt>
                <c:pt idx="4117">
                  <c:v>0</c:v>
                </c:pt>
                <c:pt idx="4118">
                  <c:v>-1.5532209506363692E-4</c:v>
                </c:pt>
                <c:pt idx="4119">
                  <c:v>0</c:v>
                </c:pt>
                <c:pt idx="4120">
                  <c:v>-2.6305162355055867E-4</c:v>
                </c:pt>
                <c:pt idx="4121">
                  <c:v>0</c:v>
                </c:pt>
                <c:pt idx="4122">
                  <c:v>0</c:v>
                </c:pt>
                <c:pt idx="4123">
                  <c:v>0</c:v>
                </c:pt>
                <c:pt idx="4124">
                  <c:v>-7.6309815218400523E-4</c:v>
                </c:pt>
                <c:pt idx="4125">
                  <c:v>0</c:v>
                </c:pt>
                <c:pt idx="4126">
                  <c:v>-1.3027695502394465E-3</c:v>
                </c:pt>
                <c:pt idx="4127">
                  <c:v>0</c:v>
                </c:pt>
                <c:pt idx="4128">
                  <c:v>0</c:v>
                </c:pt>
                <c:pt idx="4129">
                  <c:v>-7.3535532015156502E-4</c:v>
                </c:pt>
                <c:pt idx="4130">
                  <c:v>-5.177635498376798E-5</c:v>
                </c:pt>
                <c:pt idx="4131">
                  <c:v>-3.2704305236674891E-4</c:v>
                </c:pt>
                <c:pt idx="4132">
                  <c:v>-7.3011214496332411E-4</c:v>
                </c:pt>
                <c:pt idx="4133">
                  <c:v>-1.1934777522245588E-3</c:v>
                </c:pt>
                <c:pt idx="4134">
                  <c:v>-2.9086514356795323E-3</c:v>
                </c:pt>
                <c:pt idx="4135">
                  <c:v>0</c:v>
                </c:pt>
                <c:pt idx="4136">
                  <c:v>0</c:v>
                </c:pt>
                <c:pt idx="4137">
                  <c:v>0</c:v>
                </c:pt>
                <c:pt idx="4138">
                  <c:v>0</c:v>
                </c:pt>
                <c:pt idx="4139">
                  <c:v>-3.0228739500737234E-4</c:v>
                </c:pt>
                <c:pt idx="4140">
                  <c:v>-1.9025172117742573E-3</c:v>
                </c:pt>
                <c:pt idx="4141">
                  <c:v>-7.3874338542296858E-3</c:v>
                </c:pt>
                <c:pt idx="4142">
                  <c:v>-4.9985146785667123E-3</c:v>
                </c:pt>
                <c:pt idx="4143">
                  <c:v>-6.1371522960457225E-3</c:v>
                </c:pt>
                <c:pt idx="4144">
                  <c:v>-6.3558699576601319E-3</c:v>
                </c:pt>
                <c:pt idx="4145">
                  <c:v>-1.8006665992015281E-3</c:v>
                </c:pt>
                <c:pt idx="4146">
                  <c:v>-1.9678060659874541E-3</c:v>
                </c:pt>
                <c:pt idx="4147">
                  <c:v>-3.627448740088357E-3</c:v>
                </c:pt>
                <c:pt idx="4148">
                  <c:v>-2.1009953285824334E-3</c:v>
                </c:pt>
                <c:pt idx="4149">
                  <c:v>-3.1234187855622153E-3</c:v>
                </c:pt>
                <c:pt idx="4150">
                  <c:v>0</c:v>
                </c:pt>
                <c:pt idx="4151">
                  <c:v>0</c:v>
                </c:pt>
                <c:pt idx="4152">
                  <c:v>0</c:v>
                </c:pt>
                <c:pt idx="4153">
                  <c:v>-1.3503812169862739E-3</c:v>
                </c:pt>
                <c:pt idx="4154">
                  <c:v>0</c:v>
                </c:pt>
                <c:pt idx="4155">
                  <c:v>0</c:v>
                </c:pt>
                <c:pt idx="4156">
                  <c:v>-4.3606682025387755E-4</c:v>
                </c:pt>
                <c:pt idx="4157">
                  <c:v>-6.8886859831418512E-5</c:v>
                </c:pt>
                <c:pt idx="4158">
                  <c:v>-1.7026752147020208E-4</c:v>
                </c:pt>
                <c:pt idx="4159">
                  <c:v>0</c:v>
                </c:pt>
                <c:pt idx="4160">
                  <c:v>-6.5197684053586169E-4</c:v>
                </c:pt>
                <c:pt idx="4161">
                  <c:v>-5.3495868648746336E-3</c:v>
                </c:pt>
                <c:pt idx="4162">
                  <c:v>-3.4871669658140814E-3</c:v>
                </c:pt>
                <c:pt idx="4163">
                  <c:v>-3.5092458628043222E-3</c:v>
                </c:pt>
                <c:pt idx="4164">
                  <c:v>0</c:v>
                </c:pt>
                <c:pt idx="4165">
                  <c:v>-1.2333777998363438E-5</c:v>
                </c:pt>
                <c:pt idx="4166">
                  <c:v>-1.9805450880727715E-3</c:v>
                </c:pt>
                <c:pt idx="4167">
                  <c:v>-1.3729442350948196E-3</c:v>
                </c:pt>
                <c:pt idx="4168">
                  <c:v>-4.1675186710676826E-4</c:v>
                </c:pt>
                <c:pt idx="4169">
                  <c:v>0</c:v>
                </c:pt>
                <c:pt idx="4170">
                  <c:v>0</c:v>
                </c:pt>
                <c:pt idx="4171">
                  <c:v>-9.2494834409628801E-4</c:v>
                </c:pt>
                <c:pt idx="4172">
                  <c:v>0</c:v>
                </c:pt>
                <c:pt idx="4173">
                  <c:v>-7.9582238538211669E-5</c:v>
                </c:pt>
                <c:pt idx="4174">
                  <c:v>0</c:v>
                </c:pt>
                <c:pt idx="4175">
                  <c:v>0</c:v>
                </c:pt>
                <c:pt idx="4176">
                  <c:v>0</c:v>
                </c:pt>
                <c:pt idx="4177">
                  <c:v>-5.7335755607956784E-4</c:v>
                </c:pt>
                <c:pt idx="4178">
                  <c:v>-4.7221470629910112E-4</c:v>
                </c:pt>
                <c:pt idx="4179">
                  <c:v>0</c:v>
                </c:pt>
                <c:pt idx="4180">
                  <c:v>-1.7786746942982656E-3</c:v>
                </c:pt>
                <c:pt idx="4181">
                  <c:v>-4.521977958333645E-3</c:v>
                </c:pt>
                <c:pt idx="4182">
                  <c:v>-5.0335721630976327E-3</c:v>
                </c:pt>
                <c:pt idx="4183">
                  <c:v>-3.4292899587250458E-3</c:v>
                </c:pt>
                <c:pt idx="4184">
                  <c:v>-4.5284131055634003E-3</c:v>
                </c:pt>
                <c:pt idx="4185">
                  <c:v>-9.4815459282893144E-3</c:v>
                </c:pt>
                <c:pt idx="4186">
                  <c:v>-9.0214329013634798E-3</c:v>
                </c:pt>
                <c:pt idx="4187">
                  <c:v>-4.4125804554282499E-3</c:v>
                </c:pt>
                <c:pt idx="4188">
                  <c:v>-1.2059465908520473E-3</c:v>
                </c:pt>
                <c:pt idx="4189">
                  <c:v>0</c:v>
                </c:pt>
                <c:pt idx="4190">
                  <c:v>-3.9187671686979897E-5</c:v>
                </c:pt>
                <c:pt idx="4191">
                  <c:v>0</c:v>
                </c:pt>
                <c:pt idx="4192">
                  <c:v>0</c:v>
                </c:pt>
                <c:pt idx="4193">
                  <c:v>0</c:v>
                </c:pt>
                <c:pt idx="4194">
                  <c:v>0</c:v>
                </c:pt>
                <c:pt idx="4195">
                  <c:v>-8.0444924276390495E-5</c:v>
                </c:pt>
                <c:pt idx="4196">
                  <c:v>0</c:v>
                </c:pt>
                <c:pt idx="4197">
                  <c:v>-1.1483159522086561E-3</c:v>
                </c:pt>
                <c:pt idx="4198">
                  <c:v>0</c:v>
                </c:pt>
                <c:pt idx="4199">
                  <c:v>-1.1683843978295139E-3</c:v>
                </c:pt>
                <c:pt idx="4200">
                  <c:v>-5.1872952697959995E-3</c:v>
                </c:pt>
                <c:pt idx="4201">
                  <c:v>-1.4101564666220034E-2</c:v>
                </c:pt>
                <c:pt idx="4202">
                  <c:v>-2.2242010462553918E-2</c:v>
                </c:pt>
                <c:pt idx="4203">
                  <c:v>-2.4697976138951638E-2</c:v>
                </c:pt>
                <c:pt idx="4204">
                  <c:v>-3.7597373334191553E-2</c:v>
                </c:pt>
                <c:pt idx="4205">
                  <c:v>-4.1595249462498596E-2</c:v>
                </c:pt>
                <c:pt idx="4206">
                  <c:v>-3.6340388046401384E-2</c:v>
                </c:pt>
                <c:pt idx="4207">
                  <c:v>-4.0710515395838809E-2</c:v>
                </c:pt>
                <c:pt idx="4208">
                  <c:v>-3.2127702566175032E-2</c:v>
                </c:pt>
                <c:pt idx="4209">
                  <c:v>-4.0368222749011529E-2</c:v>
                </c:pt>
                <c:pt idx="4210">
                  <c:v>-4.8361425339726982E-2</c:v>
                </c:pt>
                <c:pt idx="4211">
                  <c:v>-7.2917257604856456E-2</c:v>
                </c:pt>
                <c:pt idx="4212">
                  <c:v>-6.3022641670591906E-2</c:v>
                </c:pt>
                <c:pt idx="4213">
                  <c:v>-7.0620646047093505E-2</c:v>
                </c:pt>
                <c:pt idx="4214">
                  <c:v>-0.10006801233783313</c:v>
                </c:pt>
                <c:pt idx="4215">
                  <c:v>-8.1846187580194907E-2</c:v>
                </c:pt>
                <c:pt idx="4216">
                  <c:v>-0.11159632669634056</c:v>
                </c:pt>
                <c:pt idx="4217">
                  <c:v>-9.3039858289569288E-2</c:v>
                </c:pt>
                <c:pt idx="4218">
                  <c:v>-0.10656392362985734</c:v>
                </c:pt>
                <c:pt idx="4219">
                  <c:v>-9.4215891685093367E-2</c:v>
                </c:pt>
                <c:pt idx="4220">
                  <c:v>-9.8340613691833334E-2</c:v>
                </c:pt>
                <c:pt idx="4221">
                  <c:v>-0.11241158236727544</c:v>
                </c:pt>
                <c:pt idx="4222">
                  <c:v>-9.2009155850240276E-2</c:v>
                </c:pt>
                <c:pt idx="4223">
                  <c:v>-8.5154379083050902E-2</c:v>
                </c:pt>
                <c:pt idx="4224">
                  <c:v>-7.048806342038938E-2</c:v>
                </c:pt>
                <c:pt idx="4225">
                  <c:v>-8.0948067767569909E-2</c:v>
                </c:pt>
                <c:pt idx="4226">
                  <c:v>-7.5145665599843925E-2</c:v>
                </c:pt>
                <c:pt idx="4227">
                  <c:v>-7.8868815227624567E-2</c:v>
                </c:pt>
                <c:pt idx="4228">
                  <c:v>-8.6220776844954217E-2</c:v>
                </c:pt>
                <c:pt idx="4229">
                  <c:v>-8.1475848608487889E-2</c:v>
                </c:pt>
                <c:pt idx="4230">
                  <c:v>-8.3818991568892276E-2</c:v>
                </c:pt>
                <c:pt idx="4231">
                  <c:v>-6.7115492853605074E-2</c:v>
                </c:pt>
                <c:pt idx="4232">
                  <c:v>-6.9507079466074373E-2</c:v>
                </c:pt>
                <c:pt idx="4233">
                  <c:v>-6.0334018980987669E-2</c:v>
                </c:pt>
                <c:pt idx="4234">
                  <c:v>-5.5800713014068415E-2</c:v>
                </c:pt>
                <c:pt idx="4235">
                  <c:v>-5.7584841726302294E-2</c:v>
                </c:pt>
                <c:pt idx="4236">
                  <c:v>-5.8780635032536943E-2</c:v>
                </c:pt>
                <c:pt idx="4237">
                  <c:v>-5.2688208368895761E-2</c:v>
                </c:pt>
                <c:pt idx="4238">
                  <c:v>-5.7520462662373872E-2</c:v>
                </c:pt>
                <c:pt idx="4239">
                  <c:v>-5.6102848422999618E-2</c:v>
                </c:pt>
                <c:pt idx="4240">
                  <c:v>-4.9094454285446565E-2</c:v>
                </c:pt>
                <c:pt idx="4241">
                  <c:v>-5.4547552225125195E-2</c:v>
                </c:pt>
                <c:pt idx="4242">
                  <c:v>-6.2010424309024592E-2</c:v>
                </c:pt>
                <c:pt idx="4243">
                  <c:v>-5.609711167472875E-2</c:v>
                </c:pt>
                <c:pt idx="4244">
                  <c:v>-5.2213333095364467E-2</c:v>
                </c:pt>
                <c:pt idx="4245">
                  <c:v>-4.9745893922425011E-2</c:v>
                </c:pt>
                <c:pt idx="4246">
                  <c:v>-4.6511005314141096E-2</c:v>
                </c:pt>
                <c:pt idx="4247">
                  <c:v>-4.6050790619524107E-2</c:v>
                </c:pt>
                <c:pt idx="4248">
                  <c:v>-4.0116443241568711E-2</c:v>
                </c:pt>
                <c:pt idx="4249">
                  <c:v>-4.3642631178716917E-2</c:v>
                </c:pt>
                <c:pt idx="4250">
                  <c:v>-5.3905036418790186E-2</c:v>
                </c:pt>
                <c:pt idx="4251">
                  <c:v>-5.3779465373306024E-2</c:v>
                </c:pt>
                <c:pt idx="4252">
                  <c:v>-4.7752692606542579E-2</c:v>
                </c:pt>
                <c:pt idx="4253">
                  <c:v>-5.0117507727081123E-2</c:v>
                </c:pt>
                <c:pt idx="4254">
                  <c:v>-4.3767564807726478E-2</c:v>
                </c:pt>
                <c:pt idx="4255">
                  <c:v>-4.2061838321860834E-2</c:v>
                </c:pt>
                <c:pt idx="4256">
                  <c:v>-4.1164355925710328E-2</c:v>
                </c:pt>
                <c:pt idx="4257">
                  <c:v>-4.5685550979613354E-2</c:v>
                </c:pt>
                <c:pt idx="4258">
                  <c:v>-4.9069595042939507E-2</c:v>
                </c:pt>
                <c:pt idx="4259">
                  <c:v>-4.9596738467383106E-2</c:v>
                </c:pt>
                <c:pt idx="4260">
                  <c:v>-4.8066301512015519E-2</c:v>
                </c:pt>
                <c:pt idx="4261">
                  <c:v>-4.0594505597472685E-2</c:v>
                </c:pt>
                <c:pt idx="4262">
                  <c:v>-4.2977168379298547E-2</c:v>
                </c:pt>
                <c:pt idx="4263">
                  <c:v>-4.0066724756554706E-2</c:v>
                </c:pt>
                <c:pt idx="4264">
                  <c:v>-4.1095514946460132E-2</c:v>
                </c:pt>
                <c:pt idx="4265">
                  <c:v>-4.0456186222497914E-2</c:v>
                </c:pt>
                <c:pt idx="4266">
                  <c:v>-3.9303099820057308E-2</c:v>
                </c:pt>
                <c:pt idx="4267">
                  <c:v>-3.7738242375064845E-2</c:v>
                </c:pt>
                <c:pt idx="4268">
                  <c:v>-3.2735797882884832E-2</c:v>
                </c:pt>
                <c:pt idx="4269">
                  <c:v>-3.373590433143614E-2</c:v>
                </c:pt>
                <c:pt idx="4270">
                  <c:v>-3.5674925246983014E-2</c:v>
                </c:pt>
                <c:pt idx="4271">
                  <c:v>-3.5453104313843409E-2</c:v>
                </c:pt>
                <c:pt idx="4272">
                  <c:v>-3.2118778735531373E-2</c:v>
                </c:pt>
                <c:pt idx="4273">
                  <c:v>-2.9826629093090085E-2</c:v>
                </c:pt>
                <c:pt idx="4274">
                  <c:v>-3.1548928407293841E-2</c:v>
                </c:pt>
                <c:pt idx="4275">
                  <c:v>-2.5612031363440257E-2</c:v>
                </c:pt>
                <c:pt idx="4276">
                  <c:v>-2.0776589987589467E-2</c:v>
                </c:pt>
                <c:pt idx="4277">
                  <c:v>-2.5778397063294767E-2</c:v>
                </c:pt>
                <c:pt idx="4278">
                  <c:v>-2.6519712423183295E-2</c:v>
                </c:pt>
                <c:pt idx="4279">
                  <c:v>-3.9389151044119997E-2</c:v>
                </c:pt>
                <c:pt idx="4280">
                  <c:v>-3.5984709653608782E-2</c:v>
                </c:pt>
                <c:pt idx="4281">
                  <c:v>-3.6296406309658136E-2</c:v>
                </c:pt>
                <c:pt idx="4282">
                  <c:v>-2.827388256111385E-2</c:v>
                </c:pt>
                <c:pt idx="4283">
                  <c:v>-2.8720074093290915E-2</c:v>
                </c:pt>
                <c:pt idx="4284">
                  <c:v>-2.83344371261951E-2</c:v>
                </c:pt>
                <c:pt idx="4285">
                  <c:v>-2.8528211734454745E-2</c:v>
                </c:pt>
                <c:pt idx="4286">
                  <c:v>-2.8460645588153755E-2</c:v>
                </c:pt>
                <c:pt idx="4287">
                  <c:v>-2.9948375639727076E-2</c:v>
                </c:pt>
                <c:pt idx="4288">
                  <c:v>-3.4252849092286985E-2</c:v>
                </c:pt>
                <c:pt idx="4289">
                  <c:v>-3.1155005026028859E-2</c:v>
                </c:pt>
                <c:pt idx="4290">
                  <c:v>-3.5803045958365143E-2</c:v>
                </c:pt>
                <c:pt idx="4291">
                  <c:v>-3.4597691405012454E-2</c:v>
                </c:pt>
                <c:pt idx="4292">
                  <c:v>-3.0683316834870134E-2</c:v>
                </c:pt>
                <c:pt idx="4293">
                  <c:v>-3.1990020607674641E-2</c:v>
                </c:pt>
                <c:pt idx="4294">
                  <c:v>-2.555912579605335E-2</c:v>
                </c:pt>
                <c:pt idx="4295">
                  <c:v>-2.7857012186765506E-2</c:v>
                </c:pt>
                <c:pt idx="4296">
                  <c:v>-2.4358233158022435E-2</c:v>
                </c:pt>
                <c:pt idx="4297">
                  <c:v>-2.6376931132886527E-2</c:v>
                </c:pt>
                <c:pt idx="4298">
                  <c:v>-2.5966434923283765E-2</c:v>
                </c:pt>
                <c:pt idx="4299">
                  <c:v>-2.6457883025153173E-2</c:v>
                </c:pt>
                <c:pt idx="4300">
                  <c:v>-2.5098911101436583E-2</c:v>
                </c:pt>
                <c:pt idx="4301">
                  <c:v>-2.8686928436614911E-2</c:v>
                </c:pt>
                <c:pt idx="4302">
                  <c:v>-2.4518862109606299E-2</c:v>
                </c:pt>
                <c:pt idx="4303">
                  <c:v>-2.2634021594395204E-2</c:v>
                </c:pt>
                <c:pt idx="4304">
                  <c:v>-2.3488159670277176E-2</c:v>
                </c:pt>
                <c:pt idx="4305">
                  <c:v>-2.3769897752023206E-2</c:v>
                </c:pt>
                <c:pt idx="4306">
                  <c:v>-2.028514188572017E-2</c:v>
                </c:pt>
                <c:pt idx="4307">
                  <c:v>-2.1264851007086083E-2</c:v>
                </c:pt>
                <c:pt idx="4308">
                  <c:v>-2.2365031842140004E-2</c:v>
                </c:pt>
                <c:pt idx="4309">
                  <c:v>-2.5745251406618763E-2</c:v>
                </c:pt>
                <c:pt idx="4310">
                  <c:v>-2.9755238447941812E-2</c:v>
                </c:pt>
                <c:pt idx="4311">
                  <c:v>-2.8891539124941912E-2</c:v>
                </c:pt>
                <c:pt idx="4312">
                  <c:v>-3.0013392120129989E-2</c:v>
                </c:pt>
                <c:pt idx="4313">
                  <c:v>-2.9194311950347718E-2</c:v>
                </c:pt>
                <c:pt idx="4314">
                  <c:v>-3.0270908375843675E-2</c:v>
                </c:pt>
                <c:pt idx="4315">
                  <c:v>-3.2422188977411892E-2</c:v>
                </c:pt>
                <c:pt idx="4316">
                  <c:v>-2.7573999272070271E-2</c:v>
                </c:pt>
                <c:pt idx="4317">
                  <c:v>-2.4900674577854942E-2</c:v>
                </c:pt>
                <c:pt idx="4318">
                  <c:v>-2.7953899490895329E-2</c:v>
                </c:pt>
                <c:pt idx="4319">
                  <c:v>-2.4488903535302864E-2</c:v>
                </c:pt>
                <c:pt idx="4320">
                  <c:v>-2.4770641617049116E-2</c:v>
                </c:pt>
                <c:pt idx="4321">
                  <c:v>-2.2687564578256492E-2</c:v>
                </c:pt>
                <c:pt idx="4322">
                  <c:v>-2.4640608656243179E-2</c:v>
                </c:pt>
                <c:pt idx="4323">
                  <c:v>-2.0939131188596805E-2</c:v>
                </c:pt>
                <c:pt idx="4324">
                  <c:v>-2.2769791303471898E-2</c:v>
                </c:pt>
                <c:pt idx="4325">
                  <c:v>-2.1528741427545128E-2</c:v>
                </c:pt>
                <c:pt idx="4326">
                  <c:v>-2.0555406470924464E-2</c:v>
                </c:pt>
                <c:pt idx="4327">
                  <c:v>-2.1832789085900139E-2</c:v>
                </c:pt>
                <c:pt idx="4328">
                  <c:v>-2.1939875053622493E-2</c:v>
                </c:pt>
                <c:pt idx="4329">
                  <c:v>-2.0957616266358392E-2</c:v>
                </c:pt>
                <c:pt idx="4330">
                  <c:v>-1.9620316502776181E-2</c:v>
                </c:pt>
                <c:pt idx="4331">
                  <c:v>-1.7395095590161502E-2</c:v>
                </c:pt>
                <c:pt idx="4332">
                  <c:v>-1.8926169962003581E-2</c:v>
                </c:pt>
                <c:pt idx="4333">
                  <c:v>-1.3949222128805339E-2</c:v>
                </c:pt>
                <c:pt idx="4334">
                  <c:v>-1.406523192717124E-2</c:v>
                </c:pt>
                <c:pt idx="4335">
                  <c:v>-1.4284503194412546E-2</c:v>
                </c:pt>
                <c:pt idx="4336">
                  <c:v>-1.6450444374895068E-2</c:v>
                </c:pt>
                <c:pt idx="4337">
                  <c:v>-1.4348244841866586E-2</c:v>
                </c:pt>
                <c:pt idx="4338">
                  <c:v>-6.4653153012461662E-3</c:v>
                </c:pt>
                <c:pt idx="4339">
                  <c:v>-1.5891430126724782E-2</c:v>
                </c:pt>
                <c:pt idx="4340">
                  <c:v>-1.9445664388752504E-2</c:v>
                </c:pt>
                <c:pt idx="4341">
                  <c:v>-1.8845218069737268E-2</c:v>
                </c:pt>
                <c:pt idx="4342">
                  <c:v>-2.3210883503852919E-2</c:v>
                </c:pt>
                <c:pt idx="4343">
                  <c:v>-2.02787677209747E-2</c:v>
                </c:pt>
                <c:pt idx="4344">
                  <c:v>-2.4857330257586296E-2</c:v>
                </c:pt>
                <c:pt idx="4345">
                  <c:v>-2.1834063918849234E-2</c:v>
                </c:pt>
                <c:pt idx="4346">
                  <c:v>-2.0305539212905344E-2</c:v>
                </c:pt>
                <c:pt idx="4347">
                  <c:v>-1.8569216736261884E-2</c:v>
                </c:pt>
                <c:pt idx="4348">
                  <c:v>-1.8490177093419158E-2</c:v>
                </c:pt>
                <c:pt idx="4349">
                  <c:v>-1.9981094227365048E-2</c:v>
                </c:pt>
                <c:pt idx="4350">
                  <c:v>-2.4175932046304527E-2</c:v>
                </c:pt>
                <c:pt idx="4351">
                  <c:v>-2.4698613555426241E-2</c:v>
                </c:pt>
                <c:pt idx="4352">
                  <c:v>-2.3200047423785786E-2</c:v>
                </c:pt>
                <c:pt idx="4353">
                  <c:v>-2.7104223330335242E-2</c:v>
                </c:pt>
                <c:pt idx="4354">
                  <c:v>-2.6830134246283555E-2</c:v>
                </c:pt>
                <c:pt idx="4355">
                  <c:v>-2.2605975269515466E-2</c:v>
                </c:pt>
                <c:pt idx="4356">
                  <c:v>-1.8457031436743154E-2</c:v>
                </c:pt>
                <c:pt idx="4357">
                  <c:v>-2.0592376626447639E-2</c:v>
                </c:pt>
                <c:pt idx="4358">
                  <c:v>-2.0917459028462537E-2</c:v>
                </c:pt>
                <c:pt idx="4359">
                  <c:v>-1.8353132551393259E-2</c:v>
                </c:pt>
                <c:pt idx="4360">
                  <c:v>-2.0179968167421181E-2</c:v>
                </c:pt>
                <c:pt idx="4361">
                  <c:v>-1.7539789129881855E-2</c:v>
                </c:pt>
                <c:pt idx="4362">
                  <c:v>-1.9793056367376272E-2</c:v>
                </c:pt>
                <c:pt idx="4363">
                  <c:v>-1.5943060861162262E-2</c:v>
                </c:pt>
                <c:pt idx="4364">
                  <c:v>-1.2414323258115978E-2</c:v>
                </c:pt>
                <c:pt idx="4365">
                  <c:v>-1.1641774490975032E-2</c:v>
                </c:pt>
                <c:pt idx="4366">
                  <c:v>-8.0639558193892347E-3</c:v>
                </c:pt>
                <c:pt idx="4367">
                  <c:v>-8.085627979523613E-3</c:v>
                </c:pt>
                <c:pt idx="4368">
                  <c:v>-9.7792435523730292E-3</c:v>
                </c:pt>
                <c:pt idx="4369">
                  <c:v>-1.0452355349485742E-2</c:v>
                </c:pt>
                <c:pt idx="4370">
                  <c:v>-1.0300650228545538E-2</c:v>
                </c:pt>
                <c:pt idx="4371">
                  <c:v>-1.5566985141184486E-2</c:v>
                </c:pt>
                <c:pt idx="4372">
                  <c:v>-1.6202489366299644E-2</c:v>
                </c:pt>
                <c:pt idx="4373">
                  <c:v>-1.769149425082206E-2</c:v>
                </c:pt>
                <c:pt idx="4374">
                  <c:v>-1.689854815649583E-2</c:v>
                </c:pt>
                <c:pt idx="4375">
                  <c:v>-1.4457243059012637E-2</c:v>
                </c:pt>
                <c:pt idx="4376">
                  <c:v>-1.8940830540917997E-2</c:v>
                </c:pt>
                <c:pt idx="4377">
                  <c:v>-1.9649637660605013E-2</c:v>
                </c:pt>
                <c:pt idx="4378">
                  <c:v>-2.8371407281718275E-2</c:v>
                </c:pt>
                <c:pt idx="4379">
                  <c:v>-2.3396371697943619E-2</c:v>
                </c:pt>
                <c:pt idx="4380">
                  <c:v>-2.7264214865444503E-2</c:v>
                </c:pt>
                <c:pt idx="4381">
                  <c:v>-2.3001173483729542E-2</c:v>
                </c:pt>
                <c:pt idx="4382">
                  <c:v>-1.9422079979194762E-2</c:v>
                </c:pt>
                <c:pt idx="4383">
                  <c:v>-1.229958829269906E-2</c:v>
                </c:pt>
                <c:pt idx="4384">
                  <c:v>-9.7441856462733289E-3</c:v>
                </c:pt>
                <c:pt idx="4385">
                  <c:v>-1.106873708036471E-2</c:v>
                </c:pt>
                <c:pt idx="4386">
                  <c:v>-8.0027638378334931E-3</c:v>
                </c:pt>
                <c:pt idx="4387">
                  <c:v>-5.1382142012564858E-3</c:v>
                </c:pt>
                <c:pt idx="4388">
                  <c:v>0</c:v>
                </c:pt>
                <c:pt idx="4389">
                  <c:v>-3.378643227130107E-3</c:v>
                </c:pt>
                <c:pt idx="4390">
                  <c:v>-1.5755529253849154E-3</c:v>
                </c:pt>
                <c:pt idx="4391">
                  <c:v>0</c:v>
                </c:pt>
                <c:pt idx="4392">
                  <c:v>-1.1344822803157628E-3</c:v>
                </c:pt>
                <c:pt idx="4393">
                  <c:v>-3.4937982059526362E-3</c:v>
                </c:pt>
                <c:pt idx="4394">
                  <c:v>-1.8700187447269201E-3</c:v>
                </c:pt>
                <c:pt idx="4395">
                  <c:v>-2.9924117578938869E-3</c:v>
                </c:pt>
                <c:pt idx="4396">
                  <c:v>-1.7491260732406255E-3</c:v>
                </c:pt>
                <c:pt idx="4397">
                  <c:v>0</c:v>
                </c:pt>
                <c:pt idx="4398">
                  <c:v>-3.3595321803803202E-4</c:v>
                </c:pt>
                <c:pt idx="4399">
                  <c:v>-9.2720547889557636E-5</c:v>
                </c:pt>
                <c:pt idx="4400">
                  <c:v>-2.7943178816025593E-4</c:v>
                </c:pt>
                <c:pt idx="4401">
                  <c:v>-3.0642235860752765E-3</c:v>
                </c:pt>
                <c:pt idx="4402">
                  <c:v>-2.7663747027861785E-3</c:v>
                </c:pt>
                <c:pt idx="4403">
                  <c:v>-1.8163066230414415E-3</c:v>
                </c:pt>
                <c:pt idx="4404">
                  <c:v>-2.2354543052818254E-3</c:v>
                </c:pt>
                <c:pt idx="4405">
                  <c:v>-8.2559391956427142E-4</c:v>
                </c:pt>
                <c:pt idx="4406">
                  <c:v>0</c:v>
                </c:pt>
                <c:pt idx="4407">
                  <c:v>0</c:v>
                </c:pt>
                <c:pt idx="4408">
                  <c:v>-1.6852550018519041E-3</c:v>
                </c:pt>
                <c:pt idx="4409">
                  <c:v>-2.7926901667875148E-3</c:v>
                </c:pt>
                <c:pt idx="4410">
                  <c:v>-1.8844157359814151E-3</c:v>
                </c:pt>
                <c:pt idx="4411">
                  <c:v>-3.9178848876326722E-3</c:v>
                </c:pt>
                <c:pt idx="4412">
                  <c:v>-1.54508136413678E-3</c:v>
                </c:pt>
                <c:pt idx="4413">
                  <c:v>-2.2351669651963224E-3</c:v>
                </c:pt>
                <c:pt idx="4414">
                  <c:v>-3.2347762549678194E-5</c:v>
                </c:pt>
                <c:pt idx="4415">
                  <c:v>-1.1531025944172546E-3</c:v>
                </c:pt>
                <c:pt idx="4416">
                  <c:v>-2.6607620371732477E-3</c:v>
                </c:pt>
                <c:pt idx="4417">
                  <c:v>-1.6884263511216524E-3</c:v>
                </c:pt>
                <c:pt idx="4418">
                  <c:v>-2.8186952307981405E-3</c:v>
                </c:pt>
                <c:pt idx="4419">
                  <c:v>-4.1227540504473748E-4</c:v>
                </c:pt>
                <c:pt idx="4420">
                  <c:v>-4.0466416679763029E-4</c:v>
                </c:pt>
                <c:pt idx="4421">
                  <c:v>0</c:v>
                </c:pt>
                <c:pt idx="4422">
                  <c:v>0</c:v>
                </c:pt>
                <c:pt idx="4423">
                  <c:v>-2.3053901312589664E-3</c:v>
                </c:pt>
                <c:pt idx="4424">
                  <c:v>-1.209032166585855E-4</c:v>
                </c:pt>
                <c:pt idx="4425">
                  <c:v>-1.3926024955435157E-4</c:v>
                </c:pt>
                <c:pt idx="4426">
                  <c:v>-2.6155606870846837E-3</c:v>
                </c:pt>
                <c:pt idx="4427">
                  <c:v>-1.9895225652244442E-3</c:v>
                </c:pt>
                <c:pt idx="4428">
                  <c:v>-7.6529837141470214E-4</c:v>
                </c:pt>
                <c:pt idx="4429">
                  <c:v>0</c:v>
                </c:pt>
                <c:pt idx="4430">
                  <c:v>0</c:v>
                </c:pt>
                <c:pt idx="4431">
                  <c:v>-1.1045514182199678E-3</c:v>
                </c:pt>
                <c:pt idx="4432">
                  <c:v>-1.5175794670366782E-3</c:v>
                </c:pt>
                <c:pt idx="4433">
                  <c:v>0</c:v>
                </c:pt>
                <c:pt idx="4434">
                  <c:v>-1.0757355459405371E-3</c:v>
                </c:pt>
                <c:pt idx="4435">
                  <c:v>-2.9951237503592631E-3</c:v>
                </c:pt>
                <c:pt idx="4436">
                  <c:v>-3.0553398508899043E-3</c:v>
                </c:pt>
                <c:pt idx="4437">
                  <c:v>-1.320363454346718E-3</c:v>
                </c:pt>
                <c:pt idx="4438">
                  <c:v>0</c:v>
                </c:pt>
                <c:pt idx="4439">
                  <c:v>-2.0709079378753437E-3</c:v>
                </c:pt>
                <c:pt idx="4440">
                  <c:v>-1.8906112371172012E-3</c:v>
                </c:pt>
                <c:pt idx="4441">
                  <c:v>0</c:v>
                </c:pt>
                <c:pt idx="4442">
                  <c:v>-2.8006488743581581E-3</c:v>
                </c:pt>
                <c:pt idx="4443">
                  <c:v>-6.9944249876709996E-3</c:v>
                </c:pt>
                <c:pt idx="4444">
                  <c:v>-6.2283927592431398E-3</c:v>
                </c:pt>
                <c:pt idx="4445">
                  <c:v>-1.2859202775740264E-2</c:v>
                </c:pt>
                <c:pt idx="4446">
                  <c:v>-6.2734534785623408E-3</c:v>
                </c:pt>
                <c:pt idx="4447">
                  <c:v>-2.0308615859870871E-3</c:v>
                </c:pt>
                <c:pt idx="4448">
                  <c:v>-3.2669021506481766E-4</c:v>
                </c:pt>
                <c:pt idx="4449">
                  <c:v>0</c:v>
                </c:pt>
                <c:pt idx="4450">
                  <c:v>0</c:v>
                </c:pt>
                <c:pt idx="4451">
                  <c:v>0</c:v>
                </c:pt>
                <c:pt idx="4452">
                  <c:v>-7.0290125762662026E-4</c:v>
                </c:pt>
                <c:pt idx="4453">
                  <c:v>-1.7096252023408587E-3</c:v>
                </c:pt>
                <c:pt idx="4454">
                  <c:v>-2.1292491595070739E-4</c:v>
                </c:pt>
                <c:pt idx="4455">
                  <c:v>-2.1230232847713193E-4</c:v>
                </c:pt>
                <c:pt idx="4456">
                  <c:v>0</c:v>
                </c:pt>
                <c:pt idx="4457">
                  <c:v>0</c:v>
                </c:pt>
                <c:pt idx="4458">
                  <c:v>0</c:v>
                </c:pt>
                <c:pt idx="4459">
                  <c:v>-3.3938484788840206E-3</c:v>
                </c:pt>
                <c:pt idx="4460">
                  <c:v>-3.8334468548535394E-3</c:v>
                </c:pt>
                <c:pt idx="4461">
                  <c:v>-4.4866354021984023E-3</c:v>
                </c:pt>
                <c:pt idx="4462">
                  <c:v>-6.7405084315340646E-3</c:v>
                </c:pt>
                <c:pt idx="4463">
                  <c:v>-4.4922235171469538E-3</c:v>
                </c:pt>
                <c:pt idx="4464">
                  <c:v>-1.2178365178344697E-2</c:v>
                </c:pt>
                <c:pt idx="4465">
                  <c:v>-1.0740356931528749E-2</c:v>
                </c:pt>
                <c:pt idx="4466">
                  <c:v>-1.2883709465210114E-3</c:v>
                </c:pt>
                <c:pt idx="4467">
                  <c:v>-5.5471354391418703E-3</c:v>
                </c:pt>
                <c:pt idx="4468">
                  <c:v>-1.0036875349645036E-2</c:v>
                </c:pt>
                <c:pt idx="4469">
                  <c:v>-1.1189268832413002E-2</c:v>
                </c:pt>
                <c:pt idx="4470">
                  <c:v>-6.2717276774987285E-3</c:v>
                </c:pt>
                <c:pt idx="4471">
                  <c:v>-5.2602788717719395E-3</c:v>
                </c:pt>
                <c:pt idx="4472">
                  <c:v>-5.9109838124715708E-4</c:v>
                </c:pt>
                <c:pt idx="4473">
                  <c:v>-2.7319673082670803E-5</c:v>
                </c:pt>
                <c:pt idx="4474">
                  <c:v>0</c:v>
                </c:pt>
                <c:pt idx="4475">
                  <c:v>-1.274168631293926E-3</c:v>
                </c:pt>
                <c:pt idx="4476">
                  <c:v>0</c:v>
                </c:pt>
                <c:pt idx="4477">
                  <c:v>-3.1807146170204081E-4</c:v>
                </c:pt>
                <c:pt idx="4478">
                  <c:v>-1.8009638491710556E-3</c:v>
                </c:pt>
                <c:pt idx="4479">
                  <c:v>-3.7032164744957852E-3</c:v>
                </c:pt>
                <c:pt idx="4480">
                  <c:v>-2.6847701825606363E-3</c:v>
                </c:pt>
                <c:pt idx="4481">
                  <c:v>-2.1956195074771534E-3</c:v>
                </c:pt>
                <c:pt idx="4482">
                  <c:v>-2.4735460274109E-3</c:v>
                </c:pt>
                <c:pt idx="4483">
                  <c:v>-4.0262288521077938E-3</c:v>
                </c:pt>
                <c:pt idx="4484">
                  <c:v>-1.5971510678863821E-3</c:v>
                </c:pt>
                <c:pt idx="4485">
                  <c:v>0</c:v>
                </c:pt>
                <c:pt idx="4486">
                  <c:v>0</c:v>
                </c:pt>
                <c:pt idx="4487">
                  <c:v>0</c:v>
                </c:pt>
                <c:pt idx="4488">
                  <c:v>0</c:v>
                </c:pt>
                <c:pt idx="4489">
                  <c:v>0</c:v>
                </c:pt>
                <c:pt idx="4490">
                  <c:v>-7.7995365688432461E-4</c:v>
                </c:pt>
                <c:pt idx="4491">
                  <c:v>0</c:v>
                </c:pt>
                <c:pt idx="4492">
                  <c:v>-1.1610737021402473E-3</c:v>
                </c:pt>
                <c:pt idx="4493">
                  <c:v>-1.6487859274191274E-3</c:v>
                </c:pt>
                <c:pt idx="4494">
                  <c:v>0</c:v>
                </c:pt>
                <c:pt idx="4495">
                  <c:v>0</c:v>
                </c:pt>
                <c:pt idx="4496">
                  <c:v>0</c:v>
                </c:pt>
                <c:pt idx="4497">
                  <c:v>0</c:v>
                </c:pt>
                <c:pt idx="4498">
                  <c:v>-1.9114036273839563E-3</c:v>
                </c:pt>
                <c:pt idx="4499">
                  <c:v>0</c:v>
                </c:pt>
                <c:pt idx="4500">
                  <c:v>-5.4259525323752111E-4</c:v>
                </c:pt>
                <c:pt idx="4501">
                  <c:v>-2.4108562995368565E-3</c:v>
                </c:pt>
                <c:pt idx="4502">
                  <c:v>-5.10002917441299E-3</c:v>
                </c:pt>
                <c:pt idx="4503">
                  <c:v>-2.7111452360868427E-3</c:v>
                </c:pt>
                <c:pt idx="4504">
                  <c:v>-3.7749737247179116E-3</c:v>
                </c:pt>
                <c:pt idx="4505">
                  <c:v>-2.6324109417475983E-3</c:v>
                </c:pt>
                <c:pt idx="4506">
                  <c:v>-2.0739467609687257E-3</c:v>
                </c:pt>
                <c:pt idx="4507">
                  <c:v>-2.6958866519126712E-3</c:v>
                </c:pt>
                <c:pt idx="4508">
                  <c:v>-3.0999339608475118E-3</c:v>
                </c:pt>
                <c:pt idx="4509">
                  <c:v>-3.21650954393915E-3</c:v>
                </c:pt>
                <c:pt idx="4510">
                  <c:v>-2.5237698224267469E-3</c:v>
                </c:pt>
                <c:pt idx="4511">
                  <c:v>-2.0580778334274852E-3</c:v>
                </c:pt>
                <c:pt idx="4512">
                  <c:v>-3.2354301883154024E-3</c:v>
                </c:pt>
                <c:pt idx="4513">
                  <c:v>-2.7740106028849576E-3</c:v>
                </c:pt>
                <c:pt idx="4514">
                  <c:v>-1.7138441744556365E-3</c:v>
                </c:pt>
                <c:pt idx="4515">
                  <c:v>-1.4019587139331158E-3</c:v>
                </c:pt>
                <c:pt idx="4516">
                  <c:v>-3.0321858471137331E-3</c:v>
                </c:pt>
                <c:pt idx="4517">
                  <c:v>-7.9326327405271346E-3</c:v>
                </c:pt>
                <c:pt idx="4518">
                  <c:v>-1.0496074881806927E-2</c:v>
                </c:pt>
                <c:pt idx="4519">
                  <c:v>-8.1151254072515666E-3</c:v>
                </c:pt>
                <c:pt idx="4520">
                  <c:v>-4.5592649512762318E-3</c:v>
                </c:pt>
                <c:pt idx="4521">
                  <c:v>-5.6914518970082595E-3</c:v>
                </c:pt>
                <c:pt idx="4522">
                  <c:v>-7.5291957749590299E-3</c:v>
                </c:pt>
                <c:pt idx="4523">
                  <c:v>-9.3150604667172621E-3</c:v>
                </c:pt>
                <c:pt idx="4524">
                  <c:v>-5.5388660552653235E-3</c:v>
                </c:pt>
                <c:pt idx="4525">
                  <c:v>-4.522034005890907E-3</c:v>
                </c:pt>
                <c:pt idx="4526">
                  <c:v>-3.1969785561961617E-3</c:v>
                </c:pt>
                <c:pt idx="4527">
                  <c:v>-3.2805955974711809E-3</c:v>
                </c:pt>
                <c:pt idx="4528">
                  <c:v>-2.0104710508037638E-3</c:v>
                </c:pt>
                <c:pt idx="4529">
                  <c:v>-3.5351087814982085E-3</c:v>
                </c:pt>
                <c:pt idx="4530">
                  <c:v>-9.5091496574140066E-4</c:v>
                </c:pt>
                <c:pt idx="4531">
                  <c:v>-2.5719869484173152E-3</c:v>
                </c:pt>
                <c:pt idx="4532">
                  <c:v>-2.5304835994632846E-3</c:v>
                </c:pt>
                <c:pt idx="4533">
                  <c:v>-5.9813649963191828E-4</c:v>
                </c:pt>
                <c:pt idx="4534">
                  <c:v>-1.0430768141540536E-3</c:v>
                </c:pt>
                <c:pt idx="4535">
                  <c:v>0</c:v>
                </c:pt>
                <c:pt idx="4536">
                  <c:v>-1.1533976181393735E-3</c:v>
                </c:pt>
                <c:pt idx="4537">
                  <c:v>0</c:v>
                </c:pt>
                <c:pt idx="4538">
                  <c:v>-2.5102817974109737E-4</c:v>
                </c:pt>
                <c:pt idx="4539">
                  <c:v>0</c:v>
                </c:pt>
                <c:pt idx="4540">
                  <c:v>0</c:v>
                </c:pt>
                <c:pt idx="4541">
                  <c:v>-9.6876212850716126E-4</c:v>
                </c:pt>
                <c:pt idx="4542">
                  <c:v>-1.1740546673379981E-3</c:v>
                </c:pt>
                <c:pt idx="4543">
                  <c:v>-1.2311478586104485E-3</c:v>
                </c:pt>
                <c:pt idx="4544">
                  <c:v>0</c:v>
                </c:pt>
                <c:pt idx="4545">
                  <c:v>-1.4830288726613849E-3</c:v>
                </c:pt>
                <c:pt idx="4546">
                  <c:v>-7.424242699949346E-4</c:v>
                </c:pt>
                <c:pt idx="4547">
                  <c:v>0</c:v>
                </c:pt>
                <c:pt idx="4548">
                  <c:v>-9.9180699605405653E-4</c:v>
                </c:pt>
                <c:pt idx="4549">
                  <c:v>0</c:v>
                </c:pt>
                <c:pt idx="4550">
                  <c:v>-9.3928629966566479E-4</c:v>
                </c:pt>
                <c:pt idx="4551">
                  <c:v>0</c:v>
                </c:pt>
                <c:pt idx="4552">
                  <c:v>-5.3848248151078248E-4</c:v>
                </c:pt>
                <c:pt idx="4553">
                  <c:v>0</c:v>
                </c:pt>
                <c:pt idx="4554">
                  <c:v>-1.3085145706415169E-4</c:v>
                </c:pt>
                <c:pt idx="4555">
                  <c:v>0</c:v>
                </c:pt>
                <c:pt idx="4556">
                  <c:v>-1.5599029794447494E-3</c:v>
                </c:pt>
                <c:pt idx="4557">
                  <c:v>0</c:v>
                </c:pt>
                <c:pt idx="4558">
                  <c:v>0</c:v>
                </c:pt>
                <c:pt idx="4559">
                  <c:v>-4.5954033959760832E-3</c:v>
                </c:pt>
                <c:pt idx="4560">
                  <c:v>-2.7026134668430846E-3</c:v>
                </c:pt>
                <c:pt idx="4561">
                  <c:v>-2.2571805054039107E-4</c:v>
                </c:pt>
                <c:pt idx="4562">
                  <c:v>-5.5829198670864777E-5</c:v>
                </c:pt>
                <c:pt idx="4563">
                  <c:v>0</c:v>
                </c:pt>
                <c:pt idx="4564">
                  <c:v>-1.4946364161859682E-3</c:v>
                </c:pt>
                <c:pt idx="4565">
                  <c:v>-2.8007925774794495E-3</c:v>
                </c:pt>
                <c:pt idx="4566">
                  <c:v>-7.2420836792306265E-3</c:v>
                </c:pt>
                <c:pt idx="4567">
                  <c:v>-3.4220571119182308E-3</c:v>
                </c:pt>
                <c:pt idx="4568">
                  <c:v>-2.2911755825629765E-3</c:v>
                </c:pt>
                <c:pt idx="4569">
                  <c:v>0</c:v>
                </c:pt>
                <c:pt idx="4570">
                  <c:v>0</c:v>
                </c:pt>
                <c:pt idx="4571">
                  <c:v>-5.7166801352859231E-4</c:v>
                </c:pt>
                <c:pt idx="4572">
                  <c:v>-1.69345425159384E-3</c:v>
                </c:pt>
                <c:pt idx="4573">
                  <c:v>-1.3851725479633314E-3</c:v>
                </c:pt>
                <c:pt idx="4574">
                  <c:v>-1.3558408907247133E-3</c:v>
                </c:pt>
                <c:pt idx="4575">
                  <c:v>-2.5632276795067854E-3</c:v>
                </c:pt>
                <c:pt idx="4576">
                  <c:v>-1.9029660890126365E-3</c:v>
                </c:pt>
                <c:pt idx="4577">
                  <c:v>-3.2444404537435023E-4</c:v>
                </c:pt>
                <c:pt idx="4578">
                  <c:v>-9.0868276914790602E-4</c:v>
                </c:pt>
                <c:pt idx="4579">
                  <c:v>0</c:v>
                </c:pt>
                <c:pt idx="4580">
                  <c:v>-5.1093795659473695E-4</c:v>
                </c:pt>
                <c:pt idx="4581">
                  <c:v>0</c:v>
                </c:pt>
                <c:pt idx="4582">
                  <c:v>0</c:v>
                </c:pt>
                <c:pt idx="4583">
                  <c:v>-1.0612116413721839E-4</c:v>
                </c:pt>
                <c:pt idx="4584">
                  <c:v>0</c:v>
                </c:pt>
                <c:pt idx="4585">
                  <c:v>-7.2881089500831386E-4</c:v>
                </c:pt>
                <c:pt idx="4586">
                  <c:v>-8.9672320905442859E-4</c:v>
                </c:pt>
                <c:pt idx="4587">
                  <c:v>-1.3825971390598601E-3</c:v>
                </c:pt>
                <c:pt idx="4588">
                  <c:v>-2.9140527125578464E-3</c:v>
                </c:pt>
                <c:pt idx="4589">
                  <c:v>-3.7053841500301887E-3</c:v>
                </c:pt>
                <c:pt idx="4590">
                  <c:v>-1.894074719788752E-3</c:v>
                </c:pt>
                <c:pt idx="4591">
                  <c:v>-9.7174786001108515E-4</c:v>
                </c:pt>
                <c:pt idx="4592">
                  <c:v>-1.780346875878136E-4</c:v>
                </c:pt>
                <c:pt idx="4593">
                  <c:v>-1.3272218014489523E-3</c:v>
                </c:pt>
                <c:pt idx="4594">
                  <c:v>-1.2307615359331558E-3</c:v>
                </c:pt>
                <c:pt idx="4595">
                  <c:v>0</c:v>
                </c:pt>
                <c:pt idx="4596">
                  <c:v>0</c:v>
                </c:pt>
                <c:pt idx="4597">
                  <c:v>-1.5763960411111499E-3</c:v>
                </c:pt>
                <c:pt idx="4598">
                  <c:v>-1.1803644442118788E-3</c:v>
                </c:pt>
                <c:pt idx="4599">
                  <c:v>0</c:v>
                </c:pt>
                <c:pt idx="4600">
                  <c:v>-1.0493017238868418E-3</c:v>
                </c:pt>
                <c:pt idx="4601">
                  <c:v>0</c:v>
                </c:pt>
                <c:pt idx="4602">
                  <c:v>-2.198530709036417E-3</c:v>
                </c:pt>
                <c:pt idx="4603">
                  <c:v>-9.0887651575943806E-4</c:v>
                </c:pt>
                <c:pt idx="4604">
                  <c:v>-9.8907150244409436E-4</c:v>
                </c:pt>
                <c:pt idx="4605">
                  <c:v>-4.7647702829457517E-3</c:v>
                </c:pt>
                <c:pt idx="4606">
                  <c:v>-3.1002787815350707E-3</c:v>
                </c:pt>
                <c:pt idx="4607">
                  <c:v>-3.8172813661898619E-3</c:v>
                </c:pt>
                <c:pt idx="4608">
                  <c:v>-3.7638180417334244E-3</c:v>
                </c:pt>
                <c:pt idx="4609">
                  <c:v>-2.36307894097465E-3</c:v>
                </c:pt>
                <c:pt idx="4610">
                  <c:v>-4.6144789375291984E-3</c:v>
                </c:pt>
                <c:pt idx="4611">
                  <c:v>-7.7854481147345833E-3</c:v>
                </c:pt>
                <c:pt idx="4612">
                  <c:v>-7.6494136558399317E-3</c:v>
                </c:pt>
                <c:pt idx="4613">
                  <c:v>-5.7758211521108382E-3</c:v>
                </c:pt>
                <c:pt idx="4614">
                  <c:v>-4.8776373012426877E-3</c:v>
                </c:pt>
                <c:pt idx="4615">
                  <c:v>-3.5404601528932211E-3</c:v>
                </c:pt>
                <c:pt idx="4616">
                  <c:v>-3.2125517628937006E-3</c:v>
                </c:pt>
                <c:pt idx="4617">
                  <c:v>-9.0055999862183045E-3</c:v>
                </c:pt>
                <c:pt idx="4618">
                  <c:v>-6.5848994622182966E-3</c:v>
                </c:pt>
                <c:pt idx="4619">
                  <c:v>-9.2948959752214844E-3</c:v>
                </c:pt>
                <c:pt idx="4620">
                  <c:v>-6.4571815204612637E-3</c:v>
                </c:pt>
                <c:pt idx="4621">
                  <c:v>-1.101522694884205E-2</c:v>
                </c:pt>
                <c:pt idx="4622">
                  <c:v>-8.3563176125417415E-3</c:v>
                </c:pt>
                <c:pt idx="4623">
                  <c:v>-6.5462870612220669E-3</c:v>
                </c:pt>
                <c:pt idx="4624">
                  <c:v>-3.5374899682011351E-3</c:v>
                </c:pt>
                <c:pt idx="4625">
                  <c:v>-5.1413897018943722E-3</c:v>
                </c:pt>
                <c:pt idx="4626">
                  <c:v>-6.3181768768744151E-3</c:v>
                </c:pt>
                <c:pt idx="4627">
                  <c:v>-6.0686813627445213E-3</c:v>
                </c:pt>
                <c:pt idx="4628">
                  <c:v>-3.6176849548857914E-3</c:v>
                </c:pt>
                <c:pt idx="4629">
                  <c:v>0</c:v>
                </c:pt>
                <c:pt idx="4630">
                  <c:v>0</c:v>
                </c:pt>
                <c:pt idx="4631">
                  <c:v>0</c:v>
                </c:pt>
                <c:pt idx="4632">
                  <c:v>0</c:v>
                </c:pt>
                <c:pt idx="4633">
                  <c:v>0</c:v>
                </c:pt>
                <c:pt idx="4634">
                  <c:v>-4.7439761263246005E-4</c:v>
                </c:pt>
                <c:pt idx="4635">
                  <c:v>0</c:v>
                </c:pt>
                <c:pt idx="4636">
                  <c:v>0</c:v>
                </c:pt>
                <c:pt idx="4637">
                  <c:v>0</c:v>
                </c:pt>
                <c:pt idx="4638">
                  <c:v>0</c:v>
                </c:pt>
                <c:pt idx="4639">
                  <c:v>-2.1162891762629421E-3</c:v>
                </c:pt>
                <c:pt idx="4640">
                  <c:v>-7.7186473439061487E-4</c:v>
                </c:pt>
                <c:pt idx="4641">
                  <c:v>0</c:v>
                </c:pt>
                <c:pt idx="4642">
                  <c:v>0</c:v>
                </c:pt>
                <c:pt idx="4643">
                  <c:v>-6.5050970280089437E-4</c:v>
                </c:pt>
                <c:pt idx="4644">
                  <c:v>0</c:v>
                </c:pt>
                <c:pt idx="4645">
                  <c:v>0</c:v>
                </c:pt>
                <c:pt idx="4646">
                  <c:v>-2.8372624800970803E-3</c:v>
                </c:pt>
                <c:pt idx="4647">
                  <c:v>-1.4636393181216567E-3</c:v>
                </c:pt>
                <c:pt idx="4648">
                  <c:v>-5.0467499491466672E-3</c:v>
                </c:pt>
                <c:pt idx="4649">
                  <c:v>-3.030154243268024E-3</c:v>
                </c:pt>
                <c:pt idx="4650">
                  <c:v>0</c:v>
                </c:pt>
                <c:pt idx="4651">
                  <c:v>0</c:v>
                </c:pt>
                <c:pt idx="4652">
                  <c:v>0</c:v>
                </c:pt>
                <c:pt idx="4653">
                  <c:v>-2.4461298149480726E-5</c:v>
                </c:pt>
                <c:pt idx="4654">
                  <c:v>0</c:v>
                </c:pt>
                <c:pt idx="4655">
                  <c:v>0</c:v>
                </c:pt>
                <c:pt idx="4656">
                  <c:v>-2.4289769918832693E-3</c:v>
                </c:pt>
                <c:pt idx="4657">
                  <c:v>-4.2671374590470545E-3</c:v>
                </c:pt>
                <c:pt idx="4658">
                  <c:v>-1.1083624961765182E-3</c:v>
                </c:pt>
                <c:pt idx="4659">
                  <c:v>0</c:v>
                </c:pt>
                <c:pt idx="4660">
                  <c:v>-8.1007499165921537E-3</c:v>
                </c:pt>
                <c:pt idx="4661">
                  <c:v>-6.9225752677485319E-3</c:v>
                </c:pt>
                <c:pt idx="4662">
                  <c:v>-1.0241458960346561E-2</c:v>
                </c:pt>
                <c:pt idx="4663">
                  <c:v>-1.5057037137785501E-2</c:v>
                </c:pt>
                <c:pt idx="4664">
                  <c:v>-1.054428530077467E-2</c:v>
                </c:pt>
                <c:pt idx="4665">
                  <c:v>-1.30645444410733E-2</c:v>
                </c:pt>
                <c:pt idx="4666">
                  <c:v>-9.4550404601566607E-3</c:v>
                </c:pt>
                <c:pt idx="4667">
                  <c:v>-3.1218431371181632E-3</c:v>
                </c:pt>
                <c:pt idx="4668">
                  <c:v>-5.9739906466766968E-3</c:v>
                </c:pt>
                <c:pt idx="4669">
                  <c:v>-4.1006522681751312E-3</c:v>
                </c:pt>
                <c:pt idx="4670">
                  <c:v>-3.8576937071408413E-3</c:v>
                </c:pt>
                <c:pt idx="4671">
                  <c:v>-4.9213639623869598E-3</c:v>
                </c:pt>
                <c:pt idx="4672">
                  <c:v>-8.3378960718599737E-3</c:v>
                </c:pt>
                <c:pt idx="4673">
                  <c:v>-4.1506389577659064E-3</c:v>
                </c:pt>
                <c:pt idx="4674">
                  <c:v>-6.8522451579755561E-3</c:v>
                </c:pt>
                <c:pt idx="4675">
                  <c:v>-6.9260627112084361E-3</c:v>
                </c:pt>
                <c:pt idx="4676">
                  <c:v>-1.21188660228847E-2</c:v>
                </c:pt>
                <c:pt idx="4677">
                  <c:v>-8.3896264831807565E-3</c:v>
                </c:pt>
                <c:pt idx="4678">
                  <c:v>-5.306726464697209E-3</c:v>
                </c:pt>
                <c:pt idx="4679">
                  <c:v>-3.7931760031341133E-3</c:v>
                </c:pt>
                <c:pt idx="4680">
                  <c:v>-2.7853048432453509E-3</c:v>
                </c:pt>
                <c:pt idx="4681">
                  <c:v>0</c:v>
                </c:pt>
                <c:pt idx="4682">
                  <c:v>0</c:v>
                </c:pt>
                <c:pt idx="4683">
                  <c:v>-2.5404447984450629E-3</c:v>
                </c:pt>
                <c:pt idx="4684">
                  <c:v>-1.4391596561574849E-3</c:v>
                </c:pt>
                <c:pt idx="4685">
                  <c:v>-2.6989323281469968E-3</c:v>
                </c:pt>
                <c:pt idx="4686">
                  <c:v>-5.6951013420347696E-4</c:v>
                </c:pt>
                <c:pt idx="4687">
                  <c:v>0</c:v>
                </c:pt>
                <c:pt idx="4688">
                  <c:v>-5.1376191501200097E-3</c:v>
                </c:pt>
                <c:pt idx="4689">
                  <c:v>-6.4767072357752031E-3</c:v>
                </c:pt>
                <c:pt idx="4690">
                  <c:v>-8.1215576356160613E-3</c:v>
                </c:pt>
                <c:pt idx="4691">
                  <c:v>-7.8413238637912164E-3</c:v>
                </c:pt>
                <c:pt idx="4692">
                  <c:v>-6.3542862712721027E-3</c:v>
                </c:pt>
                <c:pt idx="4693">
                  <c:v>-5.1167321609156824E-3</c:v>
                </c:pt>
                <c:pt idx="4694">
                  <c:v>-9.1125292345323183E-3</c:v>
                </c:pt>
                <c:pt idx="4695">
                  <c:v>-1.1334092614070479E-2</c:v>
                </c:pt>
                <c:pt idx="4696">
                  <c:v>-9.8342907503708998E-3</c:v>
                </c:pt>
                <c:pt idx="4697">
                  <c:v>-1.2623864197437773E-2</c:v>
                </c:pt>
                <c:pt idx="4698">
                  <c:v>-1.5306681921904763E-2</c:v>
                </c:pt>
                <c:pt idx="4699">
                  <c:v>-1.5738346365460898E-2</c:v>
                </c:pt>
                <c:pt idx="4700">
                  <c:v>-2.118520899463372E-2</c:v>
                </c:pt>
                <c:pt idx="4701">
                  <c:v>-2.2351979419353296E-2</c:v>
                </c:pt>
                <c:pt idx="4702">
                  <c:v>-2.5314450721500403E-2</c:v>
                </c:pt>
                <c:pt idx="4703">
                  <c:v>-2.5539566049591622E-2</c:v>
                </c:pt>
                <c:pt idx="4704">
                  <c:v>-2.3509466737759777E-2</c:v>
                </c:pt>
                <c:pt idx="4705">
                  <c:v>-1.9447527531662678E-2</c:v>
                </c:pt>
                <c:pt idx="4706">
                  <c:v>-1.633710672265154E-2</c:v>
                </c:pt>
                <c:pt idx="4707">
                  <c:v>-1.4226360424725359E-2</c:v>
                </c:pt>
                <c:pt idx="4708">
                  <c:v>-1.1983329861838476E-2</c:v>
                </c:pt>
                <c:pt idx="4709">
                  <c:v>-2.4463305911424094E-2</c:v>
                </c:pt>
                <c:pt idx="4710">
                  <c:v>-2.2814394152571249E-2</c:v>
                </c:pt>
                <c:pt idx="4711">
                  <c:v>-2.2649619015514877E-2</c:v>
                </c:pt>
                <c:pt idx="4712">
                  <c:v>-1.9499164810528935E-2</c:v>
                </c:pt>
                <c:pt idx="4713">
                  <c:v>-1.2797342246662624E-2</c:v>
                </c:pt>
                <c:pt idx="4714">
                  <c:v>-2.057600514284097E-2</c:v>
                </c:pt>
                <c:pt idx="4715">
                  <c:v>-2.226959185082511E-2</c:v>
                </c:pt>
                <c:pt idx="4716">
                  <c:v>-2.1937720800134231E-2</c:v>
                </c:pt>
                <c:pt idx="4717">
                  <c:v>-2.0017858375769637E-2</c:v>
                </c:pt>
                <c:pt idx="4718">
                  <c:v>-1.7232926481859367E-2</c:v>
                </c:pt>
                <c:pt idx="4719">
                  <c:v>-2.2331672624293475E-2</c:v>
                </c:pt>
                <c:pt idx="4720">
                  <c:v>-2.4793436379681455E-2</c:v>
                </c:pt>
                <c:pt idx="4721">
                  <c:v>-2.655432560843507E-2</c:v>
                </c:pt>
                <c:pt idx="4722">
                  <c:v>-2.9436730118632237E-2</c:v>
                </c:pt>
                <c:pt idx="4723">
                  <c:v>-3.182829038252788E-2</c:v>
                </c:pt>
                <c:pt idx="4724">
                  <c:v>-2.5671850314552214E-2</c:v>
                </c:pt>
                <c:pt idx="4725">
                  <c:v>-2.3916763027244103E-2</c:v>
                </c:pt>
                <c:pt idx="4726">
                  <c:v>-2.1384215586219391E-2</c:v>
                </c:pt>
                <c:pt idx="4727">
                  <c:v>-1.8728666986547071E-2</c:v>
                </c:pt>
                <c:pt idx="4728">
                  <c:v>-2.1766563527487515E-2</c:v>
                </c:pt>
                <c:pt idx="4729">
                  <c:v>-2.213846797415342E-2</c:v>
                </c:pt>
                <c:pt idx="4730">
                  <c:v>-2.0135057592971628E-2</c:v>
                </c:pt>
                <c:pt idx="4731">
                  <c:v>-3.0515311033378012E-2</c:v>
                </c:pt>
                <c:pt idx="4732">
                  <c:v>-3.4122378030136513E-2</c:v>
                </c:pt>
                <c:pt idx="4733">
                  <c:v>-2.9356663326682297E-2</c:v>
                </c:pt>
                <c:pt idx="4734">
                  <c:v>-3.0111495908760944E-2</c:v>
                </c:pt>
                <c:pt idx="4735">
                  <c:v>-2.9423965847451994E-2</c:v>
                </c:pt>
                <c:pt idx="4736">
                  <c:v>-3.3124444101485295E-2</c:v>
                </c:pt>
                <c:pt idx="4737">
                  <c:v>-2.5453117122051339E-2</c:v>
                </c:pt>
                <c:pt idx="4738">
                  <c:v>-2.0811563965534075E-2</c:v>
                </c:pt>
                <c:pt idx="4739">
                  <c:v>-1.8297582737135443E-2</c:v>
                </c:pt>
                <c:pt idx="4740">
                  <c:v>-1.3250473873567481E-2</c:v>
                </c:pt>
                <c:pt idx="4741">
                  <c:v>-1.5929810433167102E-2</c:v>
                </c:pt>
                <c:pt idx="4742">
                  <c:v>-1.1797087541433049E-2</c:v>
                </c:pt>
                <c:pt idx="4743">
                  <c:v>-1.1715860361193986E-2</c:v>
                </c:pt>
                <c:pt idx="4744">
                  <c:v>-1.0599566827051654E-2</c:v>
                </c:pt>
                <c:pt idx="4745">
                  <c:v>-9.1154302052552927E-3</c:v>
                </c:pt>
                <c:pt idx="4746">
                  <c:v>-7.1433503078800475E-3</c:v>
                </c:pt>
                <c:pt idx="4747">
                  <c:v>-6.9043103203193512E-3</c:v>
                </c:pt>
                <c:pt idx="4748">
                  <c:v>-8.9471739033315512E-3</c:v>
                </c:pt>
                <c:pt idx="4749">
                  <c:v>-8.9129424488022524E-3</c:v>
                </c:pt>
                <c:pt idx="4750">
                  <c:v>-9.8505361864187346E-3</c:v>
                </c:pt>
                <c:pt idx="4751">
                  <c:v>-4.1570910458057497E-3</c:v>
                </c:pt>
                <c:pt idx="4752">
                  <c:v>-9.9648344328979732E-3</c:v>
                </c:pt>
                <c:pt idx="4753">
                  <c:v>-1.1007443310680598E-2</c:v>
                </c:pt>
                <c:pt idx="4754">
                  <c:v>-9.9625136563196159E-3</c:v>
                </c:pt>
                <c:pt idx="4755">
                  <c:v>-8.9773439988489745E-3</c:v>
                </c:pt>
                <c:pt idx="4756">
                  <c:v>-1.5318865998940501E-2</c:v>
                </c:pt>
                <c:pt idx="4757">
                  <c:v>-1.3116449026173038E-2</c:v>
                </c:pt>
                <c:pt idx="4758">
                  <c:v>-9.5029998938245264E-3</c:v>
                </c:pt>
                <c:pt idx="4759">
                  <c:v>-1.2819969818300581E-2</c:v>
                </c:pt>
                <c:pt idx="4760">
                  <c:v>-1.0846149338491595E-2</c:v>
                </c:pt>
                <c:pt idx="4761">
                  <c:v>-1.1877154333382989E-2</c:v>
                </c:pt>
                <c:pt idx="4762">
                  <c:v>-1.0516599064378962E-2</c:v>
                </c:pt>
                <c:pt idx="4763">
                  <c:v>-8.1447654013985238E-3</c:v>
                </c:pt>
                <c:pt idx="4764">
                  <c:v>-1.4304106440096942E-2</c:v>
                </c:pt>
                <c:pt idx="4765">
                  <c:v>-1.9866427704038347E-2</c:v>
                </c:pt>
                <c:pt idx="4766">
                  <c:v>-1.486109281887904E-2</c:v>
                </c:pt>
                <c:pt idx="4767">
                  <c:v>-2.1278040057764014E-2</c:v>
                </c:pt>
                <c:pt idx="4768">
                  <c:v>-1.9603019562406065E-2</c:v>
                </c:pt>
                <c:pt idx="4769">
                  <c:v>-1.6098066735090844E-2</c:v>
                </c:pt>
                <c:pt idx="4770">
                  <c:v>-2.2094953413311136E-2</c:v>
                </c:pt>
                <c:pt idx="4771">
                  <c:v>-2.0635184945586471E-2</c:v>
                </c:pt>
                <c:pt idx="4772">
                  <c:v>-1.863351514683842E-2</c:v>
                </c:pt>
                <c:pt idx="4773">
                  <c:v>-1.4817578258036646E-2</c:v>
                </c:pt>
                <c:pt idx="4774">
                  <c:v>-2.247033902484441E-2</c:v>
                </c:pt>
                <c:pt idx="4775">
                  <c:v>-2.8365111533621423E-2</c:v>
                </c:pt>
                <c:pt idx="4776">
                  <c:v>-3.2354526471648049E-2</c:v>
                </c:pt>
                <c:pt idx="4777">
                  <c:v>-3.0371422885525967E-2</c:v>
                </c:pt>
                <c:pt idx="4778">
                  <c:v>-3.4931748861804168E-2</c:v>
                </c:pt>
                <c:pt idx="4779">
                  <c:v>-2.9501131668678959E-2</c:v>
                </c:pt>
                <c:pt idx="4780">
                  <c:v>-2.7764030399852424E-2</c:v>
                </c:pt>
                <c:pt idx="4781">
                  <c:v>-2.6453952021425309E-2</c:v>
                </c:pt>
                <c:pt idx="4782">
                  <c:v>-2.7330625373862549E-2</c:v>
                </c:pt>
                <c:pt idx="4783">
                  <c:v>-3.2171185121965373E-2</c:v>
                </c:pt>
                <c:pt idx="4784">
                  <c:v>-3.5390102236010135E-2</c:v>
                </c:pt>
                <c:pt idx="4785">
                  <c:v>-3.5755624547085918E-2</c:v>
                </c:pt>
                <c:pt idx="4786">
                  <c:v>-3.440029102538289E-2</c:v>
                </c:pt>
                <c:pt idx="4787">
                  <c:v>-3.5830469591734748E-2</c:v>
                </c:pt>
                <c:pt idx="4788">
                  <c:v>-3.3314167586757759E-2</c:v>
                </c:pt>
                <c:pt idx="4789">
                  <c:v>-3.0797865581780992E-2</c:v>
                </c:pt>
                <c:pt idx="4790">
                  <c:v>-2.2203449718344759E-2</c:v>
                </c:pt>
                <c:pt idx="4791">
                  <c:v>-2.5591203328457768E-2</c:v>
                </c:pt>
                <c:pt idx="4792">
                  <c:v>-2.6744629287852262E-2</c:v>
                </c:pt>
                <c:pt idx="4793">
                  <c:v>-2.6717360163057702E-2</c:v>
                </c:pt>
                <c:pt idx="4794">
                  <c:v>-2.2084509918709028E-2</c:v>
                </c:pt>
                <c:pt idx="4795">
                  <c:v>-2.5842427393054312E-2</c:v>
                </c:pt>
                <c:pt idx="4796">
                  <c:v>-2.9049740624207732E-2</c:v>
                </c:pt>
                <c:pt idx="4797">
                  <c:v>-2.1121387638731726E-2</c:v>
                </c:pt>
                <c:pt idx="4798">
                  <c:v>-2.7269704988683308E-2</c:v>
                </c:pt>
                <c:pt idx="4799">
                  <c:v>-3.2863936930575655E-2</c:v>
                </c:pt>
                <c:pt idx="4800">
                  <c:v>-3.788319647520455E-2</c:v>
                </c:pt>
                <c:pt idx="4801">
                  <c:v>-4.8027891092917496E-2</c:v>
                </c:pt>
                <c:pt idx="4802">
                  <c:v>-4.7779567999043815E-2</c:v>
                </c:pt>
                <c:pt idx="4803">
                  <c:v>-3.7554806589380929E-2</c:v>
                </c:pt>
                <c:pt idx="4804">
                  <c:v>-5.2132764665712483E-2</c:v>
                </c:pt>
                <c:pt idx="4805">
                  <c:v>-4.8997395508485031E-2</c:v>
                </c:pt>
                <c:pt idx="4806">
                  <c:v>-5.3204963444867914E-2</c:v>
                </c:pt>
                <c:pt idx="4807">
                  <c:v>-4.7494112479918082E-2</c:v>
                </c:pt>
                <c:pt idx="4808">
                  <c:v>-4.4395295553798286E-2</c:v>
                </c:pt>
                <c:pt idx="4809">
                  <c:v>-3.9939984717686339E-2</c:v>
                </c:pt>
                <c:pt idx="4810">
                  <c:v>-3.7901762687830631E-2</c:v>
                </c:pt>
                <c:pt idx="4811">
                  <c:v>-4.1013343885130782E-2</c:v>
                </c:pt>
                <c:pt idx="4812">
                  <c:v>-4.296801795816918E-2</c:v>
                </c:pt>
                <c:pt idx="4813">
                  <c:v>-3.7452112225792922E-2</c:v>
                </c:pt>
                <c:pt idx="4814">
                  <c:v>-4.0529461968563885E-2</c:v>
                </c:pt>
                <c:pt idx="4815">
                  <c:v>-3.5399965536467737E-2</c:v>
                </c:pt>
                <c:pt idx="4816">
                  <c:v>-4.3512820259915319E-2</c:v>
                </c:pt>
                <c:pt idx="4817">
                  <c:v>-3.2569778499281332E-2</c:v>
                </c:pt>
                <c:pt idx="4818">
                  <c:v>-3.2814620428287755E-2</c:v>
                </c:pt>
                <c:pt idx="4819">
                  <c:v>-3.1208062841988071E-2</c:v>
                </c:pt>
                <c:pt idx="4820">
                  <c:v>-2.9042778294472882E-2</c:v>
                </c:pt>
                <c:pt idx="4821">
                  <c:v>-2.7414173330679859E-2</c:v>
                </c:pt>
                <c:pt idx="4822">
                  <c:v>-2.7251718970201844E-2</c:v>
                </c:pt>
                <c:pt idx="4823">
                  <c:v>-3.4324865786589553E-2</c:v>
                </c:pt>
                <c:pt idx="4824">
                  <c:v>-3.4433942285767682E-2</c:v>
                </c:pt>
                <c:pt idx="4825">
                  <c:v>-2.8296648624562715E-2</c:v>
                </c:pt>
                <c:pt idx="4826">
                  <c:v>-3.4863285952745571E-2</c:v>
                </c:pt>
                <c:pt idx="4827">
                  <c:v>-2.8994041986329488E-2</c:v>
                </c:pt>
                <c:pt idx="4828">
                  <c:v>-2.4607774253420645E-2</c:v>
                </c:pt>
                <c:pt idx="4829">
                  <c:v>-2.1590184507540022E-2</c:v>
                </c:pt>
                <c:pt idx="4830">
                  <c:v>-2.0324781078244314E-2</c:v>
                </c:pt>
                <c:pt idx="4831">
                  <c:v>-2.3603458189179194E-2</c:v>
                </c:pt>
                <c:pt idx="4832">
                  <c:v>-2.3026745209481891E-2</c:v>
                </c:pt>
                <c:pt idx="4833">
                  <c:v>-1.897757027456537E-2</c:v>
                </c:pt>
                <c:pt idx="4834">
                  <c:v>-1.2343630425613039E-2</c:v>
                </c:pt>
                <c:pt idx="4835">
                  <c:v>-1.2505504591946437E-2</c:v>
                </c:pt>
                <c:pt idx="4836">
                  <c:v>-1.3473848619224849E-2</c:v>
                </c:pt>
                <c:pt idx="4837">
                  <c:v>-1.610560925897031E-2</c:v>
                </c:pt>
                <c:pt idx="4838">
                  <c:v>-1.1797087541433049E-2</c:v>
                </c:pt>
                <c:pt idx="4839">
                  <c:v>-1.0214898109205395E-2</c:v>
                </c:pt>
                <c:pt idx="4840">
                  <c:v>-1.4787408162519333E-2</c:v>
                </c:pt>
                <c:pt idx="4841">
                  <c:v>-1.1573132601631175E-2</c:v>
                </c:pt>
                <c:pt idx="4842">
                  <c:v>-1.5412857450360029E-2</c:v>
                </c:pt>
                <c:pt idx="4843">
                  <c:v>-1.0219539662361887E-2</c:v>
                </c:pt>
                <c:pt idx="4844">
                  <c:v>-1.3534769004404201E-2</c:v>
                </c:pt>
                <c:pt idx="4845">
                  <c:v>-5.3865224381383081E-3</c:v>
                </c:pt>
                <c:pt idx="4846">
                  <c:v>0</c:v>
                </c:pt>
                <c:pt idx="4847">
                  <c:v>-4.3659280077329443E-3</c:v>
                </c:pt>
                <c:pt idx="4848">
                  <c:v>-6.7348428323937837E-3</c:v>
                </c:pt>
                <c:pt idx="4849">
                  <c:v>-2.2087824485633734E-3</c:v>
                </c:pt>
                <c:pt idx="4850">
                  <c:v>-7.6352973530582346E-3</c:v>
                </c:pt>
                <c:pt idx="4851">
                  <c:v>-8.9488469888732158E-3</c:v>
                </c:pt>
                <c:pt idx="4852">
                  <c:v>-9.2778145875954676E-3</c:v>
                </c:pt>
                <c:pt idx="4853">
                  <c:v>-8.9958423601191884E-3</c:v>
                </c:pt>
                <c:pt idx="4854">
                  <c:v>-2.3607921679023036E-3</c:v>
                </c:pt>
                <c:pt idx="4855">
                  <c:v>-1.5081452841595455E-2</c:v>
                </c:pt>
                <c:pt idx="4856">
                  <c:v>-1.4708390820469597E-2</c:v>
                </c:pt>
                <c:pt idx="4857">
                  <c:v>-2.0904237357955102E-2</c:v>
                </c:pt>
                <c:pt idx="4858">
                  <c:v>-2.2171371812292451E-2</c:v>
                </c:pt>
                <c:pt idx="4859">
                  <c:v>-2.1139214214185298E-2</c:v>
                </c:pt>
                <c:pt idx="4860">
                  <c:v>-2.0814307943842314E-2</c:v>
                </c:pt>
                <c:pt idx="4861">
                  <c:v>-2.220618319840062E-2</c:v>
                </c:pt>
                <c:pt idx="4862">
                  <c:v>-2.1570875401926592E-2</c:v>
                </c:pt>
                <c:pt idx="4863">
                  <c:v>-1.8290482451000067E-2</c:v>
                </c:pt>
                <c:pt idx="4864">
                  <c:v>-1.9836688183971329E-2</c:v>
                </c:pt>
                <c:pt idx="4865">
                  <c:v>-1.5139471818442551E-2</c:v>
                </c:pt>
                <c:pt idx="4866">
                  <c:v>-1.1175615320259125E-2</c:v>
                </c:pt>
                <c:pt idx="4867">
                  <c:v>-2.2793335244091772E-2</c:v>
                </c:pt>
                <c:pt idx="4868">
                  <c:v>-1.9859895774710035E-2</c:v>
                </c:pt>
                <c:pt idx="4869">
                  <c:v>-2.3789521076553743E-2</c:v>
                </c:pt>
                <c:pt idx="4870">
                  <c:v>-2.7922792987130296E-2</c:v>
                </c:pt>
                <c:pt idx="4871">
                  <c:v>-2.4870414615212444E-2</c:v>
                </c:pt>
                <c:pt idx="4872">
                  <c:v>-3.132966730758302E-2</c:v>
                </c:pt>
                <c:pt idx="4873">
                  <c:v>-2.7319975817690634E-2</c:v>
                </c:pt>
                <c:pt idx="4874">
                  <c:v>-3.1532733726547302E-2</c:v>
                </c:pt>
                <c:pt idx="4875">
                  <c:v>-3.3608072528362731E-2</c:v>
                </c:pt>
                <c:pt idx="4876">
                  <c:v>-3.5804670991787968E-2</c:v>
                </c:pt>
                <c:pt idx="4877">
                  <c:v>-3.7602679084275059E-2</c:v>
                </c:pt>
                <c:pt idx="4878">
                  <c:v>-2.8787855931918238E-2</c:v>
                </c:pt>
                <c:pt idx="4879">
                  <c:v>-3.9383861673476295E-2</c:v>
                </c:pt>
                <c:pt idx="4880">
                  <c:v>-3.9933881573985253E-2</c:v>
                </c:pt>
                <c:pt idx="4881">
                  <c:v>-3.0559755484824036E-2</c:v>
                </c:pt>
                <c:pt idx="4882">
                  <c:v>-2.9282757804422688E-2</c:v>
                </c:pt>
                <c:pt idx="4883">
                  <c:v>-3.3009896877070566E-2</c:v>
                </c:pt>
                <c:pt idx="4884">
                  <c:v>-3.2607245177752819E-2</c:v>
                </c:pt>
                <c:pt idx="4885">
                  <c:v>-3.955849879378559E-2</c:v>
                </c:pt>
                <c:pt idx="4886">
                  <c:v>-3.9064177111049481E-2</c:v>
                </c:pt>
                <c:pt idx="4887">
                  <c:v>-3.8652822565204636E-2</c:v>
                </c:pt>
                <c:pt idx="4888">
                  <c:v>-4.1826460598732629E-2</c:v>
                </c:pt>
                <c:pt idx="4889">
                  <c:v>-3.4422658963293884E-2</c:v>
                </c:pt>
                <c:pt idx="4890">
                  <c:v>-4.0921364559920237E-2</c:v>
                </c:pt>
                <c:pt idx="4891">
                  <c:v>-3.4024068592355294E-2</c:v>
                </c:pt>
                <c:pt idx="4892">
                  <c:v>-3.2619429162890734E-2</c:v>
                </c:pt>
                <c:pt idx="4893">
                  <c:v>-3.5869072056088247E-2</c:v>
                </c:pt>
                <c:pt idx="4894">
                  <c:v>-3.7171598086302104E-2</c:v>
                </c:pt>
                <c:pt idx="4895">
                  <c:v>-3.2038079014884313E-2</c:v>
                </c:pt>
                <c:pt idx="4896">
                  <c:v>-2.7647783036875873E-2</c:v>
                </c:pt>
                <c:pt idx="4897">
                  <c:v>-2.2941863824819886E-2</c:v>
                </c:pt>
                <c:pt idx="4898">
                  <c:v>-2.9062865882172884E-2</c:v>
                </c:pt>
                <c:pt idx="4899">
                  <c:v>-2.6236761519958129E-2</c:v>
                </c:pt>
                <c:pt idx="4900">
                  <c:v>-2.5962911949240497E-2</c:v>
                </c:pt>
                <c:pt idx="4901">
                  <c:v>-2.5870661776053683E-2</c:v>
                </c:pt>
                <c:pt idx="4902">
                  <c:v>-2.2755622909141127E-2</c:v>
                </c:pt>
                <c:pt idx="4903">
                  <c:v>-2.9057063984488152E-2</c:v>
                </c:pt>
                <c:pt idx="4904">
                  <c:v>-3.1902894798830905E-2</c:v>
                </c:pt>
                <c:pt idx="4905">
                  <c:v>-2.9456814734963532E-2</c:v>
                </c:pt>
                <c:pt idx="4906">
                  <c:v>-2.8705468984795646E-2</c:v>
                </c:pt>
                <c:pt idx="4907">
                  <c:v>-2.6634771701128157E-2</c:v>
                </c:pt>
                <c:pt idx="4908">
                  <c:v>-2.9970282680059079E-2</c:v>
                </c:pt>
                <c:pt idx="4909">
                  <c:v>-1.7118499118691788E-2</c:v>
                </c:pt>
                <c:pt idx="4910">
                  <c:v>-2.5831789061566357E-2</c:v>
                </c:pt>
                <c:pt idx="4911">
                  <c:v>-2.4098762223147996E-2</c:v>
                </c:pt>
                <c:pt idx="4912">
                  <c:v>-2.0421519470588456E-2</c:v>
                </c:pt>
                <c:pt idx="4913">
                  <c:v>-2.3687987867071714E-2</c:v>
                </c:pt>
                <c:pt idx="4914">
                  <c:v>-2.5903152403088159E-2</c:v>
                </c:pt>
                <c:pt idx="4915">
                  <c:v>-2.3573110292914756E-2</c:v>
                </c:pt>
                <c:pt idx="4916">
                  <c:v>-2.2516004534763323E-2</c:v>
                </c:pt>
                <c:pt idx="4917">
                  <c:v>-2.0133165155659105E-2</c:v>
                </c:pt>
                <c:pt idx="4918">
                  <c:v>-1.8563751831949249E-2</c:v>
                </c:pt>
                <c:pt idx="4919">
                  <c:v>-1.8276557896556911E-2</c:v>
                </c:pt>
                <c:pt idx="4920">
                  <c:v>-2.38736485929818E-2</c:v>
                </c:pt>
                <c:pt idx="4921">
                  <c:v>-2.4573357453755995E-2</c:v>
                </c:pt>
                <c:pt idx="4922">
                  <c:v>-2.1664866144418538E-2</c:v>
                </c:pt>
                <c:pt idx="4923">
                  <c:v>-1.6413568550001423E-2</c:v>
                </c:pt>
                <c:pt idx="4924">
                  <c:v>-1.5252608823294045E-2</c:v>
                </c:pt>
                <c:pt idx="4925">
                  <c:v>-2.0104735857004119E-2</c:v>
                </c:pt>
                <c:pt idx="4926">
                  <c:v>-2.4549569673248728E-2</c:v>
                </c:pt>
                <c:pt idx="4927">
                  <c:v>-2.5932742081280047E-2</c:v>
                </c:pt>
                <c:pt idx="4928">
                  <c:v>-2.7928014695046466E-2</c:v>
                </c:pt>
                <c:pt idx="4929">
                  <c:v>-2.8554619644993506E-2</c:v>
                </c:pt>
                <c:pt idx="4930">
                  <c:v>-3.1221752010647696E-2</c:v>
                </c:pt>
                <c:pt idx="4931">
                  <c:v>-2.5685001050143597E-2</c:v>
                </c:pt>
                <c:pt idx="4932">
                  <c:v>-2.4766560646656499E-2</c:v>
                </c:pt>
                <c:pt idx="4933">
                  <c:v>-2.7795731427835535E-2</c:v>
                </c:pt>
                <c:pt idx="4934">
                  <c:v>-3.8562312961323397E-2</c:v>
                </c:pt>
                <c:pt idx="4935">
                  <c:v>-3.9552116706332408E-2</c:v>
                </c:pt>
                <c:pt idx="4936">
                  <c:v>-3.8535044042205424E-2</c:v>
                </c:pt>
                <c:pt idx="4937">
                  <c:v>-4.1425549468720346E-2</c:v>
                </c:pt>
                <c:pt idx="4938">
                  <c:v>-3.4389007956722506E-2</c:v>
                </c:pt>
                <c:pt idx="4939">
                  <c:v>-3.8438732540639453E-2</c:v>
                </c:pt>
                <c:pt idx="4940">
                  <c:v>-3.7559745041408132E-2</c:v>
                </c:pt>
                <c:pt idx="4941">
                  <c:v>-3.6586186609916416E-2</c:v>
                </c:pt>
                <c:pt idx="4942">
                  <c:v>-3.8063349760439791E-2</c:v>
                </c:pt>
                <c:pt idx="4943">
                  <c:v>-4.26654150039395E-2</c:v>
                </c:pt>
                <c:pt idx="4944">
                  <c:v>-3.6124355554214671E-2</c:v>
                </c:pt>
                <c:pt idx="4945">
                  <c:v>-4.0744986870305588E-2</c:v>
                </c:pt>
                <c:pt idx="4946">
                  <c:v>-3.7867245618697032E-2</c:v>
                </c:pt>
                <c:pt idx="4947">
                  <c:v>-3.0998378949786964E-2</c:v>
                </c:pt>
                <c:pt idx="4948">
                  <c:v>-3.0949062819467077E-2</c:v>
                </c:pt>
                <c:pt idx="4949">
                  <c:v>-3.6334384250400698E-2</c:v>
                </c:pt>
                <c:pt idx="4950">
                  <c:v>-2.8440902450373562E-2</c:v>
                </c:pt>
                <c:pt idx="4951">
                  <c:v>-3.394574297361197E-2</c:v>
                </c:pt>
                <c:pt idx="4952">
                  <c:v>-3.3571520572949098E-2</c:v>
                </c:pt>
                <c:pt idx="4953">
                  <c:v>-2.67276020640832E-2</c:v>
                </c:pt>
                <c:pt idx="4954">
                  <c:v>-2.7648943416412664E-2</c:v>
                </c:pt>
                <c:pt idx="4955">
                  <c:v>-2.7930915643888943E-2</c:v>
                </c:pt>
                <c:pt idx="4956">
                  <c:v>-2.7807335223204777E-2</c:v>
                </c:pt>
                <c:pt idx="4957">
                  <c:v>-2.4648201933888503E-2</c:v>
                </c:pt>
                <c:pt idx="4958">
                  <c:v>-2.7760339851958915E-2</c:v>
                </c:pt>
                <c:pt idx="4959">
                  <c:v>-3.3739195416036649E-2</c:v>
                </c:pt>
                <c:pt idx="4960">
                  <c:v>-3.2119885772238455E-2</c:v>
                </c:pt>
                <c:pt idx="4961">
                  <c:v>-2.7597886716787423E-2</c:v>
                </c:pt>
                <c:pt idx="4962">
                  <c:v>-2.5759845530276215E-2</c:v>
                </c:pt>
                <c:pt idx="4963">
                  <c:v>-2.7673311386688382E-2</c:v>
                </c:pt>
                <c:pt idx="4964">
                  <c:v>-2.5316580547165457E-2</c:v>
                </c:pt>
                <c:pt idx="4965">
                  <c:v>-2.3480860119727942E-2</c:v>
                </c:pt>
                <c:pt idx="4966">
                  <c:v>-2.7910028812224041E-2</c:v>
                </c:pt>
                <c:pt idx="4967">
                  <c:v>-2.2925038321534252E-2</c:v>
                </c:pt>
                <c:pt idx="4968">
                  <c:v>-2.2607094328412902E-2</c:v>
                </c:pt>
                <c:pt idx="4969">
                  <c:v>-1.1802220270205943E-2</c:v>
                </c:pt>
                <c:pt idx="4970">
                  <c:v>-2.3101996200917463E-2</c:v>
                </c:pt>
                <c:pt idx="4971">
                  <c:v>-2.0966897852949917E-2</c:v>
                </c:pt>
                <c:pt idx="4972">
                  <c:v>-1.5373868484904074E-2</c:v>
                </c:pt>
                <c:pt idx="4973">
                  <c:v>-1.9101587747320514E-2</c:v>
                </c:pt>
                <c:pt idx="4974">
                  <c:v>-1.8662964282357475E-2</c:v>
                </c:pt>
                <c:pt idx="4975">
                  <c:v>-2.0029311187103049E-2</c:v>
                </c:pt>
                <c:pt idx="4976">
                  <c:v>-1.6790111709737987E-2</c:v>
                </c:pt>
                <c:pt idx="4977">
                  <c:v>-1.7653434085220687E-2</c:v>
                </c:pt>
                <c:pt idx="4978">
                  <c:v>-1.6165827518864972E-2</c:v>
                </c:pt>
                <c:pt idx="4979">
                  <c:v>-1.7785137162663278E-2</c:v>
                </c:pt>
                <c:pt idx="4980">
                  <c:v>-1.7450367666256295E-2</c:v>
                </c:pt>
                <c:pt idx="4981">
                  <c:v>-1.8585218853382601E-2</c:v>
                </c:pt>
                <c:pt idx="4982">
                  <c:v>-2.5185457659491317E-2</c:v>
                </c:pt>
                <c:pt idx="4983">
                  <c:v>-2.2062296135820225E-2</c:v>
                </c:pt>
                <c:pt idx="4984">
                  <c:v>-1.9656829355745753E-2</c:v>
                </c:pt>
                <c:pt idx="4985">
                  <c:v>-2.4119068865044446E-2</c:v>
                </c:pt>
                <c:pt idx="4986">
                  <c:v>-2.3345095713906194E-2</c:v>
                </c:pt>
                <c:pt idx="4987">
                  <c:v>-2.4787447478321178E-2</c:v>
                </c:pt>
                <c:pt idx="4988">
                  <c:v>-2.7785288012003084E-2</c:v>
                </c:pt>
                <c:pt idx="4989">
                  <c:v>-2.3381067479551376E-2</c:v>
                </c:pt>
                <c:pt idx="4990">
                  <c:v>-1.7811825892012911E-2</c:v>
                </c:pt>
                <c:pt idx="4991">
                  <c:v>-1.9544852730431161E-2</c:v>
                </c:pt>
                <c:pt idx="4992">
                  <c:v>-2.1181568067283441E-2</c:v>
                </c:pt>
                <c:pt idx="4993">
                  <c:v>-1.8951898787055277E-2</c:v>
                </c:pt>
                <c:pt idx="4994">
                  <c:v>-2.4789768237395204E-2</c:v>
                </c:pt>
                <c:pt idx="4995">
                  <c:v>-2.7526523375265621E-2</c:v>
                </c:pt>
                <c:pt idx="4996">
                  <c:v>-2.9722541648922629E-2</c:v>
                </c:pt>
                <c:pt idx="4997">
                  <c:v>-3.4782956809513266E-2</c:v>
                </c:pt>
                <c:pt idx="4998">
                  <c:v>-2.2361093866582027E-2</c:v>
                </c:pt>
                <c:pt idx="4999">
                  <c:v>-2.8921879768434744E-2</c:v>
                </c:pt>
                <c:pt idx="5000">
                  <c:v>-2.7227145454735369E-2</c:v>
                </c:pt>
                <c:pt idx="5001">
                  <c:v>-2.9978405336817615E-2</c:v>
                </c:pt>
                <c:pt idx="5002">
                  <c:v>-3.0297509709475867E-2</c:v>
                </c:pt>
                <c:pt idx="5003">
                  <c:v>-3.2086234765667188E-2</c:v>
                </c:pt>
                <c:pt idx="5004">
                  <c:v>-2.8989181781577278E-2</c:v>
                </c:pt>
                <c:pt idx="5005">
                  <c:v>-2.7574098936280045E-2</c:v>
                </c:pt>
                <c:pt idx="5006">
                  <c:v>-3.0402524057568825E-2</c:v>
                </c:pt>
                <c:pt idx="5007">
                  <c:v>-3.1789757793979412E-2</c:v>
                </c:pt>
                <c:pt idx="5008">
                  <c:v>-2.6027313013540554E-2</c:v>
                </c:pt>
                <c:pt idx="5009">
                  <c:v>-2.7016536568781002E-2</c:v>
                </c:pt>
                <c:pt idx="5010">
                  <c:v>-1.9604032086815049E-2</c:v>
                </c:pt>
                <c:pt idx="5011">
                  <c:v>-1.8533001774220459E-2</c:v>
                </c:pt>
                <c:pt idx="5012">
                  <c:v>-2.3716997355495151E-2</c:v>
                </c:pt>
                <c:pt idx="5013">
                  <c:v>-2.0813147564305301E-2</c:v>
                </c:pt>
                <c:pt idx="5014">
                  <c:v>-2.2702245450441971E-2</c:v>
                </c:pt>
                <c:pt idx="5015">
                  <c:v>-2.255487724925076E-2</c:v>
                </c:pt>
                <c:pt idx="5016">
                  <c:v>-2.0706972836675552E-2</c:v>
                </c:pt>
                <c:pt idx="5017">
                  <c:v>-2.4543187585795656E-2</c:v>
                </c:pt>
                <c:pt idx="5018">
                  <c:v>-2.4808334309986191E-2</c:v>
                </c:pt>
                <c:pt idx="5019">
                  <c:v>-2.1675309560251099E-2</c:v>
                </c:pt>
                <c:pt idx="5020">
                  <c:v>-2.2242154964045691E-2</c:v>
                </c:pt>
                <c:pt idx="5021">
                  <c:v>-1.9506560205712287E-2</c:v>
                </c:pt>
                <c:pt idx="5022">
                  <c:v>-1.7895953408440968E-2</c:v>
                </c:pt>
                <c:pt idx="5023">
                  <c:v>-2.0064122573211218E-2</c:v>
                </c:pt>
                <c:pt idx="5024">
                  <c:v>-1.9499597928490542E-2</c:v>
                </c:pt>
                <c:pt idx="5025">
                  <c:v>-2.117054446168265E-2</c:v>
                </c:pt>
                <c:pt idx="5026">
                  <c:v>-2.118040768774665E-2</c:v>
                </c:pt>
                <c:pt idx="5027">
                  <c:v>-2.1142695352796004E-2</c:v>
                </c:pt>
                <c:pt idx="5028">
                  <c:v>-2.6639993409044216E-2</c:v>
                </c:pt>
                <c:pt idx="5029">
                  <c:v>-2.3392671274920618E-2</c:v>
                </c:pt>
                <c:pt idx="5030">
                  <c:v>-1.7224673846321759E-2</c:v>
                </c:pt>
                <c:pt idx="5031">
                  <c:v>-1.902848383649336E-2</c:v>
                </c:pt>
                <c:pt idx="5032">
                  <c:v>-2.0976761079013917E-2</c:v>
                </c:pt>
                <c:pt idx="5033">
                  <c:v>-2.4747994574065291E-2</c:v>
                </c:pt>
                <c:pt idx="5034">
                  <c:v>-2.390381846094225E-2</c:v>
                </c:pt>
                <c:pt idx="5035">
                  <c:v>-2.2662212356417522E-2</c:v>
                </c:pt>
                <c:pt idx="5036">
                  <c:v>-2.1075393339653692E-2</c:v>
                </c:pt>
                <c:pt idx="5037">
                  <c:v>-2.0431382696652456E-2</c:v>
                </c:pt>
                <c:pt idx="5038">
                  <c:v>-1.8353142945994882E-2</c:v>
                </c:pt>
                <c:pt idx="5039">
                  <c:v>-1.7353475974921984E-2</c:v>
                </c:pt>
                <c:pt idx="5040">
                  <c:v>-1.8911865693030938E-2</c:v>
                </c:pt>
                <c:pt idx="5041">
                  <c:v>-1.7579169794856631E-2</c:v>
                </c:pt>
                <c:pt idx="5042">
                  <c:v>-1.9753721047080175E-2</c:v>
                </c:pt>
                <c:pt idx="5043">
                  <c:v>-1.5268273947042665E-2</c:v>
                </c:pt>
                <c:pt idx="5044">
                  <c:v>-1.4653852982233428E-2</c:v>
                </c:pt>
                <c:pt idx="5045">
                  <c:v>-1.1237695625485267E-2</c:v>
                </c:pt>
                <c:pt idx="5046">
                  <c:v>-1.2619127464211011E-2</c:v>
                </c:pt>
                <c:pt idx="5047">
                  <c:v>-1.4657914310612807E-2</c:v>
                </c:pt>
                <c:pt idx="5048">
                  <c:v>-1.6634040662019789E-2</c:v>
                </c:pt>
                <c:pt idx="5049">
                  <c:v>-1.5925048764950156E-2</c:v>
                </c:pt>
                <c:pt idx="5050">
                  <c:v>-1.245145262112346E-2</c:v>
                </c:pt>
                <c:pt idx="5051">
                  <c:v>-8.2746664779117518E-3</c:v>
                </c:pt>
                <c:pt idx="5052">
                  <c:v>-9.6798860971447631E-3</c:v>
                </c:pt>
                <c:pt idx="5053">
                  <c:v>-1.0985313076201098E-2</c:v>
                </c:pt>
                <c:pt idx="5054">
                  <c:v>-1.0833303356862056E-2</c:v>
                </c:pt>
                <c:pt idx="5055">
                  <c:v>-7.5198395891329373E-3</c:v>
                </c:pt>
                <c:pt idx="5056">
                  <c:v>-8.234633383887302E-3</c:v>
                </c:pt>
                <c:pt idx="5057">
                  <c:v>-5.3626940299633663E-3</c:v>
                </c:pt>
                <c:pt idx="5058">
                  <c:v>-8.1818361149564867E-3</c:v>
                </c:pt>
                <c:pt idx="5059">
                  <c:v>-6.4888423705625753E-3</c:v>
                </c:pt>
                <c:pt idx="5060">
                  <c:v>-4.9292922729167188E-3</c:v>
                </c:pt>
                <c:pt idx="5061">
                  <c:v>-3.6198039654811165E-3</c:v>
                </c:pt>
                <c:pt idx="5062">
                  <c:v>-3.9818423810060732E-3</c:v>
                </c:pt>
                <c:pt idx="5063">
                  <c:v>-4.1419747571036503E-3</c:v>
                </c:pt>
                <c:pt idx="5064">
                  <c:v>-3.3175250961086089E-3</c:v>
                </c:pt>
                <c:pt idx="5065">
                  <c:v>-1.4232055020556578E-3</c:v>
                </c:pt>
                <c:pt idx="5066">
                  <c:v>-5.3006137247371132E-3</c:v>
                </c:pt>
                <c:pt idx="5067">
                  <c:v>-2.0080367886728956E-3</c:v>
                </c:pt>
                <c:pt idx="5068">
                  <c:v>-7.7577173942053879E-3</c:v>
                </c:pt>
                <c:pt idx="5069">
                  <c:v>-8.5519971872400902E-3</c:v>
                </c:pt>
                <c:pt idx="5070">
                  <c:v>-4.7668391377452268E-3</c:v>
                </c:pt>
                <c:pt idx="5071">
                  <c:v>-8.3907044316055002E-3</c:v>
                </c:pt>
                <c:pt idx="5072">
                  <c:v>-8.9621913535479214E-3</c:v>
                </c:pt>
                <c:pt idx="5073">
                  <c:v>-5.1416417281764382E-3</c:v>
                </c:pt>
                <c:pt idx="5074">
                  <c:v>-6.5694887483799258E-3</c:v>
                </c:pt>
                <c:pt idx="5075">
                  <c:v>-1.6657248252759382E-3</c:v>
                </c:pt>
                <c:pt idx="5076">
                  <c:v>-1.9738055923331776E-3</c:v>
                </c:pt>
                <c:pt idx="5077">
                  <c:v>-1.770739173368896E-3</c:v>
                </c:pt>
                <c:pt idx="5078">
                  <c:v>-1.4580168881638267E-3</c:v>
                </c:pt>
                <c:pt idx="5079">
                  <c:v>-8.4307375256299499E-3</c:v>
                </c:pt>
                <c:pt idx="5080">
                  <c:v>-7.1131265614357009E-3</c:v>
                </c:pt>
                <c:pt idx="5081">
                  <c:v>-7.4119242921975026E-3</c:v>
                </c:pt>
                <c:pt idx="5082">
                  <c:v>-5.7177701682666893E-3</c:v>
                </c:pt>
                <c:pt idx="5083">
                  <c:v>-3.1022746920063016E-3</c:v>
                </c:pt>
                <c:pt idx="5084">
                  <c:v>-1.9546593299737403E-3</c:v>
                </c:pt>
                <c:pt idx="5085">
                  <c:v>-5.7067465626658986E-3</c:v>
                </c:pt>
                <c:pt idx="5086">
                  <c:v>-4.5718953755394809E-3</c:v>
                </c:pt>
                <c:pt idx="5087">
                  <c:v>0</c:v>
                </c:pt>
                <c:pt idx="5088">
                  <c:v>-2.2863832850936738E-3</c:v>
                </c:pt>
                <c:pt idx="5089">
                  <c:v>-3.4200024018338215E-3</c:v>
                </c:pt>
                <c:pt idx="5090">
                  <c:v>-3.2604603050567782E-4</c:v>
                </c:pt>
                <c:pt idx="5091">
                  <c:v>0</c:v>
                </c:pt>
                <c:pt idx="5092">
                  <c:v>0</c:v>
                </c:pt>
                <c:pt idx="5093">
                  <c:v>-1.2170366604791205E-3</c:v>
                </c:pt>
                <c:pt idx="5094">
                  <c:v>0</c:v>
                </c:pt>
                <c:pt idx="5095">
                  <c:v>0</c:v>
                </c:pt>
                <c:pt idx="5096">
                  <c:v>0</c:v>
                </c:pt>
                <c:pt idx="5097">
                  <c:v>-2.0973992019033272E-3</c:v>
                </c:pt>
                <c:pt idx="5098">
                  <c:v>-3.4375645697677371E-3</c:v>
                </c:pt>
                <c:pt idx="5099">
                  <c:v>-5.906077609542093E-3</c:v>
                </c:pt>
                <c:pt idx="5100">
                  <c:v>-7.4886501498885316E-3</c:v>
                </c:pt>
                <c:pt idx="5101">
                  <c:v>-5.9505189244971612E-3</c:v>
                </c:pt>
                <c:pt idx="5102">
                  <c:v>-2.7472812881286224E-3</c:v>
                </c:pt>
                <c:pt idx="5103">
                  <c:v>-8.3139888561960529E-3</c:v>
                </c:pt>
                <c:pt idx="5104">
                  <c:v>-8.4848281968022965E-3</c:v>
                </c:pt>
                <c:pt idx="5105">
                  <c:v>-9.5583456749366302E-3</c:v>
                </c:pt>
                <c:pt idx="5106">
                  <c:v>-5.782565383563254E-3</c:v>
                </c:pt>
                <c:pt idx="5107">
                  <c:v>-1.0207650601227636E-2</c:v>
                </c:pt>
                <c:pt idx="5108">
                  <c:v>-9.8677033998183505E-3</c:v>
                </c:pt>
                <c:pt idx="5109">
                  <c:v>-1.345936967209227E-2</c:v>
                </c:pt>
                <c:pt idx="5110">
                  <c:v>-1.0930254839197517E-2</c:v>
                </c:pt>
                <c:pt idx="5111">
                  <c:v>-1.3164440945572675E-2</c:v>
                </c:pt>
                <c:pt idx="5112">
                  <c:v>-9.0758399697107306E-3</c:v>
                </c:pt>
                <c:pt idx="5113">
                  <c:v>-4.2680977154856414E-3</c:v>
                </c:pt>
                <c:pt idx="5114">
                  <c:v>-1.0512391046633485E-2</c:v>
                </c:pt>
                <c:pt idx="5115">
                  <c:v>-9.008889417310928E-3</c:v>
                </c:pt>
                <c:pt idx="5116">
                  <c:v>-6.8387680636630144E-3</c:v>
                </c:pt>
                <c:pt idx="5117">
                  <c:v>-1.6512545725495542E-3</c:v>
                </c:pt>
                <c:pt idx="5118">
                  <c:v>-4.4441314955022682E-3</c:v>
                </c:pt>
                <c:pt idx="5119">
                  <c:v>-6.7989440281845948E-4</c:v>
                </c:pt>
                <c:pt idx="5120">
                  <c:v>-2.5164173143363833E-3</c:v>
                </c:pt>
                <c:pt idx="5121">
                  <c:v>-1.2928382532371163E-3</c:v>
                </c:pt>
                <c:pt idx="5122">
                  <c:v>-4.7557978601220352E-4</c:v>
                </c:pt>
                <c:pt idx="5123">
                  <c:v>-2.6670560572359392E-3</c:v>
                </c:pt>
                <c:pt idx="5124">
                  <c:v>-1.449248595481345E-3</c:v>
                </c:pt>
                <c:pt idx="5125">
                  <c:v>-1.7436001620665387E-3</c:v>
                </c:pt>
                <c:pt idx="5126">
                  <c:v>-2.1285658383651818E-3</c:v>
                </c:pt>
                <c:pt idx="5127">
                  <c:v>-1.6576033318289607E-3</c:v>
                </c:pt>
                <c:pt idx="5128">
                  <c:v>-2.7865281636733075E-3</c:v>
                </c:pt>
                <c:pt idx="5129">
                  <c:v>0</c:v>
                </c:pt>
                <c:pt idx="5130">
                  <c:v>-6.1088702726928013E-3</c:v>
                </c:pt>
                <c:pt idx="5131">
                  <c:v>-6.0192367359601651E-3</c:v>
                </c:pt>
                <c:pt idx="5132">
                  <c:v>-5.9462658438766969E-3</c:v>
                </c:pt>
                <c:pt idx="5133">
                  <c:v>-7.2103285413864793E-3</c:v>
                </c:pt>
                <c:pt idx="5134">
                  <c:v>-1.213442732214054E-2</c:v>
                </c:pt>
                <c:pt idx="5135">
                  <c:v>-1.2401029636524452E-2</c:v>
                </c:pt>
                <c:pt idx="5136">
                  <c:v>-1.0942186368807616E-2</c:v>
                </c:pt>
                <c:pt idx="5137">
                  <c:v>-1.4037990829799618E-2</c:v>
                </c:pt>
                <c:pt idx="5138">
                  <c:v>-1.2722791050436166E-2</c:v>
                </c:pt>
                <c:pt idx="5139">
                  <c:v>-1.4753909975752988E-2</c:v>
                </c:pt>
                <c:pt idx="5140">
                  <c:v>-9.0926328127693967E-3</c:v>
                </c:pt>
                <c:pt idx="5141">
                  <c:v>-1.3169235012238434E-2</c:v>
                </c:pt>
                <c:pt idx="5142">
                  <c:v>-1.6302961354155876E-2</c:v>
                </c:pt>
                <c:pt idx="5143">
                  <c:v>-1.422932395628651E-2</c:v>
                </c:pt>
                <c:pt idx="5144">
                  <c:v>-1.3481803242895274E-2</c:v>
                </c:pt>
                <c:pt idx="5145">
                  <c:v>-1.2314843543512533E-2</c:v>
                </c:pt>
                <c:pt idx="5146">
                  <c:v>-8.2566277105526886E-3</c:v>
                </c:pt>
                <c:pt idx="5147">
                  <c:v>-8.7157122993299918E-3</c:v>
                </c:pt>
                <c:pt idx="5148">
                  <c:v>-7.1436779627905844E-3</c:v>
                </c:pt>
                <c:pt idx="5149">
                  <c:v>-9.6683559140897657E-3</c:v>
                </c:pt>
                <c:pt idx="5150">
                  <c:v>-8.6226313188769721E-3</c:v>
                </c:pt>
                <c:pt idx="5151">
                  <c:v>-8.7059445421219239E-3</c:v>
                </c:pt>
                <c:pt idx="5152">
                  <c:v>-1.0466439135381034E-2</c:v>
                </c:pt>
                <c:pt idx="5153">
                  <c:v>-1.2286114845841856E-2</c:v>
                </c:pt>
                <c:pt idx="5154">
                  <c:v>-1.4710242355293612E-2</c:v>
                </c:pt>
                <c:pt idx="5155">
                  <c:v>-1.7732501350248731E-2</c:v>
                </c:pt>
                <c:pt idx="5156">
                  <c:v>-1.9966444881120649E-2</c:v>
                </c:pt>
                <c:pt idx="5157">
                  <c:v>-1.7107364888934828E-2</c:v>
                </c:pt>
                <c:pt idx="5158">
                  <c:v>-2.174819871065603E-2</c:v>
                </c:pt>
                <c:pt idx="5159">
                  <c:v>-2.1888969329242336E-2</c:v>
                </c:pt>
                <c:pt idx="5160">
                  <c:v>-2.4240125946610513E-2</c:v>
                </c:pt>
                <c:pt idx="5161">
                  <c:v>-2.2395168982199731E-2</c:v>
                </c:pt>
                <c:pt idx="5162">
                  <c:v>-2.009170200296484E-2</c:v>
                </c:pt>
                <c:pt idx="5163">
                  <c:v>-1.5451442755197053E-2</c:v>
                </c:pt>
                <c:pt idx="5164">
                  <c:v>-1.1623631077555929E-2</c:v>
                </c:pt>
                <c:pt idx="5165">
                  <c:v>-1.1305317107364932E-2</c:v>
                </c:pt>
                <c:pt idx="5166">
                  <c:v>-1.4505119453924853E-2</c:v>
                </c:pt>
                <c:pt idx="5167">
                  <c:v>-9.7487962675675277E-3</c:v>
                </c:pt>
                <c:pt idx="5168">
                  <c:v>-1.0731892301858115E-2</c:v>
                </c:pt>
                <c:pt idx="5169">
                  <c:v>-1.3359993564771688E-2</c:v>
                </c:pt>
                <c:pt idx="5170">
                  <c:v>-1.0555498098160143E-2</c:v>
                </c:pt>
                <c:pt idx="5171">
                  <c:v>-9.6763999494374753E-3</c:v>
                </c:pt>
                <c:pt idx="5172">
                  <c:v>-4.4627158961629831E-3</c:v>
                </c:pt>
                <c:pt idx="5173">
                  <c:v>-7.4866986129784596E-3</c:v>
                </c:pt>
                <c:pt idx="5174">
                  <c:v>-6.0353248066558063E-3</c:v>
                </c:pt>
                <c:pt idx="5175">
                  <c:v>-6.995437882809874E-3</c:v>
                </c:pt>
                <c:pt idx="5176">
                  <c:v>-6.3950081014927385E-3</c:v>
                </c:pt>
                <c:pt idx="5177">
                  <c:v>-5.2004688523460407E-3</c:v>
                </c:pt>
                <c:pt idx="5178">
                  <c:v>-4.0547683892394604E-3</c:v>
                </c:pt>
                <c:pt idx="5179">
                  <c:v>-6.0330265108422543E-3</c:v>
                </c:pt>
                <c:pt idx="5180">
                  <c:v>-5.3475597844198086E-3</c:v>
                </c:pt>
                <c:pt idx="5181">
                  <c:v>-3.2986290665472096E-3</c:v>
                </c:pt>
                <c:pt idx="5182">
                  <c:v>-5.1705910067685323E-3</c:v>
                </c:pt>
                <c:pt idx="5183">
                  <c:v>-4.0427023362176184E-3</c:v>
                </c:pt>
                <c:pt idx="5184">
                  <c:v>-3.9806483492490496E-3</c:v>
                </c:pt>
                <c:pt idx="5185">
                  <c:v>0</c:v>
                </c:pt>
                <c:pt idx="5186">
                  <c:v>-2.6644184442818908E-3</c:v>
                </c:pt>
                <c:pt idx="5187">
                  <c:v>-7.2853402001860079E-4</c:v>
                </c:pt>
                <c:pt idx="5188">
                  <c:v>-2.3110336248232111E-3</c:v>
                </c:pt>
                <c:pt idx="5189">
                  <c:v>-1.1380480328434528E-3</c:v>
                </c:pt>
                <c:pt idx="5190">
                  <c:v>-1.8568453560537934E-3</c:v>
                </c:pt>
                <c:pt idx="5191">
                  <c:v>0</c:v>
                </c:pt>
                <c:pt idx="5192">
                  <c:v>0</c:v>
                </c:pt>
                <c:pt idx="5193">
                  <c:v>0</c:v>
                </c:pt>
                <c:pt idx="5194">
                  <c:v>-2.1569427769742022E-3</c:v>
                </c:pt>
                <c:pt idx="5195">
                  <c:v>-6.717319812166167E-5</c:v>
                </c:pt>
                <c:pt idx="5196">
                  <c:v>-2.9624518900431829E-3</c:v>
                </c:pt>
                <c:pt idx="5197">
                  <c:v>-1.5939402944198378E-5</c:v>
                </c:pt>
                <c:pt idx="5198">
                  <c:v>-3.191865439560293E-3</c:v>
                </c:pt>
                <c:pt idx="5199">
                  <c:v>-2.0817998773804414E-3</c:v>
                </c:pt>
                <c:pt idx="5200">
                  <c:v>-2.355046784993986E-3</c:v>
                </c:pt>
                <c:pt idx="5201">
                  <c:v>-2.4512524670495806E-3</c:v>
                </c:pt>
                <c:pt idx="5202">
                  <c:v>-1.84897074151813E-3</c:v>
                </c:pt>
                <c:pt idx="5203">
                  <c:v>-1.2495353379410323E-3</c:v>
                </c:pt>
                <c:pt idx="5204">
                  <c:v>-3.248791878646462E-3</c:v>
                </c:pt>
                <c:pt idx="5205">
                  <c:v>-3.7207120586707498E-3</c:v>
                </c:pt>
                <c:pt idx="5206">
                  <c:v>-1.6554208486251332E-3</c:v>
                </c:pt>
                <c:pt idx="5207">
                  <c:v>-1.7669966692341887E-3</c:v>
                </c:pt>
                <c:pt idx="5208">
                  <c:v>-2.7370231912619003E-3</c:v>
                </c:pt>
                <c:pt idx="5209">
                  <c:v>-6.3501442800598662E-3</c:v>
                </c:pt>
                <c:pt idx="5210">
                  <c:v>-4.9104746355712603E-3</c:v>
                </c:pt>
                <c:pt idx="5211">
                  <c:v>-9.5977976299244094E-4</c:v>
                </c:pt>
                <c:pt idx="5212">
                  <c:v>-1.2962150179915977E-3</c:v>
                </c:pt>
                <c:pt idx="5213">
                  <c:v>-4.9810634200386783E-4</c:v>
                </c:pt>
                <c:pt idx="5214">
                  <c:v>0</c:v>
                </c:pt>
                <c:pt idx="5215">
                  <c:v>0</c:v>
                </c:pt>
                <c:pt idx="5216">
                  <c:v>-2.2289920059621604E-3</c:v>
                </c:pt>
                <c:pt idx="5217">
                  <c:v>-1.7472934277114049E-3</c:v>
                </c:pt>
                <c:pt idx="5218">
                  <c:v>-4.5420540468076309E-3</c:v>
                </c:pt>
                <c:pt idx="5219">
                  <c:v>-1.0122486632581085E-3</c:v>
                </c:pt>
                <c:pt idx="522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DA-4E25-B07A-8C078FA4719F}"/>
            </c:ext>
          </c:extLst>
        </c:ser>
        <c:dLbls>
          <c:showLegendKey val="0"/>
          <c:showVal val="0"/>
          <c:showCatName val="0"/>
          <c:showSerName val="0"/>
          <c:showPercent val="0"/>
          <c:showBubbleSize val="0"/>
        </c:dLbls>
        <c:axId val="498632687"/>
        <c:axId val="742499583"/>
      </c:areaChart>
      <c:dateAx>
        <c:axId val="498632687"/>
        <c:scaling>
          <c:orientation val="minMax"/>
        </c:scaling>
        <c:delete val="0"/>
        <c:axPos val="b"/>
        <c:numFmt formatCode="m/d/yyyy"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742499583"/>
        <c:crosses val="autoZero"/>
        <c:auto val="1"/>
        <c:lblOffset val="100"/>
        <c:baseTimeUnit val="days"/>
      </c:dateAx>
      <c:valAx>
        <c:axId val="742499583"/>
        <c:scaling>
          <c:orientation val="minMax"/>
          <c:max val="0"/>
          <c:min val="-0.55000000000000004"/>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498632687"/>
        <c:crosses val="autoZero"/>
        <c:crossBetween val="midCat"/>
      </c:valAx>
      <c:spPr>
        <a:noFill/>
        <a:ln>
          <a:noFill/>
        </a:ln>
        <a:effectLst/>
      </c:spPr>
    </c:plotArea>
    <c:plotVisOnly val="1"/>
    <c:dispBlanksAs val="zero"/>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71800" cy="493792"/>
          </a:xfrm>
          <a:prstGeom prst="rect">
            <a:avLst/>
          </a:prstGeom>
        </p:spPr>
        <p:txBody>
          <a:bodyPr vert="horz" lIns="95610" tIns="47805" rIns="95610" bIns="47805" rtlCol="0"/>
          <a:lstStyle>
            <a:lvl1pPr algn="l">
              <a:defRPr sz="1300"/>
            </a:lvl1pPr>
          </a:lstStyle>
          <a:p>
            <a:endParaRPr lang="en-GB"/>
          </a:p>
        </p:txBody>
      </p:sp>
      <p:sp>
        <p:nvSpPr>
          <p:cNvPr id="3" name="Datumsplatzhalter 2"/>
          <p:cNvSpPr>
            <a:spLocks noGrp="1"/>
          </p:cNvSpPr>
          <p:nvPr>
            <p:ph type="dt" sz="quarter" idx="1"/>
          </p:nvPr>
        </p:nvSpPr>
        <p:spPr>
          <a:xfrm>
            <a:off x="3884613" y="0"/>
            <a:ext cx="2971800" cy="493792"/>
          </a:xfrm>
          <a:prstGeom prst="rect">
            <a:avLst/>
          </a:prstGeom>
        </p:spPr>
        <p:txBody>
          <a:bodyPr vert="horz" lIns="95610" tIns="47805" rIns="95610" bIns="47805" rtlCol="0"/>
          <a:lstStyle>
            <a:lvl1pPr algn="r">
              <a:defRPr sz="1300"/>
            </a:lvl1pPr>
          </a:lstStyle>
          <a:p>
            <a:fld id="{EFBEACFB-84F1-45F0-A690-6B678EBCEB64}" type="datetime1">
              <a:rPr lang="de-DE" smtClean="0"/>
              <a:t>16.10.2024</a:t>
            </a:fld>
            <a:endParaRPr lang="en-GB"/>
          </a:p>
        </p:txBody>
      </p:sp>
      <p:sp>
        <p:nvSpPr>
          <p:cNvPr id="4" name="Fußzeilenplatzhalter 3"/>
          <p:cNvSpPr>
            <a:spLocks noGrp="1"/>
          </p:cNvSpPr>
          <p:nvPr>
            <p:ph type="ftr" sz="quarter" idx="2"/>
          </p:nvPr>
        </p:nvSpPr>
        <p:spPr>
          <a:xfrm>
            <a:off x="1" y="9380332"/>
            <a:ext cx="2971800" cy="493792"/>
          </a:xfrm>
          <a:prstGeom prst="rect">
            <a:avLst/>
          </a:prstGeom>
        </p:spPr>
        <p:txBody>
          <a:bodyPr vert="horz" lIns="95610" tIns="47805" rIns="95610" bIns="47805" rtlCol="0" anchor="b"/>
          <a:lstStyle>
            <a:lvl1pPr algn="l">
              <a:defRPr sz="1300"/>
            </a:lvl1pPr>
          </a:lstStyle>
          <a:p>
            <a:endParaRPr lang="en-GB"/>
          </a:p>
        </p:txBody>
      </p:sp>
      <p:sp>
        <p:nvSpPr>
          <p:cNvPr id="5" name="Foliennummernplatzhalter 4"/>
          <p:cNvSpPr>
            <a:spLocks noGrp="1"/>
          </p:cNvSpPr>
          <p:nvPr>
            <p:ph type="sldNum" sz="quarter" idx="3"/>
          </p:nvPr>
        </p:nvSpPr>
        <p:spPr>
          <a:xfrm>
            <a:off x="3884613" y="9380332"/>
            <a:ext cx="2971800" cy="493792"/>
          </a:xfrm>
          <a:prstGeom prst="rect">
            <a:avLst/>
          </a:prstGeom>
        </p:spPr>
        <p:txBody>
          <a:bodyPr vert="horz" lIns="95610" tIns="47805" rIns="95610" bIns="47805" rtlCol="0" anchor="b"/>
          <a:lstStyle>
            <a:lvl1pPr algn="r">
              <a:defRPr sz="1300"/>
            </a:lvl1pPr>
          </a:lstStyle>
          <a:p>
            <a:fld id="{AE1A1EF2-CEC3-475A-8546-9375C69E5834}" type="slidenum">
              <a:rPr lang="en-GB" smtClean="0"/>
              <a:t>‹#›</a:t>
            </a:fld>
            <a:endParaRPr lang="en-GB"/>
          </a:p>
        </p:txBody>
      </p:sp>
    </p:spTree>
    <p:extLst>
      <p:ext uri="{BB962C8B-B14F-4D97-AF65-F5344CB8AC3E}">
        <p14:creationId xmlns:p14="http://schemas.microsoft.com/office/powerpoint/2010/main" val="3809405951"/>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311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71800" cy="493792"/>
          </a:xfrm>
          <a:prstGeom prst="rect">
            <a:avLst/>
          </a:prstGeom>
        </p:spPr>
        <p:txBody>
          <a:bodyPr vert="horz" lIns="95610" tIns="47805" rIns="95610" bIns="47805" rtlCol="0"/>
          <a:lstStyle>
            <a:lvl1pPr algn="l">
              <a:defRPr sz="1300">
                <a:latin typeface="Arial" panose="020B0604020202020204" pitchFamily="34" charset="0"/>
              </a:defRPr>
            </a:lvl1pPr>
          </a:lstStyle>
          <a:p>
            <a:endParaRPr lang="de-DE"/>
          </a:p>
        </p:txBody>
      </p:sp>
      <p:sp>
        <p:nvSpPr>
          <p:cNvPr id="3" name="Datumsplatzhalter 2"/>
          <p:cNvSpPr>
            <a:spLocks noGrp="1"/>
          </p:cNvSpPr>
          <p:nvPr>
            <p:ph type="dt" idx="1"/>
          </p:nvPr>
        </p:nvSpPr>
        <p:spPr>
          <a:xfrm>
            <a:off x="3884613" y="0"/>
            <a:ext cx="2971800" cy="493792"/>
          </a:xfrm>
          <a:prstGeom prst="rect">
            <a:avLst/>
          </a:prstGeom>
        </p:spPr>
        <p:txBody>
          <a:bodyPr vert="horz" lIns="95610" tIns="47805" rIns="95610" bIns="47805" rtlCol="0"/>
          <a:lstStyle>
            <a:lvl1pPr algn="r">
              <a:defRPr sz="1300">
                <a:latin typeface="Arial" panose="020B0604020202020204" pitchFamily="34" charset="0"/>
              </a:defRPr>
            </a:lvl1pPr>
          </a:lstStyle>
          <a:p>
            <a:fld id="{B56CFA2C-CF1B-47C9-AD33-8F6892A743D9}" type="datetime1">
              <a:rPr lang="de-DE" smtClean="0"/>
              <a:t>16.10.2024</a:t>
            </a:fld>
            <a:endParaRPr lang="de-DE"/>
          </a:p>
        </p:txBody>
      </p:sp>
      <p:sp>
        <p:nvSpPr>
          <p:cNvPr id="4" name="Folienbildplatzhalter 3"/>
          <p:cNvSpPr>
            <a:spLocks noGrp="1" noRot="1" noChangeAspect="1"/>
          </p:cNvSpPr>
          <p:nvPr>
            <p:ph type="sldImg" idx="2"/>
          </p:nvPr>
        </p:nvSpPr>
        <p:spPr>
          <a:xfrm>
            <a:off x="134938" y="739775"/>
            <a:ext cx="6588125" cy="3705225"/>
          </a:xfrm>
          <a:prstGeom prst="rect">
            <a:avLst/>
          </a:prstGeom>
          <a:noFill/>
          <a:ln w="12700">
            <a:solidFill>
              <a:prstClr val="black"/>
            </a:solidFill>
          </a:ln>
        </p:spPr>
        <p:txBody>
          <a:bodyPr vert="horz" lIns="95610" tIns="47805" rIns="95610" bIns="47805" rtlCol="0" anchor="ctr"/>
          <a:lstStyle/>
          <a:p>
            <a:endParaRPr lang="de-DE"/>
          </a:p>
        </p:txBody>
      </p:sp>
      <p:sp>
        <p:nvSpPr>
          <p:cNvPr id="5" name="Notizenplatzhalter 4"/>
          <p:cNvSpPr>
            <a:spLocks noGrp="1"/>
          </p:cNvSpPr>
          <p:nvPr>
            <p:ph type="body" sz="quarter" idx="3"/>
          </p:nvPr>
        </p:nvSpPr>
        <p:spPr>
          <a:xfrm>
            <a:off x="102737" y="4691023"/>
            <a:ext cx="6652527" cy="4444127"/>
          </a:xfrm>
          <a:prstGeom prst="rect">
            <a:avLst/>
          </a:prstGeom>
        </p:spPr>
        <p:txBody>
          <a:bodyPr vert="horz" lIns="95610" tIns="47805" rIns="95610" bIns="47805"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1" y="9380332"/>
            <a:ext cx="2971800" cy="493792"/>
          </a:xfrm>
          <a:prstGeom prst="rect">
            <a:avLst/>
          </a:prstGeom>
        </p:spPr>
        <p:txBody>
          <a:bodyPr vert="horz" lIns="95610" tIns="47805" rIns="95610" bIns="47805" rtlCol="0" anchor="b"/>
          <a:lstStyle>
            <a:lvl1pPr algn="l">
              <a:defRPr sz="1300">
                <a:latin typeface="Arial" panose="020B0604020202020204" pitchFamily="34" charset="0"/>
              </a:defRPr>
            </a:lvl1pPr>
          </a:lstStyle>
          <a:p>
            <a:endParaRPr lang="de-DE"/>
          </a:p>
        </p:txBody>
      </p:sp>
      <p:sp>
        <p:nvSpPr>
          <p:cNvPr id="7" name="Foliennummernplatzhalter 6"/>
          <p:cNvSpPr>
            <a:spLocks noGrp="1"/>
          </p:cNvSpPr>
          <p:nvPr>
            <p:ph type="sldNum" sz="quarter" idx="5"/>
          </p:nvPr>
        </p:nvSpPr>
        <p:spPr>
          <a:xfrm>
            <a:off x="3884613" y="9380332"/>
            <a:ext cx="2971800" cy="493792"/>
          </a:xfrm>
          <a:prstGeom prst="rect">
            <a:avLst/>
          </a:prstGeom>
        </p:spPr>
        <p:txBody>
          <a:bodyPr vert="horz" lIns="95610" tIns="47805" rIns="95610" bIns="47805" rtlCol="0" anchor="b"/>
          <a:lstStyle>
            <a:lvl1pPr algn="r">
              <a:defRPr sz="1300">
                <a:latin typeface="Arial" panose="020B0604020202020204" pitchFamily="34" charset="0"/>
              </a:defRPr>
            </a:lvl1pPr>
          </a:lstStyle>
          <a:p>
            <a:fld id="{49E5F622-1CE2-435F-88EA-A86CC7D456A4}" type="slidenum">
              <a:rPr lang="de-DE" smtClean="0"/>
              <a:t>‹#›</a:t>
            </a:fld>
            <a:endParaRPr lang="de-DE"/>
          </a:p>
        </p:txBody>
      </p:sp>
    </p:spTree>
    <p:extLst>
      <p:ext uri="{BB962C8B-B14F-4D97-AF65-F5344CB8AC3E}">
        <p14:creationId xmlns:p14="http://schemas.microsoft.com/office/powerpoint/2010/main" val="4212535841"/>
      </p:ext>
    </p:extLst>
  </p:cSld>
  <p:clrMap bg1="lt1" tx1="dk1" bg2="lt2" tx2="dk2" accent1="accent1" accent2="accent2" accent3="accent3" accent4="accent4" accent5="accent5" accent6="accent6" hlink="hlink" folHlink="folHlink"/>
  <p:hf/>
  <p:notesStyle>
    <a:lvl1pPr marL="180000" indent="-180000" algn="l" defTabSz="1038977" rtl="0" eaLnBrk="1" latinLnBrk="0" hangingPunct="1">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mn-cs"/>
      </a:defRPr>
    </a:lvl1pPr>
    <a:lvl2pPr marL="360000" indent="-180000" algn="l" defTabSz="1038977" rtl="0" eaLnBrk="1" latinLnBrk="0" hangingPunct="1">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mn-cs"/>
      </a:defRPr>
    </a:lvl2pPr>
    <a:lvl3pPr marL="540000" indent="-180000" algn="l" defTabSz="1038977" rtl="0" eaLnBrk="1" latinLnBrk="0" hangingPunct="1">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mn-cs"/>
      </a:defRPr>
    </a:lvl3pPr>
    <a:lvl4pPr marL="720000" indent="-180000" algn="l" defTabSz="1038977" rtl="0" eaLnBrk="1" latinLnBrk="0" hangingPunct="1">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mn-cs"/>
      </a:defRPr>
    </a:lvl4pPr>
    <a:lvl5pPr marL="900000" indent="-180000" algn="l" defTabSz="1038977" rtl="0" eaLnBrk="1" latinLnBrk="0" hangingPunct="1">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mn-cs"/>
      </a:defRPr>
    </a:lvl5pPr>
    <a:lvl6pPr marL="2597440" algn="l" defTabSz="1038977" rtl="0" eaLnBrk="1" latinLnBrk="0" hangingPunct="1">
      <a:defRPr sz="1333" kern="1200">
        <a:solidFill>
          <a:schemeClr val="tx1"/>
        </a:solidFill>
        <a:latin typeface="+mn-lt"/>
        <a:ea typeface="+mn-ea"/>
        <a:cs typeface="+mn-cs"/>
      </a:defRPr>
    </a:lvl6pPr>
    <a:lvl7pPr marL="3116929" algn="l" defTabSz="1038977" rtl="0" eaLnBrk="1" latinLnBrk="0" hangingPunct="1">
      <a:defRPr sz="1333" kern="1200">
        <a:solidFill>
          <a:schemeClr val="tx1"/>
        </a:solidFill>
        <a:latin typeface="+mn-lt"/>
        <a:ea typeface="+mn-ea"/>
        <a:cs typeface="+mn-cs"/>
      </a:defRPr>
    </a:lvl7pPr>
    <a:lvl8pPr marL="3636417" algn="l" defTabSz="1038977" rtl="0" eaLnBrk="1" latinLnBrk="0" hangingPunct="1">
      <a:defRPr sz="1333" kern="1200">
        <a:solidFill>
          <a:schemeClr val="tx1"/>
        </a:solidFill>
        <a:latin typeface="+mn-lt"/>
        <a:ea typeface="+mn-ea"/>
        <a:cs typeface="+mn-cs"/>
      </a:defRPr>
    </a:lvl8pPr>
    <a:lvl9pPr marL="4155905" algn="l" defTabSz="1038977" rtl="0" eaLnBrk="1" latinLnBrk="0" hangingPunct="1">
      <a:defRPr sz="1333"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1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9E5F622-1CE2-435F-88EA-A86CC7D456A4}" type="slidenum">
              <a:rPr lang="de-DE" smtClean="0"/>
              <a:t>1</a:t>
            </a:fld>
            <a:endParaRPr lang="de-DE"/>
          </a:p>
        </p:txBody>
      </p:sp>
    </p:spTree>
    <p:extLst>
      <p:ext uri="{BB962C8B-B14F-4D97-AF65-F5344CB8AC3E}">
        <p14:creationId xmlns:p14="http://schemas.microsoft.com/office/powerpoint/2010/main" val="1910352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fld id="{6B3B2B55-0A86-4837-8CFB-73F0F3C11D87}" type="slidenum">
              <a:rPr lang="de-DE" altLang="de-DE" sz="800" smtClean="0"/>
              <a:t>10</a:t>
            </a:fld>
            <a:endParaRPr lang="de-DE" altLang="de-DE" sz="800"/>
          </a:p>
        </p:txBody>
      </p:sp>
      <p:sp>
        <p:nvSpPr>
          <p:cNvPr id="86019" name="Rectangle 7"/>
          <p:cNvSpPr txBox="1">
            <a:spLocks noGrp="1" noChangeArrowheads="1"/>
          </p:cNvSpPr>
          <p:nvPr/>
        </p:nvSpPr>
        <p:spPr bwMode="auto">
          <a:xfrm>
            <a:off x="5621812" y="6456050"/>
            <a:ext cx="4304090" cy="34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98" tIns="45551" rIns="91098" bIns="45551" anchor="b"/>
          <a:lstStyle>
            <a:lvl1pPr defTabSz="911225" eaLnBrk="0" hangingPunct="0">
              <a:spcBef>
                <a:spcPct val="30000"/>
              </a:spcBef>
              <a:defRPr sz="1400">
                <a:solidFill>
                  <a:schemeClr val="tx1"/>
                </a:solidFill>
                <a:latin typeface="Arial" charset="0"/>
              </a:defRPr>
            </a:lvl1pPr>
            <a:lvl2pPr marL="742950" indent="-285750" defTabSz="911225" eaLnBrk="0" hangingPunct="0">
              <a:spcBef>
                <a:spcPct val="30000"/>
              </a:spcBef>
              <a:defRPr sz="1400">
                <a:solidFill>
                  <a:schemeClr val="tx1"/>
                </a:solidFill>
                <a:latin typeface="Arial" charset="0"/>
              </a:defRPr>
            </a:lvl2pPr>
            <a:lvl3pPr marL="1143000" indent="-228600" defTabSz="911225" eaLnBrk="0" hangingPunct="0">
              <a:spcBef>
                <a:spcPct val="30000"/>
              </a:spcBef>
              <a:defRPr sz="1400">
                <a:solidFill>
                  <a:schemeClr val="tx1"/>
                </a:solidFill>
                <a:latin typeface="Arial" charset="0"/>
              </a:defRPr>
            </a:lvl3pPr>
            <a:lvl4pPr marL="1600200" indent="-228600" defTabSz="911225" eaLnBrk="0" hangingPunct="0">
              <a:spcBef>
                <a:spcPct val="30000"/>
              </a:spcBef>
              <a:defRPr sz="1400">
                <a:solidFill>
                  <a:schemeClr val="tx1"/>
                </a:solidFill>
                <a:latin typeface="Arial" charset="0"/>
              </a:defRPr>
            </a:lvl4pPr>
            <a:lvl5pPr marL="2057400" indent="-228600" defTabSz="911225" eaLnBrk="0" hangingPunct="0">
              <a:spcBef>
                <a:spcPct val="30000"/>
              </a:spcBef>
              <a:defRPr sz="1400">
                <a:solidFill>
                  <a:schemeClr val="tx1"/>
                </a:solidFill>
                <a:latin typeface="Arial" charset="0"/>
              </a:defRPr>
            </a:lvl5pPr>
            <a:lvl6pPr marL="2514600" indent="-228600" defTabSz="911225" eaLnBrk="0" fontAlgn="base" hangingPunct="0">
              <a:spcBef>
                <a:spcPct val="30000"/>
              </a:spcBef>
              <a:spcAft>
                <a:spcPct val="0"/>
              </a:spcAft>
              <a:defRPr sz="1400">
                <a:solidFill>
                  <a:schemeClr val="tx1"/>
                </a:solidFill>
                <a:latin typeface="Arial" charset="0"/>
              </a:defRPr>
            </a:lvl6pPr>
            <a:lvl7pPr marL="2971800" indent="-228600" defTabSz="911225" eaLnBrk="0" fontAlgn="base" hangingPunct="0">
              <a:spcBef>
                <a:spcPct val="30000"/>
              </a:spcBef>
              <a:spcAft>
                <a:spcPct val="0"/>
              </a:spcAft>
              <a:defRPr sz="1400">
                <a:solidFill>
                  <a:schemeClr val="tx1"/>
                </a:solidFill>
                <a:latin typeface="Arial" charset="0"/>
              </a:defRPr>
            </a:lvl7pPr>
            <a:lvl8pPr marL="3429000" indent="-228600" defTabSz="911225" eaLnBrk="0" fontAlgn="base" hangingPunct="0">
              <a:spcBef>
                <a:spcPct val="30000"/>
              </a:spcBef>
              <a:spcAft>
                <a:spcPct val="0"/>
              </a:spcAft>
              <a:defRPr sz="1400">
                <a:solidFill>
                  <a:schemeClr val="tx1"/>
                </a:solidFill>
                <a:latin typeface="Arial" charset="0"/>
              </a:defRPr>
            </a:lvl8pPr>
            <a:lvl9pPr marL="3886200" indent="-228600" defTabSz="911225" eaLnBrk="0" fontAlgn="base" hangingPunct="0">
              <a:spcBef>
                <a:spcPct val="30000"/>
              </a:spcBef>
              <a:spcAft>
                <a:spcPct val="0"/>
              </a:spcAft>
              <a:defRPr sz="1400">
                <a:solidFill>
                  <a:schemeClr val="tx1"/>
                </a:solidFill>
                <a:latin typeface="Arial" charset="0"/>
              </a:defRPr>
            </a:lvl9pPr>
          </a:lstStyle>
          <a:p>
            <a:pPr algn="r" eaLnBrk="1" hangingPunct="1">
              <a:spcBef>
                <a:spcPct val="0"/>
              </a:spcBef>
            </a:pPr>
            <a:fld id="{483C8536-485D-4ADC-8994-2A497D25E045}" type="slidenum">
              <a:rPr lang="en-US" altLang="de-DE" sz="1200"/>
              <a:t>10</a:t>
            </a:fld>
            <a:endParaRPr lang="en-US" altLang="de-DE" sz="1200"/>
          </a:p>
        </p:txBody>
      </p:sp>
      <p:sp>
        <p:nvSpPr>
          <p:cNvPr id="86020" name="Rectangle 2"/>
          <p:cNvSpPr>
            <a:spLocks noGrp="1" noRot="1" noChangeAspect="1" noChangeArrowheads="1" noTextEdit="1"/>
          </p:cNvSpPr>
          <p:nvPr>
            <p:ph type="sldImg"/>
          </p:nvPr>
        </p:nvSpPr>
        <p:spPr>
          <a:xfrm>
            <a:off x="2736850" y="685800"/>
            <a:ext cx="4479925" cy="2520950"/>
          </a:xfrm>
          <a:ln/>
        </p:spPr>
      </p:sp>
      <p:sp>
        <p:nvSpPr>
          <p:cNvPr id="86021" name="Rectangle 3"/>
          <p:cNvSpPr>
            <a:spLocks noGrp="1" noChangeArrowheads="1"/>
          </p:cNvSpPr>
          <p:nvPr>
            <p:ph type="body" idx="1"/>
          </p:nvPr>
        </p:nvSpPr>
        <p:spPr>
          <a:xfrm>
            <a:off x="683263" y="3401014"/>
            <a:ext cx="8580292" cy="2888577"/>
          </a:xfrm>
          <a:noFill/>
        </p:spPr>
        <p:txBody>
          <a:bodyPr lIns="92583" tIns="46290" rIns="92583" bIns="46290"/>
          <a:lstStyle/>
          <a:p>
            <a:r>
              <a:rPr lang="en-GB" altLang="de-DE" b="1"/>
              <a:t>"Awersja do strat" </a:t>
            </a:r>
            <a:endParaRPr lang="de-DE" altLang="de-DE" b="1"/>
          </a:p>
          <a:p>
            <a:r>
              <a:rPr lang="en-GB" altLang="de-DE"/>
              <a:t>Ktoś proponuje ci grę z monetą. Jeśli przegrasz, musisz zapłacić 100,00 €. Jaki zysk musiałbyś osiągnąć, abyś był skłonny zaangażować się w grę?</a:t>
            </a:r>
            <a:endParaRPr lang="en-US" altLang="de-DE"/>
          </a:p>
          <a:p>
            <a:r>
              <a:rPr lang="en-US" altLang="de-DE"/>
              <a:t>W tym przypadku nie ma poprawnej odpowiedzi. Zależy to od Twojej skłonności do ryzyka. Jeśli zaakceptowałbyś zysk w wysokości 100,00 € z gry, byłbyś neutralny wobec ryzyka. Z reguły jednak ludzie angażują się, gdy mogą wygrać więcej niż potencjalna strata. Ludzie mają awersję do strat. Chcą zachować to, co do nich należy. Często prowadzi to do efektu wypierania w przypadku inwestycji finansowych. Papiery wartościowe, które radzą sobie gorzej niż oczekiwano, nie są sprzedawane i pozostają na koncie. "Znowu się stało", takie jest nastawienie. Straty są akceptowane tylko niechętnie. </a:t>
            </a:r>
          </a:p>
          <a:p>
            <a:endParaRPr lang="en-US" altLang="de-DE"/>
          </a:p>
          <a:p>
            <a:r>
              <a:rPr lang="en-US" altLang="de-DE"/>
              <a:t>Rozwiązania przeciwko awersji do strat mogą być następujące:</a:t>
            </a:r>
          </a:p>
          <a:p>
            <a:endParaRPr lang="en-US" altLang="de-DE"/>
          </a:p>
          <a:p>
            <a:pPr>
              <a:buFontTx/>
              <a:buChar char="•"/>
            </a:pPr>
            <a:r>
              <a:rPr lang="en-US" altLang="de-DE"/>
              <a:t>Fundusze gwarancyjne</a:t>
            </a:r>
          </a:p>
          <a:p>
            <a:pPr>
              <a:buFontTx/>
              <a:buChar char="•"/>
            </a:pPr>
            <a:r>
              <a:rPr lang="en-US" altLang="de-DE"/>
              <a:t>Fundusze z wyższym ryzykiem i wyższymi oczekiwaniami co do zwrotu na początku oraz redukcją profilu ryzyka i zwrotu w miarę upływu czasu (fundusze cyklu życia i docelowe).</a:t>
            </a:r>
          </a:p>
          <a:p>
            <a:pPr>
              <a:buFontTx/>
              <a:buChar char="•"/>
            </a:pPr>
            <a:r>
              <a:rPr lang="en-US" altLang="de-DE"/>
              <a:t>I zmienne opłaty roczn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9E5F622-1CE2-435F-88EA-A86CC7D456A4}" type="slidenum">
              <a:rPr lang="de-DE" smtClean="0"/>
              <a:t>11</a:t>
            </a:fld>
            <a:endParaRPr lang="de-DE"/>
          </a:p>
        </p:txBody>
      </p:sp>
    </p:spTree>
    <p:extLst>
      <p:ext uri="{BB962C8B-B14F-4D97-AF65-F5344CB8AC3E}">
        <p14:creationId xmlns:p14="http://schemas.microsoft.com/office/powerpoint/2010/main" val="12439418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4750E5CE-F90E-4D93-8F3F-B422AECE2963}" type="slidenum">
              <a:rPr lang="de-DE" altLang="de-DE" sz="800" smtClean="0"/>
              <a:t>12</a:t>
            </a:fld>
            <a:endParaRPr lang="de-DE" altLang="de-DE" sz="800"/>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xfrm>
            <a:off x="680940" y="3399926"/>
            <a:ext cx="8582615" cy="288966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t>Prozyklisch</a:t>
            </a:r>
          </a:p>
          <a:p>
            <a:r>
              <a:rPr lang="de-DE" altLang="en-US"/>
              <a:t>Ważne doradztwo</a:t>
            </a:r>
          </a:p>
          <a:p>
            <a:r>
              <a:rPr lang="de-DE" altLang="en-US"/>
              <a:t>Struktur mit Vermögensmanagement und/Oder Fondssparplan, der Diszipliniert und das Risiko des Einstiegszeitpunkt reduziert</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Folienbildplatzhalter 1"/>
          <p:cNvSpPr>
            <a:spLocks noGrp="1" noRot="1" noChangeAspect="1" noTextEdit="1"/>
          </p:cNvSpPr>
          <p:nvPr>
            <p:ph type="sldImg"/>
          </p:nvPr>
        </p:nvSpPr>
        <p:spPr>
          <a:ln/>
        </p:spPr>
      </p:sp>
      <p:sp>
        <p:nvSpPr>
          <p:cNvPr id="81923"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81924"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9F1B0847-F0ED-4913-BAAE-72A2B9424483}" type="slidenum">
              <a:rPr lang="de-DE" altLang="de-DE" sz="800" smtClean="0"/>
              <a:pPr>
                <a:spcBef>
                  <a:spcPct val="0"/>
                </a:spcBef>
              </a:pPr>
              <a:t>13</a:t>
            </a:fld>
            <a:endParaRPr lang="de-DE" altLang="de-DE" sz="8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p:spPr>
        <p:txBody>
          <a:bodyPr/>
          <a:lstStyle>
            <a:lvl1pPr defTabSz="908050" eaLnBrk="0" hangingPunct="0">
              <a:spcBef>
                <a:spcPct val="30000"/>
              </a:spcBef>
              <a:defRPr sz="1400">
                <a:solidFill>
                  <a:schemeClr val="tx1"/>
                </a:solidFill>
                <a:latin typeface="Arial" charset="0"/>
              </a:defRPr>
            </a:lvl1pPr>
            <a:lvl2pPr marL="714375" indent="-274638" defTabSz="908050" eaLnBrk="0" hangingPunct="0">
              <a:spcBef>
                <a:spcPct val="30000"/>
              </a:spcBef>
              <a:defRPr sz="1400">
                <a:solidFill>
                  <a:schemeClr val="tx1"/>
                </a:solidFill>
                <a:latin typeface="Arial" charset="0"/>
              </a:defRPr>
            </a:lvl2pPr>
            <a:lvl3pPr marL="1100138" indent="-219075" defTabSz="908050" eaLnBrk="0" hangingPunct="0">
              <a:spcBef>
                <a:spcPct val="30000"/>
              </a:spcBef>
              <a:defRPr sz="1400">
                <a:solidFill>
                  <a:schemeClr val="tx1"/>
                </a:solidFill>
                <a:latin typeface="Arial" charset="0"/>
              </a:defRPr>
            </a:lvl3pPr>
            <a:lvl4pPr marL="1541463" indent="-219075" defTabSz="908050" eaLnBrk="0" hangingPunct="0">
              <a:spcBef>
                <a:spcPct val="30000"/>
              </a:spcBef>
              <a:defRPr sz="1400">
                <a:solidFill>
                  <a:schemeClr val="tx1"/>
                </a:solidFill>
                <a:latin typeface="Arial" charset="0"/>
              </a:defRPr>
            </a:lvl4pPr>
            <a:lvl5pPr marL="1981200" indent="-219075" defTabSz="908050" eaLnBrk="0" hangingPunct="0">
              <a:spcBef>
                <a:spcPct val="30000"/>
              </a:spcBef>
              <a:defRPr sz="1400">
                <a:solidFill>
                  <a:schemeClr val="tx1"/>
                </a:solidFill>
                <a:latin typeface="Arial" charset="0"/>
              </a:defRPr>
            </a:lvl5pPr>
            <a:lvl6pPr marL="2438400" indent="-219075" defTabSz="908050" eaLnBrk="0" fontAlgn="base" hangingPunct="0">
              <a:spcBef>
                <a:spcPct val="30000"/>
              </a:spcBef>
              <a:spcAft>
                <a:spcPct val="0"/>
              </a:spcAft>
              <a:defRPr sz="1400">
                <a:solidFill>
                  <a:schemeClr val="tx1"/>
                </a:solidFill>
                <a:latin typeface="Arial" charset="0"/>
              </a:defRPr>
            </a:lvl6pPr>
            <a:lvl7pPr marL="2895600" indent="-219075" defTabSz="908050" eaLnBrk="0" fontAlgn="base" hangingPunct="0">
              <a:spcBef>
                <a:spcPct val="30000"/>
              </a:spcBef>
              <a:spcAft>
                <a:spcPct val="0"/>
              </a:spcAft>
              <a:defRPr sz="1400">
                <a:solidFill>
                  <a:schemeClr val="tx1"/>
                </a:solidFill>
                <a:latin typeface="Arial" charset="0"/>
              </a:defRPr>
            </a:lvl7pPr>
            <a:lvl8pPr marL="3352800" indent="-219075" defTabSz="908050" eaLnBrk="0" fontAlgn="base" hangingPunct="0">
              <a:spcBef>
                <a:spcPct val="30000"/>
              </a:spcBef>
              <a:spcAft>
                <a:spcPct val="0"/>
              </a:spcAft>
              <a:defRPr sz="1400">
                <a:solidFill>
                  <a:schemeClr val="tx1"/>
                </a:solidFill>
                <a:latin typeface="Arial" charset="0"/>
              </a:defRPr>
            </a:lvl8pPr>
            <a:lvl9pPr marL="3810000" indent="-219075" defTabSz="908050" eaLnBrk="0" fontAlgn="base" hangingPunct="0">
              <a:spcBef>
                <a:spcPct val="30000"/>
              </a:spcBef>
              <a:spcAft>
                <a:spcPct val="0"/>
              </a:spcAft>
              <a:defRPr sz="1400">
                <a:solidFill>
                  <a:schemeClr val="tx1"/>
                </a:solidFill>
                <a:latin typeface="Arial" charset="0"/>
              </a:defRPr>
            </a:lvl9pPr>
          </a:lstStyle>
          <a:p>
            <a:pPr>
              <a:spcBef>
                <a:spcPct val="0"/>
              </a:spcBef>
            </a:pPr>
            <a:fld id="{BE2D8CC8-FADB-4AB1-A839-BD72C358242A}" type="slidenum">
              <a:rPr lang="de-DE" altLang="de-DE" sz="800" smtClean="0"/>
              <a:t>14</a:t>
            </a:fld>
            <a:endParaRPr lang="de-DE" altLang="de-DE" sz="800"/>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xfrm>
            <a:off x="680939" y="3398838"/>
            <a:ext cx="8580292" cy="2891841"/>
          </a:xfrm>
          <a:noFill/>
        </p:spPr>
        <p:txBody>
          <a:bodyPr/>
          <a:lstStyle/>
          <a:p>
            <a:r>
              <a:rPr lang="de-DE" altLang="en-US"/>
              <a:t>Fundusz regularnie sprzedaje 1-miesięczne krótkie pozycje na Stoxx 600, z ceną bazową 90% w zamian za miesięczny całkowity dochód z premii w wysokości 2%. </a:t>
            </a:r>
          </a:p>
          <a:p>
            <a:r>
              <a:rPr lang="de-DE" altLang="en-US"/>
              <a:t>I tak, w każdym miesiącu, w którym Stoxx 600 traci mniej niż 10%, premia jest pobierana.</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lvl1pPr defTabSz="908050" eaLnBrk="0" hangingPunct="0">
              <a:spcBef>
                <a:spcPct val="30000"/>
              </a:spcBef>
              <a:defRPr sz="1400">
                <a:solidFill>
                  <a:schemeClr val="tx1"/>
                </a:solidFill>
                <a:latin typeface="Arial" charset="0"/>
              </a:defRPr>
            </a:lvl1pPr>
            <a:lvl2pPr marL="714375" indent="-274638" defTabSz="908050" eaLnBrk="0" hangingPunct="0">
              <a:spcBef>
                <a:spcPct val="30000"/>
              </a:spcBef>
              <a:defRPr sz="1400">
                <a:solidFill>
                  <a:schemeClr val="tx1"/>
                </a:solidFill>
                <a:latin typeface="Arial" charset="0"/>
              </a:defRPr>
            </a:lvl2pPr>
            <a:lvl3pPr marL="1100138" indent="-219075" defTabSz="908050" eaLnBrk="0" hangingPunct="0">
              <a:spcBef>
                <a:spcPct val="30000"/>
              </a:spcBef>
              <a:defRPr sz="1400">
                <a:solidFill>
                  <a:schemeClr val="tx1"/>
                </a:solidFill>
                <a:latin typeface="Arial" charset="0"/>
              </a:defRPr>
            </a:lvl3pPr>
            <a:lvl4pPr marL="1541463" indent="-219075" defTabSz="908050" eaLnBrk="0" hangingPunct="0">
              <a:spcBef>
                <a:spcPct val="30000"/>
              </a:spcBef>
              <a:defRPr sz="1400">
                <a:solidFill>
                  <a:schemeClr val="tx1"/>
                </a:solidFill>
                <a:latin typeface="Arial" charset="0"/>
              </a:defRPr>
            </a:lvl4pPr>
            <a:lvl5pPr marL="1981200" indent="-219075" defTabSz="908050" eaLnBrk="0" hangingPunct="0">
              <a:spcBef>
                <a:spcPct val="30000"/>
              </a:spcBef>
              <a:defRPr sz="1400">
                <a:solidFill>
                  <a:schemeClr val="tx1"/>
                </a:solidFill>
                <a:latin typeface="Arial" charset="0"/>
              </a:defRPr>
            </a:lvl5pPr>
            <a:lvl6pPr marL="2438400" indent="-219075" defTabSz="908050" eaLnBrk="0" fontAlgn="base" hangingPunct="0">
              <a:spcBef>
                <a:spcPct val="30000"/>
              </a:spcBef>
              <a:spcAft>
                <a:spcPct val="0"/>
              </a:spcAft>
              <a:defRPr sz="1400">
                <a:solidFill>
                  <a:schemeClr val="tx1"/>
                </a:solidFill>
                <a:latin typeface="Arial" charset="0"/>
              </a:defRPr>
            </a:lvl6pPr>
            <a:lvl7pPr marL="2895600" indent="-219075" defTabSz="908050" eaLnBrk="0" fontAlgn="base" hangingPunct="0">
              <a:spcBef>
                <a:spcPct val="30000"/>
              </a:spcBef>
              <a:spcAft>
                <a:spcPct val="0"/>
              </a:spcAft>
              <a:defRPr sz="1400">
                <a:solidFill>
                  <a:schemeClr val="tx1"/>
                </a:solidFill>
                <a:latin typeface="Arial" charset="0"/>
              </a:defRPr>
            </a:lvl7pPr>
            <a:lvl8pPr marL="3352800" indent="-219075" defTabSz="908050" eaLnBrk="0" fontAlgn="base" hangingPunct="0">
              <a:spcBef>
                <a:spcPct val="30000"/>
              </a:spcBef>
              <a:spcAft>
                <a:spcPct val="0"/>
              </a:spcAft>
              <a:defRPr sz="1400">
                <a:solidFill>
                  <a:schemeClr val="tx1"/>
                </a:solidFill>
                <a:latin typeface="Arial" charset="0"/>
              </a:defRPr>
            </a:lvl8pPr>
            <a:lvl9pPr marL="3810000" indent="-219075" defTabSz="908050" eaLnBrk="0" fontAlgn="base" hangingPunct="0">
              <a:spcBef>
                <a:spcPct val="30000"/>
              </a:spcBef>
              <a:spcAft>
                <a:spcPct val="0"/>
              </a:spcAft>
              <a:defRPr sz="1400">
                <a:solidFill>
                  <a:schemeClr val="tx1"/>
                </a:solidFill>
                <a:latin typeface="Arial" charset="0"/>
              </a:defRPr>
            </a:lvl9pPr>
          </a:lstStyle>
          <a:p>
            <a:pPr>
              <a:spcBef>
                <a:spcPct val="0"/>
              </a:spcBef>
            </a:pPr>
            <a:fld id="{22475863-2C6F-4128-AB62-379D3B7B9941}" type="slidenum">
              <a:rPr lang="de-DE" altLang="de-DE" sz="800" smtClean="0"/>
              <a:t>15</a:t>
            </a:fld>
            <a:endParaRPr lang="de-DE" altLang="de-DE" sz="800"/>
          </a:p>
        </p:txBody>
      </p:sp>
      <p:sp>
        <p:nvSpPr>
          <p:cNvPr id="88067" name="Rectangle 2"/>
          <p:cNvSpPr>
            <a:spLocks noGrp="1" noRot="1" noChangeAspect="1" noChangeArrowheads="1" noTextEdit="1"/>
          </p:cNvSpPr>
          <p:nvPr>
            <p:ph type="sldImg"/>
          </p:nvPr>
        </p:nvSpPr>
        <p:spPr>
          <a:xfrm>
            <a:off x="2455863" y="320675"/>
            <a:ext cx="5018087" cy="2824163"/>
          </a:xfrm>
          <a:ln/>
        </p:spPr>
      </p:sp>
      <p:sp>
        <p:nvSpPr>
          <p:cNvPr id="88068" name="Rectangle 3"/>
          <p:cNvSpPr>
            <a:spLocks noGrp="1" noChangeArrowheads="1"/>
          </p:cNvSpPr>
          <p:nvPr>
            <p:ph type="body" idx="1"/>
          </p:nvPr>
        </p:nvSpPr>
        <p:spPr>
          <a:xfrm>
            <a:off x="992359" y="3229114"/>
            <a:ext cx="7943510" cy="3058301"/>
          </a:xfrm>
          <a:noFill/>
        </p:spPr>
        <p:txBody>
          <a:bodyPr/>
          <a:lstStyle/>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Folienbildplatzhalter 1"/>
          <p:cNvSpPr>
            <a:spLocks noGrp="1" noRot="1" noChangeAspect="1" noTextEdit="1"/>
          </p:cNvSpPr>
          <p:nvPr>
            <p:ph type="sldImg"/>
          </p:nvPr>
        </p:nvSpPr>
        <p:spPr>
          <a:ln/>
        </p:spPr>
      </p:sp>
      <p:sp>
        <p:nvSpPr>
          <p:cNvPr id="76803"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76804"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8E9E1258-F6F3-4964-86F0-50D0AE1BCDD2}" type="slidenum">
              <a:rPr lang="de-DE" altLang="de-DE" sz="800" smtClean="0"/>
              <a:pPr>
                <a:spcBef>
                  <a:spcPct val="0"/>
                </a:spcBef>
              </a:pPr>
              <a:t>16</a:t>
            </a:fld>
            <a:endParaRPr lang="de-DE" altLang="de-DE" sz="8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Folienbildplatzhalter 1"/>
          <p:cNvSpPr>
            <a:spLocks noGrp="1" noRot="1" noChangeAspect="1" noTextEdit="1"/>
          </p:cNvSpPr>
          <p:nvPr>
            <p:ph type="sldImg"/>
          </p:nvPr>
        </p:nvSpPr>
        <p:spPr>
          <a:ln/>
        </p:spPr>
      </p:sp>
      <p:sp>
        <p:nvSpPr>
          <p:cNvPr id="79875"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79876"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D63E1D55-968D-4164-A47A-5B70EB2602B9}" type="slidenum">
              <a:rPr lang="de-DE" altLang="de-DE" sz="800" smtClean="0"/>
              <a:pPr>
                <a:spcBef>
                  <a:spcPct val="0"/>
                </a:spcBef>
              </a:pPr>
              <a:t>17</a:t>
            </a:fld>
            <a:endParaRPr lang="de-DE" altLang="de-DE" sz="8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Folienbildplatzhalter 1"/>
          <p:cNvSpPr>
            <a:spLocks noGrp="1" noRot="1" noChangeAspect="1" noTextEdit="1"/>
          </p:cNvSpPr>
          <p:nvPr>
            <p:ph type="sldImg"/>
          </p:nvPr>
        </p:nvSpPr>
        <p:spPr>
          <a:ln/>
        </p:spPr>
      </p:sp>
      <p:sp>
        <p:nvSpPr>
          <p:cNvPr id="80899"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80900"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6789B041-2732-42A1-8B94-CF311D1AD7F3}" type="slidenum">
              <a:rPr lang="de-DE" altLang="de-DE" sz="800" smtClean="0"/>
              <a:t>18</a:t>
            </a:fld>
            <a:endParaRPr lang="de-DE" altLang="de-DE" sz="8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p>
        </p:txBody>
      </p:sp>
      <p:sp>
        <p:nvSpPr>
          <p:cNvPr id="91140" name="Header Placeholder 3"/>
          <p:cNvSpPr>
            <a:spLocks noGrp="1"/>
          </p:cNvSpPr>
          <p:nvPr>
            <p:ph type="hdr" sz="quarter"/>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endParaRPr lang="de-DE" altLang="de-DE" sz="800"/>
          </a:p>
        </p:txBody>
      </p:sp>
      <p:sp>
        <p:nvSpPr>
          <p:cNvPr id="91141" name="Footer Placeholder 4"/>
          <p:cNvSpPr>
            <a:spLocks noGrp="1"/>
          </p:cNvSpPr>
          <p:nvPr>
            <p:ph type="ftr" sz="quarter" idx="4"/>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endParaRPr lang="de-DE" altLang="de-DE" sz="800"/>
          </a:p>
        </p:txBody>
      </p:sp>
      <p:sp>
        <p:nvSpPr>
          <p:cNvPr id="91142" name="Slide Number Placeholder 5"/>
          <p:cNvSpPr>
            <a:spLocks noGrp="1"/>
          </p:cNvSpPr>
          <p:nvPr>
            <p:ph type="sldNum" sz="quarter" idx="5"/>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fld id="{C31B26ED-81FB-4891-8311-21DA3C2E29A2}" type="slidenum">
              <a:rPr lang="de-DE" altLang="de-DE" sz="800" smtClean="0"/>
              <a:pPr>
                <a:spcBef>
                  <a:spcPct val="0"/>
                </a:spcBef>
              </a:pPr>
              <a:t>19</a:t>
            </a:fld>
            <a:endParaRPr lang="de-DE" altLang="de-DE" sz="8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eaLnBrk="0" hangingPunct="0">
              <a:spcBef>
                <a:spcPct val="30000"/>
              </a:spcBef>
              <a:defRPr sz="1400">
                <a:solidFill>
                  <a:schemeClr val="tx1"/>
                </a:solidFill>
                <a:latin typeface="Arial" pitchFamily="34" charset="0"/>
              </a:defRPr>
            </a:lvl1pPr>
            <a:lvl2pPr marL="742950" indent="-285750" defTabSz="908050" eaLnBrk="0" hangingPunct="0">
              <a:spcBef>
                <a:spcPct val="30000"/>
              </a:spcBef>
              <a:defRPr sz="1400">
                <a:solidFill>
                  <a:schemeClr val="tx1"/>
                </a:solidFill>
                <a:latin typeface="Arial" pitchFamily="34" charset="0"/>
              </a:defRPr>
            </a:lvl2pPr>
            <a:lvl3pPr marL="1144588" indent="-228600" defTabSz="908050" eaLnBrk="0" hangingPunct="0">
              <a:spcBef>
                <a:spcPct val="30000"/>
              </a:spcBef>
              <a:defRPr sz="1400">
                <a:solidFill>
                  <a:schemeClr val="tx1"/>
                </a:solidFill>
                <a:latin typeface="Arial" pitchFamily="34" charset="0"/>
              </a:defRPr>
            </a:lvl3pPr>
            <a:lvl4pPr marL="1601788" indent="-228600" defTabSz="908050" eaLnBrk="0" hangingPunct="0">
              <a:spcBef>
                <a:spcPct val="30000"/>
              </a:spcBef>
              <a:defRPr sz="1400">
                <a:solidFill>
                  <a:schemeClr val="tx1"/>
                </a:solidFill>
                <a:latin typeface="Arial" pitchFamily="34" charset="0"/>
              </a:defRPr>
            </a:lvl4pPr>
            <a:lvl5pPr marL="2058988" indent="-228600" defTabSz="908050" eaLnBrk="0" hangingPunct="0">
              <a:spcBef>
                <a:spcPct val="30000"/>
              </a:spcBef>
              <a:defRPr sz="1400">
                <a:solidFill>
                  <a:schemeClr val="tx1"/>
                </a:solidFill>
                <a:latin typeface="Arial" pitchFamily="34" charset="0"/>
              </a:defRPr>
            </a:lvl5pPr>
            <a:lvl6pPr marL="2516188" indent="-228600" defTabSz="908050" eaLnBrk="0" fontAlgn="base" hangingPunct="0">
              <a:spcBef>
                <a:spcPct val="30000"/>
              </a:spcBef>
              <a:spcAft>
                <a:spcPct val="0"/>
              </a:spcAft>
              <a:defRPr sz="1400">
                <a:solidFill>
                  <a:schemeClr val="tx1"/>
                </a:solidFill>
                <a:latin typeface="Arial" pitchFamily="34" charset="0"/>
              </a:defRPr>
            </a:lvl6pPr>
            <a:lvl7pPr marL="2973388" indent="-228600" defTabSz="908050" eaLnBrk="0" fontAlgn="base" hangingPunct="0">
              <a:spcBef>
                <a:spcPct val="30000"/>
              </a:spcBef>
              <a:spcAft>
                <a:spcPct val="0"/>
              </a:spcAft>
              <a:defRPr sz="1400">
                <a:solidFill>
                  <a:schemeClr val="tx1"/>
                </a:solidFill>
                <a:latin typeface="Arial" pitchFamily="34" charset="0"/>
              </a:defRPr>
            </a:lvl7pPr>
            <a:lvl8pPr marL="3430588" indent="-228600" defTabSz="908050" eaLnBrk="0" fontAlgn="base" hangingPunct="0">
              <a:spcBef>
                <a:spcPct val="30000"/>
              </a:spcBef>
              <a:spcAft>
                <a:spcPct val="0"/>
              </a:spcAft>
              <a:defRPr sz="1400">
                <a:solidFill>
                  <a:schemeClr val="tx1"/>
                </a:solidFill>
                <a:latin typeface="Arial" pitchFamily="34" charset="0"/>
              </a:defRPr>
            </a:lvl8pPr>
            <a:lvl9pPr marL="3887788" indent="-228600" defTabSz="908050" eaLnBrk="0" fontAlgn="base" hangingPunct="0">
              <a:spcBef>
                <a:spcPct val="30000"/>
              </a:spcBef>
              <a:spcAft>
                <a:spcPct val="0"/>
              </a:spcAft>
              <a:defRPr sz="1400">
                <a:solidFill>
                  <a:schemeClr val="tx1"/>
                </a:solidFill>
                <a:latin typeface="Arial" pitchFamily="34" charset="0"/>
              </a:defRPr>
            </a:lvl9pPr>
          </a:lstStyle>
          <a:p>
            <a:pPr>
              <a:spcBef>
                <a:spcPct val="0"/>
              </a:spcBef>
            </a:pPr>
            <a:fld id="{5F2FFD3B-6E72-4D6E-9CAD-64C93AA09F8F}" type="slidenum">
              <a:rPr lang="de-DE" altLang="de-DE" sz="800" smtClean="0"/>
              <a:pPr>
                <a:spcBef>
                  <a:spcPct val="0"/>
                </a:spcBef>
              </a:pPr>
              <a:t>2</a:t>
            </a:fld>
            <a:endParaRPr lang="de-DE" altLang="de-DE" sz="800"/>
          </a:p>
        </p:txBody>
      </p:sp>
      <p:sp>
        <p:nvSpPr>
          <p:cNvPr id="54275" name="Rectangle 2"/>
          <p:cNvSpPr>
            <a:spLocks noGrp="1" noRot="1" noChangeAspect="1" noChangeArrowheads="1" noTextEdit="1"/>
          </p:cNvSpPr>
          <p:nvPr>
            <p:ph type="sldImg"/>
          </p:nvPr>
        </p:nvSpPr>
        <p:spPr>
          <a:xfrm>
            <a:off x="2733675" y="685800"/>
            <a:ext cx="4486275" cy="2524125"/>
          </a:xfrm>
          <a:ln/>
        </p:spPr>
      </p:sp>
      <p:sp>
        <p:nvSpPr>
          <p:cNvPr id="54276" name="Rectangle 3"/>
          <p:cNvSpPr>
            <a:spLocks noGrp="1" noChangeArrowheads="1"/>
          </p:cNvSpPr>
          <p:nvPr>
            <p:ph type="body" idx="1"/>
          </p:nvPr>
        </p:nvSpPr>
        <p:spPr>
          <a:xfrm>
            <a:off x="681988" y="3399926"/>
            <a:ext cx="8578172" cy="28914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t>Weiteres Beispiel aus dem Alltag: Relativismus bei der Partnerwahl &amp; Attraktivität. Weniger Schönes im Vergleich zum Hässlichen schön. Hinterfragen Sie also zukünftig mal, wenn ihre Freundin/Freund Sie Abends auf eine Party mitnehmen will.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noFill/>
        </p:spPr>
        <p:txBody>
          <a:bodyPr/>
          <a:lstStyle/>
          <a:p>
            <a:endParaRPr lang="en-US" altLang="en-US"/>
          </a:p>
        </p:txBody>
      </p:sp>
      <p:sp>
        <p:nvSpPr>
          <p:cNvPr id="95236" name="Header Placeholder 3"/>
          <p:cNvSpPr>
            <a:spLocks noGrp="1"/>
          </p:cNvSpPr>
          <p:nvPr>
            <p:ph type="hdr" sz="quarter"/>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endParaRPr lang="de-DE" altLang="de-DE" sz="800"/>
          </a:p>
        </p:txBody>
      </p:sp>
      <p:sp>
        <p:nvSpPr>
          <p:cNvPr id="95237" name="Footer Placeholder 4"/>
          <p:cNvSpPr>
            <a:spLocks noGrp="1"/>
          </p:cNvSpPr>
          <p:nvPr>
            <p:ph type="ftr" sz="quarter" idx="4"/>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endParaRPr lang="de-DE" altLang="de-DE" sz="800"/>
          </a:p>
        </p:txBody>
      </p:sp>
      <p:sp>
        <p:nvSpPr>
          <p:cNvPr id="95238" name="Slide Number Placeholder 5"/>
          <p:cNvSpPr>
            <a:spLocks noGrp="1"/>
          </p:cNvSpPr>
          <p:nvPr>
            <p:ph type="sldNum" sz="quarter" idx="5"/>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fld id="{24BA8CBC-7D58-4AF0-A189-909BC8313006}" type="slidenum">
              <a:rPr lang="de-DE" altLang="de-DE" sz="800" smtClean="0"/>
              <a:pPr>
                <a:spcBef>
                  <a:spcPct val="0"/>
                </a:spcBef>
              </a:pPr>
              <a:t>20</a:t>
            </a:fld>
            <a:endParaRPr lang="de-DE" altLang="de-DE" sz="80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750" y="509588"/>
            <a:ext cx="4530725" cy="2549525"/>
          </a:xfrm>
        </p:spPr>
      </p:sp>
      <p:sp>
        <p:nvSpPr>
          <p:cNvPr id="3" name="Notes Placeholder 2"/>
          <p:cNvSpPr>
            <a:spLocks noGrp="1"/>
          </p:cNvSpPr>
          <p:nvPr>
            <p:ph type="body" idx="1"/>
          </p:nvPr>
        </p:nvSpPr>
        <p:spPr/>
        <p:txBody>
          <a:bodyPr/>
          <a:lstStyle/>
          <a:p>
            <a:endParaRPr lang="en-US"/>
          </a:p>
        </p:txBody>
      </p:sp>
      <p:sp>
        <p:nvSpPr>
          <p:cNvPr id="4" name="Header Placeholder 3" hidden="1"/>
          <p:cNvSpPr>
            <a:spLocks noGrp="1"/>
          </p:cNvSpPr>
          <p:nvPr>
            <p:ph type="hdr" sz="quarter" idx="10"/>
          </p:nvPr>
        </p:nvSpPr>
        <p:spPr>
          <a:xfrm>
            <a:off x="0" y="0"/>
            <a:ext cx="9928225" cy="339772"/>
          </a:xfrm>
        </p:spPr>
        <p:txBody>
          <a:bodyPr/>
          <a:lstStyle/>
          <a:p>
            <a:endParaRPr lang="en-US"/>
          </a:p>
        </p:txBody>
      </p:sp>
      <p:sp>
        <p:nvSpPr>
          <p:cNvPr id="5" name="Footer Placeholder 4" hidden="1"/>
          <p:cNvSpPr>
            <a:spLocks noGrp="1"/>
          </p:cNvSpPr>
          <p:nvPr>
            <p:ph type="ftr" sz="quarter" idx="11"/>
          </p:nvPr>
        </p:nvSpPr>
        <p:spPr>
          <a:xfrm>
            <a:off x="0" y="6456783"/>
            <a:ext cx="9928225" cy="339772"/>
          </a:xfrm>
        </p:spPr>
        <p:txBody>
          <a:bodyPr/>
          <a:lstStyle/>
          <a:p>
            <a:endParaRPr lang="en-US"/>
          </a:p>
        </p:txBody>
      </p:sp>
      <p:sp>
        <p:nvSpPr>
          <p:cNvPr id="6" name="Slide Number Placeholder 5"/>
          <p:cNvSpPr>
            <a:spLocks noGrp="1"/>
          </p:cNvSpPr>
          <p:nvPr>
            <p:ph type="sldNum" sz="quarter" idx="12"/>
          </p:nvPr>
        </p:nvSpPr>
        <p:spPr/>
        <p:txBody>
          <a:bodyPr/>
          <a:lstStyle/>
          <a:p>
            <a:fld id="{FA1DA18A-2453-4E32-B180-6C2C493A2E0D}" type="slidenum">
              <a:rPr lang="en-US" smtClean="0"/>
              <a:t>21</a:t>
            </a:fld>
            <a:endParaRPr lang="en-US"/>
          </a:p>
        </p:txBody>
      </p:sp>
    </p:spTree>
    <p:extLst>
      <p:ext uri="{BB962C8B-B14F-4D97-AF65-F5344CB8AC3E}">
        <p14:creationId xmlns:p14="http://schemas.microsoft.com/office/powerpoint/2010/main" val="932983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6600"/>
            <a:ext cx="6543675" cy="3681413"/>
          </a:xfrm>
        </p:spPr>
      </p:sp>
      <p:sp>
        <p:nvSpPr>
          <p:cNvPr id="3" name="Notes Placeholder 2"/>
          <p:cNvSpPr>
            <a:spLocks noGrp="1"/>
          </p:cNvSpPr>
          <p:nvPr>
            <p:ph type="body" idx="1"/>
          </p:nvPr>
        </p:nvSpPr>
        <p:spPr/>
        <p:txBody>
          <a:bodyPr/>
          <a:lstStyle/>
          <a:p>
            <a:pPr marL="0" indent="0">
              <a:buNone/>
            </a:pPr>
            <a:endParaRPr lang="de-DE" dirty="0"/>
          </a:p>
        </p:txBody>
      </p:sp>
      <p:sp>
        <p:nvSpPr>
          <p:cNvPr id="4" name="Slide Number Placeholder 3"/>
          <p:cNvSpPr>
            <a:spLocks noGrp="1"/>
          </p:cNvSpPr>
          <p:nvPr>
            <p:ph type="sldNum" sz="quarter" idx="10"/>
          </p:nvPr>
        </p:nvSpPr>
        <p:spPr/>
        <p:txBody>
          <a:bodyPr/>
          <a:lstStyle/>
          <a:p>
            <a:pPr>
              <a:buClr>
                <a:srgbClr val="1F497D"/>
              </a:buClr>
            </a:pPr>
            <a:fld id="{FA1DA18A-2453-4E32-B180-6C2C493A2E0D}" type="slidenum">
              <a:rPr lang="en-US" smtClean="0">
                <a:solidFill>
                  <a:prstClr val="black"/>
                </a:solidFill>
              </a:rPr>
              <a:t>22</a:t>
            </a:fld>
            <a:endParaRPr lang="en-US">
              <a:solidFill>
                <a:prstClr val="black"/>
              </a:solidFill>
            </a:endParaRPr>
          </a:p>
        </p:txBody>
      </p:sp>
    </p:spTree>
    <p:extLst>
      <p:ext uri="{BB962C8B-B14F-4D97-AF65-F5344CB8AC3E}">
        <p14:creationId xmlns:p14="http://schemas.microsoft.com/office/powerpoint/2010/main" val="22871366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p:nvPr>
        </p:nvSpPr>
        <p:spPr/>
        <p:txBody>
          <a:bodyPr/>
          <a:lstStyle/>
          <a:p>
            <a:endParaRPr lang="de-DE"/>
          </a:p>
        </p:txBody>
      </p:sp>
      <p:sp>
        <p:nvSpPr>
          <p:cNvPr id="5" name="Date Placeholder 4"/>
          <p:cNvSpPr>
            <a:spLocks noGrp="1"/>
          </p:cNvSpPr>
          <p:nvPr>
            <p:ph type="dt" idx="1"/>
          </p:nvPr>
        </p:nvSpPr>
        <p:spPr/>
        <p:txBody>
          <a:bodyPr/>
          <a:lstStyle/>
          <a:p>
            <a:fld id="{B56CFA2C-CF1B-47C9-AD33-8F6892A743D9}" type="datetime1">
              <a:rPr lang="de-DE" smtClean="0"/>
              <a:t>16.10.2024</a:t>
            </a:fld>
            <a:endParaRPr lang="de-DE"/>
          </a:p>
        </p:txBody>
      </p:sp>
      <p:sp>
        <p:nvSpPr>
          <p:cNvPr id="6" name="Footer Placeholder 5"/>
          <p:cNvSpPr>
            <a:spLocks noGrp="1"/>
          </p:cNvSpPr>
          <p:nvPr>
            <p:ph type="ftr" sz="quarter" idx="4"/>
          </p:nvPr>
        </p:nvSpPr>
        <p:spPr/>
        <p:txBody>
          <a:bodyPr/>
          <a:lstStyle/>
          <a:p>
            <a:endParaRPr lang="de-DE"/>
          </a:p>
        </p:txBody>
      </p:sp>
      <p:sp>
        <p:nvSpPr>
          <p:cNvPr id="7" name="Slide Number Placeholder 6"/>
          <p:cNvSpPr>
            <a:spLocks noGrp="1"/>
          </p:cNvSpPr>
          <p:nvPr>
            <p:ph type="sldNum" sz="quarter" idx="5"/>
          </p:nvPr>
        </p:nvSpPr>
        <p:spPr/>
        <p:txBody>
          <a:bodyPr/>
          <a:lstStyle/>
          <a:p>
            <a:fld id="{49E5F622-1CE2-435F-88EA-A86CC7D456A4}" type="slidenum">
              <a:rPr lang="de-DE" smtClean="0"/>
              <a:t>23</a:t>
            </a:fld>
            <a:endParaRPr lang="de-DE"/>
          </a:p>
        </p:txBody>
      </p:sp>
    </p:spTree>
    <p:extLst>
      <p:ext uri="{BB962C8B-B14F-4D97-AF65-F5344CB8AC3E}">
        <p14:creationId xmlns:p14="http://schemas.microsoft.com/office/powerpoint/2010/main" val="17861076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9E5F622-1CE2-435F-88EA-A86CC7D456A4}" type="slidenum">
              <a:rPr lang="de-DE" smtClean="0"/>
              <a:pPr/>
              <a:t>25</a:t>
            </a:fld>
            <a:endParaRPr lang="de-DE"/>
          </a:p>
        </p:txBody>
      </p:sp>
    </p:spTree>
    <p:extLst>
      <p:ext uri="{BB962C8B-B14F-4D97-AF65-F5344CB8AC3E}">
        <p14:creationId xmlns:p14="http://schemas.microsoft.com/office/powerpoint/2010/main" val="36260690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de-DE"/>
          </a:p>
        </p:txBody>
      </p:sp>
      <p:sp>
        <p:nvSpPr>
          <p:cNvPr id="5" name="Date Placeholder 4"/>
          <p:cNvSpPr>
            <a:spLocks noGrp="1"/>
          </p:cNvSpPr>
          <p:nvPr>
            <p:ph type="dt" idx="1"/>
          </p:nvPr>
        </p:nvSpPr>
        <p:spPr/>
        <p:txBody>
          <a:bodyPr/>
          <a:lstStyle/>
          <a:p>
            <a:fld id="{B56CFA2C-CF1B-47C9-AD33-8F6892A743D9}" type="datetime1">
              <a:rPr lang="de-DE" smtClean="0"/>
              <a:t>16.10.2024</a:t>
            </a:fld>
            <a:endParaRPr lang="de-DE"/>
          </a:p>
        </p:txBody>
      </p:sp>
      <p:sp>
        <p:nvSpPr>
          <p:cNvPr id="6" name="Footer Placeholder 5"/>
          <p:cNvSpPr>
            <a:spLocks noGrp="1"/>
          </p:cNvSpPr>
          <p:nvPr>
            <p:ph type="ftr" sz="quarter" idx="4"/>
          </p:nvPr>
        </p:nvSpPr>
        <p:spPr/>
        <p:txBody>
          <a:bodyPr/>
          <a:lstStyle/>
          <a:p>
            <a:endParaRPr lang="de-DE"/>
          </a:p>
        </p:txBody>
      </p:sp>
      <p:sp>
        <p:nvSpPr>
          <p:cNvPr id="7" name="Slide Number Placeholder 6"/>
          <p:cNvSpPr>
            <a:spLocks noGrp="1"/>
          </p:cNvSpPr>
          <p:nvPr>
            <p:ph type="sldNum" sz="quarter" idx="5"/>
          </p:nvPr>
        </p:nvSpPr>
        <p:spPr/>
        <p:txBody>
          <a:bodyPr/>
          <a:lstStyle/>
          <a:p>
            <a:fld id="{49E5F622-1CE2-435F-88EA-A86CC7D456A4}" type="slidenum">
              <a:rPr lang="de-DE" smtClean="0"/>
              <a:t>27</a:t>
            </a:fld>
            <a:endParaRPr lang="de-DE"/>
          </a:p>
        </p:txBody>
      </p:sp>
    </p:spTree>
    <p:extLst>
      <p:ext uri="{BB962C8B-B14F-4D97-AF65-F5344CB8AC3E}">
        <p14:creationId xmlns:p14="http://schemas.microsoft.com/office/powerpoint/2010/main" val="1672724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fld id="{3DC2430E-287E-4F26-9C98-ECA0D8926EF2}" type="slidenum">
              <a:rPr lang="de-DE" altLang="de-DE" sz="800" smtClean="0"/>
              <a:t>3</a:t>
            </a:fld>
            <a:endParaRPr lang="de-DE" altLang="de-DE" sz="800"/>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xfrm>
            <a:off x="680939" y="3398838"/>
            <a:ext cx="8580292" cy="2891841"/>
          </a:xfrm>
          <a:noFill/>
        </p:spPr>
        <p:txBody>
          <a:bodyPr/>
          <a:lstStyle/>
          <a:p>
            <a:pPr marL="266700" indent="-266700">
              <a:lnSpc>
                <a:spcPct val="90000"/>
              </a:lnSpc>
            </a:pPr>
            <a:r>
              <a:rPr lang="en-GB" altLang="en-US" sz="1200"/>
              <a:t>Wszystko zaczyna się od naszego mózgu.</a:t>
            </a:r>
          </a:p>
          <a:p>
            <a:pPr marL="266700" indent="-266700">
              <a:lnSpc>
                <a:spcPct val="90000"/>
              </a:lnSpc>
            </a:pPr>
            <a:endParaRPr lang="en-GB" altLang="en-US" sz="1200"/>
          </a:p>
          <a:p>
            <a:pPr marL="266700" indent="-266700">
              <a:lnSpc>
                <a:spcPct val="90000"/>
              </a:lnSpc>
            </a:pPr>
            <a:r>
              <a:rPr lang="en-GB" altLang="en-US" sz="1200"/>
              <a:t>Skład mózgu jest produktem milionów lat ciągłej ewolucji. W swojej obecnej formie powstał w świecie epoki kamienia łupanego z jego potrzebą polowania i życia w łatwym do opanowania klanie. W oparciu o potrzeby tamtych czasów jego podstawowa struktura nie może być idealna dla współczesnego wieku z jego złożonością. </a:t>
            </a:r>
            <a:endParaRPr lang="en-US" altLang="en-US" sz="1200"/>
          </a:p>
          <a:p>
            <a:pPr marL="266700" indent="-266700">
              <a:lnSpc>
                <a:spcPct val="90000"/>
              </a:lnSpc>
            </a:pPr>
            <a:r>
              <a:rPr lang="en-US" altLang="en-US" sz="1200"/>
              <a:t>Badania mózgowe wynikają zasadniczo z dwóch ośrodków w mózgu, które rozwinęły się w różny sposób i do pewnego stopnia oddziałują na siebie w bardzo różny sposób i które są ważne dla finansów behawioralnych:</a:t>
            </a:r>
            <a:endParaRPr lang="de-DE" altLang="en-US" sz="1200"/>
          </a:p>
          <a:p>
            <a:pPr marL="266700" indent="-266700">
              <a:lnSpc>
                <a:spcPct val="90000"/>
              </a:lnSpc>
            </a:pPr>
            <a:r>
              <a:rPr lang="en-US" altLang="en-US" sz="1200"/>
              <a:t>neo-kora mózgowa, w której zakotwiczona jest logika, </a:t>
            </a:r>
            <a:r>
              <a:rPr lang="en-GB" altLang="en-US" sz="1200"/>
              <a:t>układ limbiczny, odpowiedzialny za emocje.</a:t>
            </a:r>
            <a:endParaRPr lang="de-DE" altLang="en-US" sz="1200"/>
          </a:p>
          <a:p>
            <a:pPr marL="266700" indent="-266700">
              <a:lnSpc>
                <a:spcPct val="90000"/>
              </a:lnSpc>
            </a:pPr>
            <a:r>
              <a:rPr lang="en-GB" altLang="en-US" sz="1200"/>
              <a:t>Przednia część kory mózgowej (kora przedczołowa) jest odpowiedzialna za uczenie się, logiczne myślenie, planowanie, kalkulowanie i podejmowanie strategicznych decyzji. </a:t>
            </a:r>
          </a:p>
          <a:p>
            <a:pPr marL="266700" indent="-266700">
              <a:lnSpc>
                <a:spcPct val="90000"/>
              </a:lnSpc>
            </a:pPr>
            <a:r>
              <a:rPr lang="en-GB" altLang="en-US" sz="1200"/>
              <a:t>Układ limbiczny jest odpowiedzialny za bardziej prymitywne motywacje i emocje, takie jak strach i podniecenie. </a:t>
            </a:r>
          </a:p>
          <a:p>
            <a:pPr marL="266700" indent="-266700">
              <a:lnSpc>
                <a:spcPct val="90000"/>
              </a:lnSpc>
            </a:pPr>
            <a:r>
              <a:rPr lang="en-GB" altLang="en-US" sz="1200"/>
              <a:t>Emocjonalny układ limbiczny jest starszą częścią mózgu. Potrzebowaliśmy emocji do przetrwania, zanim potrzebowaliśmy logiki. Działa bardzo szybko i, podobnie jak obwody komputerowe, równolegle. </a:t>
            </a:r>
          </a:p>
          <a:p>
            <a:pPr marL="266700" indent="-266700">
              <a:lnSpc>
                <a:spcPct val="90000"/>
              </a:lnSpc>
            </a:pPr>
            <a:r>
              <a:rPr lang="en-GB" altLang="en-US" sz="1200"/>
              <a:t>Kora mózgowa jest odpowiedzialna za logikę. Działa wolniej i głównie szeregowo, innymi słowy rozwiązuje zadania kolejno, a nie jednocześnie. </a:t>
            </a:r>
          </a:p>
          <a:p>
            <a:pPr marL="266700" indent="-266700">
              <a:lnSpc>
                <a:spcPct val="90000"/>
              </a:lnSpc>
            </a:pPr>
            <a:r>
              <a:rPr lang="en-GB" altLang="en-US" sz="1200"/>
              <a:t>Obie połówki mózgu, równie ważne dla podejmowania decyzji, działają bardzo różnie, ale funkcjonują razem. Połączone połówki mózgu tworzą dwa systemy za pomocą obwodów neuronowych, przez które kontrolowane są oba wzorce zachowań zorientowane na cel.</a:t>
            </a:r>
            <a:endParaRPr lang="de-DE" altLang="en-US" sz="900"/>
          </a:p>
          <a:p>
            <a:pPr marL="266700" indent="-266700">
              <a:lnSpc>
                <a:spcPct val="90000"/>
              </a:lnSpc>
            </a:pPr>
            <a:endParaRPr lang="de-DE" altLang="en-US" sz="9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fld id="{BC285B88-40F3-42F2-BCCF-4BD0E23BBE48}" type="slidenum">
              <a:rPr lang="de-DE" altLang="de-DE" sz="800" smtClean="0"/>
              <a:pPr>
                <a:spcBef>
                  <a:spcPct val="0"/>
                </a:spcBef>
              </a:pPr>
              <a:t>4</a:t>
            </a:fld>
            <a:endParaRPr lang="de-DE" altLang="de-DE" sz="800"/>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xfrm>
            <a:off x="680939" y="3398838"/>
            <a:ext cx="8580292" cy="2891841"/>
          </a:xfrm>
          <a:noFill/>
        </p:spPr>
        <p:txBody>
          <a:bodyPr/>
          <a:lstStyle/>
          <a:p>
            <a:r>
              <a:rPr lang="en-US" altLang="en-US"/>
              <a:t>If only we were always rational, we would make the best decisions and optimize our financial investment free from emotions. We would then be what economic textbooks imply: A homo œconomicus. </a:t>
            </a:r>
          </a:p>
          <a:p>
            <a:r>
              <a:rPr lang="en-US" altLang="en-US"/>
              <a:t>There is indeed an economist in every one of us, because we constantly make economic decisions that promise us the best advantage (for example: get up in the mornings and earn money instead of staying in bed), but we are not computers that can process all of the information, form an emotion-free utility function and finally make the optimum decision.</a:t>
            </a:r>
          </a:p>
          <a:p>
            <a:r>
              <a:rPr lang="en-US" altLang="en-US"/>
              <a:t>We carry our history of development around with us, which was helpful to us out in the wild and on the hunt, but which is in modern society not always beneficial. We combine logical thinking with resulting behavioral patterns from the Stone Age that enabled the survival our ancestors at that time. We are, as James Montier disparagingly expressed, “Part Man, Part Monkey”.</a:t>
            </a:r>
          </a:p>
          <a:p>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0A5E8B30-9BFF-4AE0-AEB9-17B135E69D4B}" type="slidenum">
              <a:rPr lang="de-DE" altLang="de-DE" sz="800" smtClean="0"/>
              <a:t>5</a:t>
            </a:fld>
            <a:endParaRPr lang="de-DE" altLang="de-DE" sz="800"/>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xfrm>
            <a:off x="680940" y="3399926"/>
            <a:ext cx="8582615" cy="288966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en-US"/>
              <a:t>Zastanawiasz się, gdzie jest Brücke? =&gt; Aktives Management</a:t>
            </a:r>
          </a:p>
          <a:p>
            <a:r>
              <a:rPr lang="de-DE" altLang="en-US"/>
              <a:t>Ansammlung von Ineffizienzen kann nicht effiziente Märkte ergeben!</a:t>
            </a:r>
          </a:p>
          <a:p>
            <a:endParaRPr lang="de-DE" altLang="en-US"/>
          </a:p>
          <a:p>
            <a:r>
              <a:rPr lang="de-DE" altLang="en-US"/>
              <a:t>Zapytaj swoich klientów:</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Folienbildplatzhalter 1"/>
          <p:cNvSpPr>
            <a:spLocks noGrp="1" noRot="1" noChangeAspect="1" noTextEdit="1"/>
          </p:cNvSpPr>
          <p:nvPr>
            <p:ph type="sldImg"/>
          </p:nvPr>
        </p:nvSpPr>
        <p:spPr>
          <a:ln/>
        </p:spPr>
      </p:sp>
      <p:sp>
        <p:nvSpPr>
          <p:cNvPr id="82947"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82948"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E388DA6C-0A7B-4C23-B08E-B876DE07DC9D}" type="slidenum">
              <a:rPr lang="de-DE" altLang="de-DE" sz="800" smtClean="0"/>
              <a:pPr>
                <a:spcBef>
                  <a:spcPct val="0"/>
                </a:spcBef>
              </a:pPr>
              <a:t>6</a:t>
            </a:fld>
            <a:endParaRPr lang="de-DE" altLang="de-DE" sz="8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Folienbildplatzhalter 1"/>
          <p:cNvSpPr>
            <a:spLocks noGrp="1" noRot="1" noChangeAspect="1" noTextEdit="1"/>
          </p:cNvSpPr>
          <p:nvPr>
            <p:ph type="sldImg"/>
          </p:nvPr>
        </p:nvSpPr>
        <p:spPr>
          <a:ln/>
        </p:spPr>
      </p:sp>
      <p:sp>
        <p:nvSpPr>
          <p:cNvPr id="839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83972"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9EA3EEE4-E443-4A93-8F2B-98AECA06C6D4}" type="slidenum">
              <a:rPr lang="de-DE" altLang="de-DE" sz="800" smtClean="0"/>
              <a:pPr>
                <a:spcBef>
                  <a:spcPct val="0"/>
                </a:spcBef>
              </a:pPr>
              <a:t>7</a:t>
            </a:fld>
            <a:endParaRPr lang="de-DE" altLang="de-DE" sz="8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Folienbildplatzhalter 1"/>
          <p:cNvSpPr>
            <a:spLocks noGrp="1" noRot="1" noChangeAspect="1" noTextEdit="1"/>
          </p:cNvSpPr>
          <p:nvPr>
            <p:ph type="sldImg"/>
          </p:nvPr>
        </p:nvSpPr>
        <p:spPr>
          <a:ln/>
        </p:spPr>
      </p:sp>
      <p:sp>
        <p:nvSpPr>
          <p:cNvPr id="84995"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84996"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sz="1400">
                <a:solidFill>
                  <a:schemeClr val="tx1"/>
                </a:solidFill>
                <a:latin typeface="Arial" charset="0"/>
              </a:defRPr>
            </a:lvl1pPr>
            <a:lvl2pPr marL="741363" indent="-284163" defTabSz="906463" eaLnBrk="0" hangingPunct="0">
              <a:spcBef>
                <a:spcPct val="30000"/>
              </a:spcBef>
              <a:defRPr sz="1400">
                <a:solidFill>
                  <a:schemeClr val="tx1"/>
                </a:solidFill>
                <a:latin typeface="Arial" charset="0"/>
              </a:defRPr>
            </a:lvl2pPr>
            <a:lvl3pPr marL="1139825" indent="-227013" defTabSz="906463" eaLnBrk="0" hangingPunct="0">
              <a:spcBef>
                <a:spcPct val="30000"/>
              </a:spcBef>
              <a:defRPr sz="1400">
                <a:solidFill>
                  <a:schemeClr val="tx1"/>
                </a:solidFill>
                <a:latin typeface="Arial" charset="0"/>
              </a:defRPr>
            </a:lvl3pPr>
            <a:lvl4pPr marL="1597025" indent="-227013" defTabSz="906463" eaLnBrk="0" hangingPunct="0">
              <a:spcBef>
                <a:spcPct val="30000"/>
              </a:spcBef>
              <a:defRPr sz="1400">
                <a:solidFill>
                  <a:schemeClr val="tx1"/>
                </a:solidFill>
                <a:latin typeface="Arial" charset="0"/>
              </a:defRPr>
            </a:lvl4pPr>
            <a:lvl5pPr marL="2054225" indent="-227013" defTabSz="906463" eaLnBrk="0" hangingPunct="0">
              <a:spcBef>
                <a:spcPct val="30000"/>
              </a:spcBef>
              <a:defRPr sz="1400">
                <a:solidFill>
                  <a:schemeClr val="tx1"/>
                </a:solidFill>
                <a:latin typeface="Arial" charset="0"/>
              </a:defRPr>
            </a:lvl5pPr>
            <a:lvl6pPr marL="2511425" indent="-227013" defTabSz="906463" eaLnBrk="0" fontAlgn="base" hangingPunct="0">
              <a:spcBef>
                <a:spcPct val="30000"/>
              </a:spcBef>
              <a:spcAft>
                <a:spcPct val="0"/>
              </a:spcAft>
              <a:defRPr sz="1400">
                <a:solidFill>
                  <a:schemeClr val="tx1"/>
                </a:solidFill>
                <a:latin typeface="Arial" charset="0"/>
              </a:defRPr>
            </a:lvl6pPr>
            <a:lvl7pPr marL="2968625" indent="-227013" defTabSz="906463" eaLnBrk="0" fontAlgn="base" hangingPunct="0">
              <a:spcBef>
                <a:spcPct val="30000"/>
              </a:spcBef>
              <a:spcAft>
                <a:spcPct val="0"/>
              </a:spcAft>
              <a:defRPr sz="1400">
                <a:solidFill>
                  <a:schemeClr val="tx1"/>
                </a:solidFill>
                <a:latin typeface="Arial" charset="0"/>
              </a:defRPr>
            </a:lvl7pPr>
            <a:lvl8pPr marL="3425825" indent="-227013" defTabSz="906463" eaLnBrk="0" fontAlgn="base" hangingPunct="0">
              <a:spcBef>
                <a:spcPct val="30000"/>
              </a:spcBef>
              <a:spcAft>
                <a:spcPct val="0"/>
              </a:spcAft>
              <a:defRPr sz="1400">
                <a:solidFill>
                  <a:schemeClr val="tx1"/>
                </a:solidFill>
                <a:latin typeface="Arial" charset="0"/>
              </a:defRPr>
            </a:lvl8pPr>
            <a:lvl9pPr marL="3883025" indent="-227013" defTabSz="906463" eaLnBrk="0" fontAlgn="base" hangingPunct="0">
              <a:spcBef>
                <a:spcPct val="30000"/>
              </a:spcBef>
              <a:spcAft>
                <a:spcPct val="0"/>
              </a:spcAft>
              <a:defRPr sz="1400">
                <a:solidFill>
                  <a:schemeClr val="tx1"/>
                </a:solidFill>
                <a:latin typeface="Arial" charset="0"/>
              </a:defRPr>
            </a:lvl9pPr>
          </a:lstStyle>
          <a:p>
            <a:pPr>
              <a:spcBef>
                <a:spcPct val="0"/>
              </a:spcBef>
            </a:pPr>
            <a:fld id="{C21ABBA9-B715-4055-B3FE-DCB375D96087}" type="slidenum">
              <a:rPr lang="de-DE" altLang="de-DE" sz="800" smtClean="0"/>
              <a:pPr>
                <a:spcBef>
                  <a:spcPct val="0"/>
                </a:spcBef>
              </a:pPr>
              <a:t>8</a:t>
            </a:fld>
            <a:endParaRPr lang="de-DE" altLang="de-DE" sz="8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lvl1pPr defTabSz="908050" eaLnBrk="0" hangingPunct="0">
              <a:spcBef>
                <a:spcPct val="30000"/>
              </a:spcBef>
              <a:defRPr sz="1400">
                <a:solidFill>
                  <a:schemeClr val="tx1"/>
                </a:solidFill>
                <a:latin typeface="Arial" charset="0"/>
              </a:defRPr>
            </a:lvl1pPr>
            <a:lvl2pPr marL="742950" indent="-285750" defTabSz="908050" eaLnBrk="0" hangingPunct="0">
              <a:spcBef>
                <a:spcPct val="30000"/>
              </a:spcBef>
              <a:defRPr sz="1400">
                <a:solidFill>
                  <a:schemeClr val="tx1"/>
                </a:solidFill>
                <a:latin typeface="Arial" charset="0"/>
              </a:defRPr>
            </a:lvl2pPr>
            <a:lvl3pPr marL="1143000" indent="-228600" defTabSz="908050" eaLnBrk="0" hangingPunct="0">
              <a:spcBef>
                <a:spcPct val="30000"/>
              </a:spcBef>
              <a:defRPr sz="1400">
                <a:solidFill>
                  <a:schemeClr val="tx1"/>
                </a:solidFill>
                <a:latin typeface="Arial" charset="0"/>
              </a:defRPr>
            </a:lvl3pPr>
            <a:lvl4pPr marL="1600200" indent="-228600" defTabSz="908050" eaLnBrk="0" hangingPunct="0">
              <a:spcBef>
                <a:spcPct val="30000"/>
              </a:spcBef>
              <a:defRPr sz="1400">
                <a:solidFill>
                  <a:schemeClr val="tx1"/>
                </a:solidFill>
                <a:latin typeface="Arial" charset="0"/>
              </a:defRPr>
            </a:lvl4pPr>
            <a:lvl5pPr marL="2057400" indent="-228600" defTabSz="908050" eaLnBrk="0" hangingPunct="0">
              <a:spcBef>
                <a:spcPct val="30000"/>
              </a:spcBef>
              <a:defRPr sz="1400">
                <a:solidFill>
                  <a:schemeClr val="tx1"/>
                </a:solidFill>
                <a:latin typeface="Arial" charset="0"/>
              </a:defRPr>
            </a:lvl5pPr>
            <a:lvl6pPr marL="2514600" indent="-228600" defTabSz="908050" eaLnBrk="0" fontAlgn="base" hangingPunct="0">
              <a:spcBef>
                <a:spcPct val="30000"/>
              </a:spcBef>
              <a:spcAft>
                <a:spcPct val="0"/>
              </a:spcAft>
              <a:defRPr sz="1400">
                <a:solidFill>
                  <a:schemeClr val="tx1"/>
                </a:solidFill>
                <a:latin typeface="Arial" charset="0"/>
              </a:defRPr>
            </a:lvl6pPr>
            <a:lvl7pPr marL="2971800" indent="-228600" defTabSz="908050" eaLnBrk="0" fontAlgn="base" hangingPunct="0">
              <a:spcBef>
                <a:spcPct val="30000"/>
              </a:spcBef>
              <a:spcAft>
                <a:spcPct val="0"/>
              </a:spcAft>
              <a:defRPr sz="1400">
                <a:solidFill>
                  <a:schemeClr val="tx1"/>
                </a:solidFill>
                <a:latin typeface="Arial" charset="0"/>
              </a:defRPr>
            </a:lvl7pPr>
            <a:lvl8pPr marL="3429000" indent="-228600" defTabSz="908050" eaLnBrk="0" fontAlgn="base" hangingPunct="0">
              <a:spcBef>
                <a:spcPct val="30000"/>
              </a:spcBef>
              <a:spcAft>
                <a:spcPct val="0"/>
              </a:spcAft>
              <a:defRPr sz="1400">
                <a:solidFill>
                  <a:schemeClr val="tx1"/>
                </a:solidFill>
                <a:latin typeface="Arial" charset="0"/>
              </a:defRPr>
            </a:lvl8pPr>
            <a:lvl9pPr marL="3886200" indent="-228600" defTabSz="908050" eaLnBrk="0" fontAlgn="base" hangingPunct="0">
              <a:spcBef>
                <a:spcPct val="30000"/>
              </a:spcBef>
              <a:spcAft>
                <a:spcPct val="0"/>
              </a:spcAft>
              <a:defRPr sz="1400">
                <a:solidFill>
                  <a:schemeClr val="tx1"/>
                </a:solidFill>
                <a:latin typeface="Arial" charset="0"/>
              </a:defRPr>
            </a:lvl9pPr>
          </a:lstStyle>
          <a:p>
            <a:pPr>
              <a:spcBef>
                <a:spcPct val="0"/>
              </a:spcBef>
            </a:pPr>
            <a:fld id="{18956A72-AC38-4B63-AEC5-CD43D6345039}" type="slidenum">
              <a:rPr lang="de-DE" altLang="de-DE" sz="800" smtClean="0"/>
              <a:t>9</a:t>
            </a:fld>
            <a:endParaRPr lang="de-DE" altLang="de-DE" sz="800"/>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xfrm>
            <a:off x="680939" y="3398838"/>
            <a:ext cx="8580292" cy="2891841"/>
          </a:xfrm>
          <a:noFill/>
        </p:spPr>
        <p:txBody>
          <a:bodyPr/>
          <a:lstStyle/>
          <a:p>
            <a:r>
              <a:rPr lang="en-US" altLang="en-US"/>
              <a:t>Struktura naszego mózgu, nasze procesy myślowe, kontrola poprzez neuroprzekaźniki mają jednak natychmiastowy wpływ na to, jak inwestujemy nasze pieniądze i jaki zysk (lub stratę) możemy osiągnąć. Pogoń za nagrodą i zapobieganie stratom zastępują wszystkie nasze wzorce zachowań</a:t>
            </a:r>
          </a:p>
          <a:p>
            <a:r>
              <a:rPr lang="en-US" altLang="en-US"/>
              <a:t>Finanse behawioralne wyprowadziły typowe wzorce zachowań z tej świadomości. Ktoś, kto zna te wzorce, jest o krok dalej nie tylko dzięki samoświadomości, ale jest już na drodze do przechytrzenia samego siebie.</a:t>
            </a:r>
          </a:p>
          <a:p>
            <a:r>
              <a:rPr lang="en-US" altLang="en-US"/>
              <a:t>Hirschleifer wyróżnia tutaj cztery nadrzędne wzorce/tendencje zachowań inwestorów, które są dalej podzielone na wynikające z nich </a:t>
            </a:r>
            <a:r>
              <a:rPr lang="de-DE" altLang="en-US"/>
              <a:t>wzorce</a:t>
            </a:r>
            <a:r>
              <a:rPr lang="en-US" altLang="en-US"/>
              <a:t> zachowań </a:t>
            </a:r>
          </a:p>
          <a:p>
            <a:endParaRPr lang="en-US" altLang="en-US"/>
          </a:p>
          <a:p>
            <a:r>
              <a:rPr lang="en-US" altLang="en-US"/>
              <a:t>Struktura naszego mózgu, nasze procesy myślowe, kontrola poprzez neuroprzekaźniki mają jednak natychmiastowy wpływ na to, jak inwestujemy nasze pieniądze i jaki zysk (lub stratę) możemy osiągnąć. Pogoń za nagrodą i zapobieganie stratom zastępują wszystkie nasze wzorce zachowań</a:t>
            </a:r>
          </a:p>
          <a:p>
            <a:r>
              <a:rPr lang="en-US" altLang="en-US"/>
              <a:t>Finanse behawioralne wyprowadziły typowe wzorce zachowań z tej świadomości. Ktoś, kto zna te wzorce, jest o krok dalej nie tylko dzięki samoświadomości, ale jest już na drodze do przechytrzenia samego siebie.</a:t>
            </a:r>
          </a:p>
          <a:p>
            <a:r>
              <a:rPr lang="en-US" altLang="en-US"/>
              <a:t>Hirschleifer wyróżnia tutaj cztery nadrzędne wzorce zachowań inwestorów, które są dalej podzielone na wynikające z nich wzorce zachowań:</a:t>
            </a:r>
            <a:endParaRPr lang="de-DE" altLang="en-US"/>
          </a:p>
          <a:p>
            <a:endParaRPr lang="en-GB" altLang="en-US" b="1" i="1"/>
          </a:p>
          <a:p>
            <a:endParaRPr lang="en-GB" altLang="en-US" b="1" i="1"/>
          </a:p>
          <a:p>
            <a:r>
              <a:rPr lang="en-GB" altLang="en-US" b="1" i="1"/>
              <a:t>Przecenianie własnych umiejętności (pycha)</a:t>
            </a:r>
            <a:endParaRPr lang="de-DE" altLang="en-US" b="1"/>
          </a:p>
          <a:p>
            <a:r>
              <a:rPr lang="en-GB" altLang="en-US"/>
              <a:t>"Człowiek staje się mądry tylko dzięki błędom - jeden błąd to za mało". Głęboka mądrość w tym zdawkowym powiedzeniu tkwi w jego założeniu: uczymy się na błędach. Ale uczenie się na błędach obejmuje również bezstronność w rozpoznawaniu błędów, przyznawanie się do nich, aby nie popełniać ich ponownie. Często jednak przecenianie własnych umiejętności stoi na przeszkodzie temu mechanizmowi uczenia się: to, co zadziałało dobrze, jest naszym sukcesem. To, co zawiodło, to po prostu pech lub zła rada. Pycha przeszkadza również w podejmowaniu decyzji inwestycyjnych. W tym procesie ten mechanizm myślenia chętnie nabiera rozpędu po początkowych wynikach, które następnie przypisuje się własnej sprawności. Konsekwencje mogą być katastrofalne. </a:t>
            </a:r>
          </a:p>
          <a:p>
            <a:endParaRPr lang="en-GB" altLang="en-US"/>
          </a:p>
          <a:p>
            <a:r>
              <a:rPr lang="en-GB" altLang="en-US"/>
              <a:t>Najczęstszymi błędami wynikającymi z pychy są nadmierny optymizm i zbytnia pewność siebie. Obu tendencjom towarzyszy iluzja kontroli i iluzja wiedzy, co oznacza, że zakłada się, że jest się w stanie kontrolować rozwój sytuacji, którego nie można kontrolować, lub że posiada się wystarczającą wiedzę do podejmowania decyzji - co jednak nie ma miejsca. W dłuższej perspektywie może to nawet obejmować przypadkowe zmiany, których nie można kontrolować ani przewidzieć, ale których wynik inwestor przypisuje własnej wiedzy. Jest to jednak katastrofalne w skutkach: wraz ze wzrostem iluzji kontroli spada gotowość do przyswajania nowych informacji i oceny własnej opinii. Po początkowych sukcesach inwestycyjnych szybko rozwija się spirala według schematu "zachwyt - chciwość - euforia - załamanie". </a:t>
            </a:r>
          </a:p>
          <a:p>
            <a:endParaRPr lang="en-GB" altLang="en-US"/>
          </a:p>
          <a:p>
            <a:r>
              <a:rPr lang="en-US" altLang="en-US"/>
              <a:t>Zapytaj swoich kolegów, kto w tej grupie zalicza się do kierowców poniżej średniej, kto do przeciętnych, a kto do ponadprzeciętnych. Ponieważ każdy orientuje się na zakładaną średnią, wynik musiałby być rozkładem normalnym wokół wartości średniej. Przypuszczalnie jednak ponad 50% twoich kolegów zalicza się do ponadprzeciętnych operatorów - co z definicji nie może być prawdą.</a:t>
            </a:r>
          </a:p>
          <a:p>
            <a:r>
              <a:rPr lang="en-US" altLang="en-US"/>
              <a:t>Można również zapytać klasy szkolne lub uczestników kursów w placówkach edukacyjnych, którzy oczekują, że zostaną zaliczeni jako ponadprzeciętni. Również w tym przypadku można oczekiwać, że ponad połowa zaliczy się do tych, którzy zdadzą jako ponadprzeciętni. </a:t>
            </a:r>
          </a:p>
          <a:p>
            <a:endParaRPr lang="en-US" altLang="en-US"/>
          </a:p>
          <a:p>
            <a:r>
              <a:rPr lang="en-US" altLang="en-US"/>
              <a:t>Nadmierna pewność siebie, związana z iluzją kontroli i wiedzy, może również wystąpić w inwestycjach kapitałowych. Każdy, kto spojrzy wstecz na serię udanych inwestycji, będzie skłonny wierzyć, że w przyszłości będzie w stanie dokładnie przewidywać rynki. Właśnie w fazie hossy na rynkach kapitałowych istnieje bardzo realne niebezpieczeństwo przypisania sobie ponadprzeciętnych umiejętności w zakresie inwestycji finansowych. Ale co jest ponadprzeciętne, gdy wszystko idzie dobrze - i co się dzieje, gdy następuje załamanie na rynku byka?</a:t>
            </a:r>
          </a:p>
          <a:p>
            <a:r>
              <a:rPr lang="en-US" altLang="en-US"/>
              <a:t>Własne zdolności zapamiętywania również mogą mydlić oczy inwestorom. Z reguły straty są chętnie zapominane, podczas gdy zyski pozostają w pamięci. Jest to również konsekwencja przeceniania własnych możliwości.</a:t>
            </a:r>
            <a:endParaRPr lang="en-GB" altLang="en-US"/>
          </a:p>
          <a:p>
            <a:r>
              <a:rPr lang="en-GB" altLang="en-US"/>
              <a:t>Przecenianie własnych możliwości może łatwo prowadzić do konserwatyzmu: zamiast ponownie przemyśleć stare prognozy, są one utrzymywane i dostosowywane do rzeczywistości, tylko z opóźnieniem. </a:t>
            </a:r>
            <a:endParaRPr lang="en-US" altLang="en-US"/>
          </a:p>
          <a:p>
            <a:r>
              <a:rPr lang="en-US" altLang="en-US"/>
              <a:t>Tęsknota za (samo)afirmacją jest również niebezpieczna. W tym przypadku brane są pod uwagę tylko te informacje, które odpowiadają istniejącej ocenie. Informacje sprzeczne są tłumione lub uznawane za mniej ważne. </a:t>
            </a:r>
          </a:p>
          <a:p>
            <a:r>
              <a:rPr lang="en-US" altLang="en-US"/>
              <a:t>Dysonanse poznawcze, które mogą wystąpić, gdy pojawią się nowe, niewygodne prawdy, które powinny mieć pewien wpływ na proces podejmowania decyzji inwestycyjnych, również często prowadzą do ich tłumienia. Sedno jest następujące: Nie muszę brać pod uwagę tego, co mi nie odpowiada.</a:t>
            </a:r>
            <a:endParaRPr lang="en-US" altLang="en-US" b="1"/>
          </a:p>
          <a:p>
            <a:r>
              <a:rPr lang="en-US" altLang="en-US" b="1"/>
              <a:t>"Hindsight Bias" </a:t>
            </a:r>
            <a:endParaRPr lang="de-DE" altLang="en-US" b="1"/>
          </a:p>
          <a:p>
            <a:r>
              <a:rPr lang="en-US" altLang="en-US"/>
              <a:t>Z perspektywy czasu wszystko wydaje się być "krystalicznie czyste": Rozwój wskaźników rynkowych i cen akcji - każdy, kto zna wykresy, myśli: "Jak mogło być inaczej? Wiedziałem o tym." Nawet krach giełdowy, który rozpoczął się w 2000 roku, wydaje się dziś przewidywalny i praktycznie logiczny. Ale kto mógł go dokładnie przewidzieć przed pęknięciem bańki? Niebezpieczeństwo tej tendencji polega przede wszystkim na przecenianiu własnych możliwości: Ktoś, kto wierzy, że mógł wiele przewidzieć w przeszłości, będzie również błędnie zakładał to w przyszłości.</a:t>
            </a:r>
            <a:endParaRPr lang="en-GB" altLang="en-US" b="1" i="1"/>
          </a:p>
          <a:p>
            <a:r>
              <a:rPr lang="en-GB" altLang="en-US" b="1" i="1"/>
              <a:t>Heurystyka Uproszczenie/błędy przetwarzania informacji </a:t>
            </a:r>
            <a:endParaRPr lang="de-DE" altLang="en-US" b="1"/>
          </a:p>
          <a:p>
            <a:r>
              <a:rPr lang="en-US" altLang="en-US"/>
              <a:t>Heurystyczne uproszczenia to praktyczne zasady poruszania się w gąszczu informacji. Często są one w pełni znaczącymi skrótami na drodze do podejmowania decyzji. </a:t>
            </a:r>
            <a:r>
              <a:rPr lang="en-GB" altLang="en-US"/>
              <a:t>Mogą jednak również prowadzić do nieprawidłowych wyników. Błędy te zostały omówione tutaj. </a:t>
            </a:r>
            <a:endParaRPr lang="en-GB" altLang="en-US" b="1"/>
          </a:p>
          <a:p>
            <a:r>
              <a:rPr lang="en-GB" altLang="en-US" b="1"/>
              <a:t>Reprezentatywność </a:t>
            </a:r>
            <a:endParaRPr lang="de-DE" altLang="en-US" b="1"/>
          </a:p>
          <a:p>
            <a:r>
              <a:rPr lang="en-GB" altLang="en-US"/>
              <a:t>Reprezentatywność ma związek ze znaczeniem losowych próbek w odniesieniu do całości, z której są pobierane. </a:t>
            </a:r>
            <a:r>
              <a:rPr lang="en-US" altLang="en-US"/>
              <a:t> Często znaczenie to jest przeceniane, a prawa prawdopodobieństwa stają się przez to niesprawne.</a:t>
            </a:r>
          </a:p>
          <a:p>
            <a:r>
              <a:rPr lang="en-US" altLang="en-US"/>
              <a:t>James Montier zilustrował to przykładem </a:t>
            </a:r>
            <a:r>
              <a:rPr lang="en-GB" altLang="en-US">
                <a:hlinkClick r:id="" action="ppaction://noaction"/>
              </a:rPr>
              <a:t>[1] </a:t>
            </a:r>
            <a:r>
              <a:rPr lang="en-US" altLang="en-US"/>
              <a:t>(nieznacznie dostosowanym): </a:t>
            </a:r>
          </a:p>
          <a:p>
            <a:r>
              <a:rPr lang="en-US" altLang="en-US"/>
              <a:t>Wyobraźmy sobie, że kobieta zdaje egzamin z filozofii i ubiega się o pracę. Podczas studiów jest wielką orędowniczką ochrony zwierząt.</a:t>
            </a:r>
            <a:endParaRPr lang="en-GB" altLang="en-US"/>
          </a:p>
          <a:p>
            <a:r>
              <a:rPr lang="en-GB" altLang="en-US"/>
              <a:t>Co jest bardziej prawdopodobne?</a:t>
            </a:r>
          </a:p>
          <a:p>
            <a:endParaRPr lang="en-GB" altLang="en-US"/>
          </a:p>
          <a:p>
            <a:r>
              <a:rPr lang="en-GB" altLang="en-US"/>
              <a:t>Że ona</a:t>
            </a:r>
          </a:p>
          <a:p>
            <a:r>
              <a:rPr lang="en-GB" altLang="en-US"/>
              <a:t>a) zostaje urzędnikiem bankowym</a:t>
            </a:r>
          </a:p>
          <a:p>
            <a:r>
              <a:rPr lang="en-GB" altLang="en-US"/>
              <a:t>lub </a:t>
            </a:r>
          </a:p>
          <a:p>
            <a:r>
              <a:rPr lang="en-GB" altLang="en-US"/>
              <a:t>b) zostaje urzędnikiem bankowym i działaczem na rzecz praw zwierząt?</a:t>
            </a:r>
          </a:p>
          <a:p>
            <a:endParaRPr lang="en-US" altLang="en-US"/>
          </a:p>
          <a:p>
            <a:r>
              <a:rPr lang="en-US" altLang="en-US"/>
              <a:t>Odpowiedź "b" zostałaby normalnie wybrana. Niemniej jednak osąd ten jest sprzeczny z prawdopodobieństwem. W całej populacji urzędnicy bankowi i obrońcy praw zwierząt stanowią jedynie niewielką część. Dlatego połączenie obu tych cech, innymi słowy, utworzenie ich skrzyżowania, jest zdecydowanie bardziej nieprawdopodobne niż posiadanie tylko jednej z nich.</a:t>
            </a:r>
          </a:p>
          <a:p>
            <a:r>
              <a:rPr lang="en-US" altLang="en-US"/>
              <a:t>W przypadku decyzji inwestycyjnych ważna jest również fałszywa ocena reprezentatywności. Firmy odnoszące sukcesy lubią zakładać, że będą takie w przyszłości. Firmy odnoszące sukcesy nie muszą jednak być reprezentatywne dla przyszłych wysokich zysków. Według Montiera często obserwuje się powrót wzrostu zysków do średniej. Tak więc każdy, kto jest zaślepiony obecnymi wysokimi zyskami, szybko podejmie nieostrożną decyzję inwestycyjną. </a:t>
            </a:r>
          </a:p>
          <a:p>
            <a:endParaRPr lang="en-US" altLang="en-US"/>
          </a:p>
          <a:p>
            <a:r>
              <a:rPr lang="en-US" altLang="en-US" b="1"/>
              <a:t>"Framing" </a:t>
            </a:r>
            <a:endParaRPr lang="de-DE" altLang="en-US" b="1"/>
          </a:p>
          <a:p>
            <a:r>
              <a:rPr lang="en-US" altLang="en-US"/>
              <a:t>Często inwestorzy pozwalają, aby ich wizja została ograniczona przez niewystarczające informacje. Okno, a raczej rama okienna, przez którą obserwują świat inwestycji, nie jest po prostu wystarczająco duża, aby móc przejrzeć wszystkie istotne informacje i jednocześnie zidentyfikować alternatywy inwestycyjne lub sprzeczne fakty. Często inwestycje są dokonywane na podstawie podsumowania, bez analizowania, jak długo to potrwa lub czy nie ma innych, lepszych perspektyw.</a:t>
            </a:r>
          </a:p>
          <a:p>
            <a:r>
              <a:rPr lang="en-US" altLang="en-US"/>
              <a:t>Poznawanie informacji i ich akceptacja różnią się w zależności od tego, czy informacja jest zgodna czy niezgodna z własnym nastawieniem. W tym przypadku zasada jest następująca: im bardziej informacja jest zgodna z osobistymi poglądami, tym bardziej prawdopodobne jest, że zostanie zaakceptowana.</a:t>
            </a:r>
          </a:p>
          <a:p>
            <a:r>
              <a:rPr lang="en-US" altLang="en-US"/>
              <a:t>Dobrym przykładem inwestycji, które wybierają tylko ugruntowane alternatywy, a nie wszystkie potencjalne alternatywy, jest zazwyczaj zakup nieruchomości na wynajem. Biorąc pod uwagę, że ulica naprzeciwko jest bardziej znana, kompleks apartamentów jest kupowany w celu wynajmu, zamiast szukać perspektyw w innych krajach lub nawet na innych kontynentach.</a:t>
            </a:r>
          </a:p>
          <a:p>
            <a:r>
              <a:rPr lang="en-GB" altLang="en-US"/>
              <a:t>Często obserwowany "Home Bias" to kolejny klasyczny przypadek framingu: Ponieważ akcje DAX-30 są znane większości inwestorów, ilość niemieckich akcji na rachunkach inwestorów jest wyraźnie wyższa niż ich udział w rzeczywistej globalnej kapitalizacji rynkowej. </a:t>
            </a:r>
          </a:p>
          <a:p>
            <a:r>
              <a:rPr lang="en-GB" altLang="en-US"/>
              <a:t>Konsekwencja: słaba dywersyfikacja i blokowanie lepszych alternatyw.</a:t>
            </a:r>
          </a:p>
          <a:p>
            <a:r>
              <a:rPr lang="en-GB" altLang="en-US"/>
              <a:t>Sam depozyt jest nie tylko źle zdywersyfikowany, zwroty z kapitału ludzkiego i finansowego są również skorelowane silniej niż to konieczne, ponieważ wynagrodzenie inwestora jest ściślej związane ze zwrotem z akcji krajowych niż ze zwrotem z akcji zagranicznych.</a:t>
            </a:r>
          </a:p>
          <a:p>
            <a:endParaRPr lang="en-GB" altLang="en-US"/>
          </a:p>
          <a:p>
            <a:r>
              <a:rPr lang="en-GB" altLang="en-US" b="1"/>
              <a:t>"Kotwiczenie" </a:t>
            </a:r>
            <a:endParaRPr lang="de-DE" altLang="en-US" b="1"/>
          </a:p>
          <a:p>
            <a:r>
              <a:rPr lang="en-GB" altLang="en-US"/>
              <a:t>Ludzie będą również skłonni łączyć swoje oceny z - zupełnie nieistotnymi - "kotwicami" w swojej pamięci.</a:t>
            </a:r>
          </a:p>
          <a:p>
            <a:r>
              <a:rPr lang="en-GB" altLang="en-US"/>
              <a:t> Tversky i Kahneman udowodnili to już w 1974 roku w swoim badaniu, które zyskało sławę. Zadawali oni swoim badanym pytania z zakresu wiedzy ogólnej, na przykład: "Ile państw członkowskich ONZ pochodzi z Afryki?" i pokazywali im wcześniej liczby wygenerowane za pomocą koła fortuny. Ale samo koło fortuny zostało zmanipulowane i dało wynik "10" lub "65". Wynik był jednogłośny: osoby, które widziały liczbę 10 przed badaniem, podały znacznie niższą liczbę niż osoby, które wcześniej widziały liczbę 65. Jednak odpowiedzi na te pytania nie miały absolutnie nic wspólnego z żadną z tych liczb.</a:t>
            </a:r>
          </a:p>
          <a:p>
            <a:r>
              <a:rPr lang="en-GB" altLang="en-US"/>
              <a:t>Cechy te wyjaśniają również, dlaczego prognozy są często podawane na podstawie ostatnich cen jako wartości odniesienia. Na przykład: bieżąca cena akcji jest kotwicą dla kształtowania oczekiwań. W rzeczywistości cena powinna być wielokrotnie obliczana na podstawie szacunków zysków, na przykład przy użyciu metody wyceny Dividend-Discount-Model. </a:t>
            </a:r>
          </a:p>
          <a:p>
            <a:endParaRPr lang="en-GB" altLang="en-US"/>
          </a:p>
          <a:p>
            <a:r>
              <a:rPr lang="en-GB" altLang="en-US" b="1"/>
              <a:t>"Stronniczość dostępności"</a:t>
            </a:r>
            <a:endParaRPr lang="de-DE" altLang="en-US" b="1"/>
          </a:p>
          <a:p>
            <a:endParaRPr lang="de-DE" altLang="en-US"/>
          </a:p>
          <a:p>
            <a:r>
              <a:rPr lang="en-GB" altLang="en-US"/>
              <a:t>Bądź szczery: ilu z twoich dobrych intencji z początku roku udało ci się dotrzymać - i jak długo?</a:t>
            </a:r>
            <a:endParaRPr lang="en-US" altLang="en-US"/>
          </a:p>
          <a:p>
            <a:r>
              <a:rPr lang="en-US" altLang="en-US"/>
              <a:t>Zazwyczaj szybko zawodzimy nasze dobre intencje, ponieważ realizacja oczekiwanych korzyści leży w przyszłości, a przyszłość jest niepewna, a także dlatego, że wolimy najszybszy, najpewniejszy zysk, bieżącą wygodę lub natychmiastowe korzyści.</a:t>
            </a:r>
          </a:p>
          <a:p>
            <a:r>
              <a:rPr lang="en-US" altLang="en-US"/>
              <a:t>Po co więc uprawiać jogging, rezygnować z deserów czy rzucać palenie teraz, skoro spodziewane owoce tych starań dla własnego zdrowia i dłuższego życia są w przyszłości? Przyjemność przyjdzie przed lepszym życiem jutro. Przypomina to myśliwego, który natychmiast zjada swoją ofiarę, ponieważ nie wie, czy będzie żył jutro, czy nie.</a:t>
            </a:r>
          </a:p>
          <a:p>
            <a:r>
              <a:rPr lang="en-US" altLang="en-US"/>
              <a:t>Ze względu na preferowanie korzyści w dniu dzisiejszym, korzyści oczekiwane jutro są zdyskontowane. To całkiem sprytne, ale najwyraźniej czynnik dyskontujący jest tak wysoki, że korzyści oczekiwane jutro nie mają już żadnego znaczenia.</a:t>
            </a:r>
          </a:p>
          <a:p>
            <a:r>
              <a:rPr lang="en-GB" altLang="en-US"/>
              <a:t>Katastrofa: Dlatego też zabezpieczenie przyszłości jest chętnie odkładane na jutro, mimo że efekt procentu składanego z wczesnego oszczędzania ma ogromny wpływ.  Poświęcenie dzisiaj jest odczuwane jako bardziej bolesne niż jutrzejsza emerytura bez zmartwień. Ktoś, kto oszczędza dziś, musi odłożyć znacznie mniej na jutro. </a:t>
            </a:r>
          </a:p>
          <a:p>
            <a:r>
              <a:rPr lang="en-GB" altLang="en-US"/>
              <a:t>FIFAM ("Research Institute for Asset Management") doszedł do wniosku, że zagrożenie ubóstwem w starszym wieku jest uważane za niewielkie zagrożenie.</a:t>
            </a:r>
            <a:r>
              <a:rPr lang="en-GB" altLang="en-US">
                <a:hlinkClick r:id="" action="ppaction://noaction"/>
              </a:rPr>
              <a:t>[1] </a:t>
            </a:r>
            <a:r>
              <a:rPr lang="en-GB" altLang="en-US"/>
              <a:t>Wielu uznało to ryzyko za możliwe do kontrolowania i nieszkodliwe w porównaniu z innymi rodzajami ryzyka. </a:t>
            </a:r>
            <a:endParaRPr lang="en-US" altLang="en-US"/>
          </a:p>
          <a:p>
            <a:r>
              <a:rPr lang="en-US" altLang="en-US"/>
              <a:t>Zbiegają się tu trzy bardzo niefortunne wzorce zachowań:</a:t>
            </a:r>
            <a:endParaRPr lang="de-DE" altLang="en-US"/>
          </a:p>
          <a:p>
            <a:r>
              <a:rPr lang="en-GB" altLang="en-US"/>
              <a:t>Iluzja kontroli</a:t>
            </a:r>
            <a:endParaRPr lang="de-DE" altLang="en-US"/>
          </a:p>
          <a:p>
            <a:r>
              <a:rPr lang="en-GB" altLang="en-US"/>
              <a:t>Tłumienie dysonansów poznawczych</a:t>
            </a:r>
            <a:endParaRPr lang="de-DE" altLang="en-US"/>
          </a:p>
          <a:p>
            <a:r>
              <a:rPr lang="en-GB" altLang="en-US"/>
              <a:t>Preferencje czasowe</a:t>
            </a:r>
            <a:endParaRPr lang="de-DE" altLang="en-US"/>
          </a:p>
          <a:p>
            <a:r>
              <a:rPr lang="en-GB" altLang="en-US"/>
              <a:t>Zamiast maksymalizować ekwiwalent pieniężny całego swojego dochodu z całego życia, tu i teraz jest przeceniane ze szkodą dla zabezpieczenia swojej przyszłości.</a:t>
            </a:r>
            <a:endParaRPr lang="de-DE" altLang="en-US"/>
          </a:p>
          <a:p>
            <a:br>
              <a:rPr lang="de-DE" altLang="en-US"/>
            </a:br>
            <a:r>
              <a:rPr lang="en-GB" altLang="en-US" b="1"/>
              <a:t>"Cue Competition"</a:t>
            </a:r>
            <a:endParaRPr lang="de-DE" altLang="en-US" b="1"/>
          </a:p>
          <a:p>
            <a:r>
              <a:rPr lang="en-GB" altLang="en-US"/>
              <a:t>Intensywność, z jaką przyswajamy informacje i prawdopodobieństwo, że je zapamiętamy wzrasta w zależności od intensywności kluczowego bodźca, który sprawia, że przyswajamy informacje.  </a:t>
            </a:r>
          </a:p>
          <a:p>
            <a:r>
              <a:rPr lang="en-GB" altLang="en-US"/>
              <a:t>Czy nadal pamiętasz, gdzie byłeś 9 listopada 1989 roku? Przypuszczalnie pamiętasz dokładnie, gdzie byłeś i co czułeś w dniu upadku muru.</a:t>
            </a:r>
          </a:p>
          <a:p>
            <a:r>
              <a:rPr lang="en-GB" altLang="en-US"/>
              <a:t>Ale czy pamiętasz, kiedy Indie zwróciły się w stronę globalnego rynku i gospodarki rynkowej? Było to w 1991 roku. </a:t>
            </a:r>
          </a:p>
          <a:p>
            <a:r>
              <a:rPr lang="en-GB" altLang="en-US"/>
              <a:t>Oba wydarzenia miały miejsce mniej więcej w tym samym czasie w przeszłości i miały ogromne znaczenie gospodarcze i polityczne. Wraz z przejściem Indii na gospodarkę rynkową na początku lat 90. globalizacja zyskała na intensywności. Ale w przypadku upadku muru możemy pamiętać znacznie wyraźniej, ponieważ kluczowy bodziec był znacznie większy.</a:t>
            </a:r>
          </a:p>
          <a:p>
            <a:r>
              <a:rPr lang="en-GB" altLang="en-US"/>
              <a:t>Według jakich kryteriów wybierasz papiery wartościowe, w które inwestujesz? Czy jest to rygorystyczny proces selekcji na samym początku, czy może natarczywy sposób, w jaki wiele z Twoich akcji pojawia się w mediach drukowanych? Warto wiedzieć, że rentowność akcji i doniesienia prasowe są ze sobą ściśle powiązane - negatywnie.  Gadarowski odkrył, że akcje, o których często wspominano w prasie w jednym roku, generowały zwroty poniżej średniej tylko w kolejnych dwóch latach. </a:t>
            </a:r>
          </a:p>
          <a:p>
            <a:endParaRPr lang="en-GB" altLang="en-US"/>
          </a:p>
          <a:p>
            <a:r>
              <a:rPr lang="en-GB" altLang="en-US" b="1"/>
              <a:t>"Awersja do strat" </a:t>
            </a:r>
            <a:endParaRPr lang="de-DE" altLang="en-US" b="1"/>
          </a:p>
          <a:p>
            <a:r>
              <a:rPr lang="en-GB" altLang="en-US"/>
              <a:t>Ktoś proponuje ci grę z monetą. Jeśli przegrasz, musisz zapłacić 100,00 €. Jaki zysk musiałbyś osiągnąć, abyś był skłonny zaangażować się w grę?</a:t>
            </a:r>
            <a:endParaRPr lang="en-US" altLang="en-US"/>
          </a:p>
          <a:p>
            <a:r>
              <a:rPr lang="en-US" altLang="en-US"/>
              <a:t>W tym przypadku nie ma poprawnej odpowiedzi. Zależy to od Twojej skłonności do ryzyka. Jeśli zaakceptowałbyś zysk w wysokości 100,00 € z gry, byłbyś neutralny wobec ryzyka. Z reguły jednak ludzie angażują się, gdy mogą wygrać więcej niż potencjalna strata. Ludzie mają awersję do strat. Chcą zachować to, co do nich należy. Często prowadzi to do efektu wypierania w przypadku inwestycji finansowych. Papiery wartościowe, które radzą sobie gorzej niż oczekiwano, nie są sprzedawane i pozostają na koncie. "Znowu się stało", takie jest nastawienie. Straty są akceptowane tylko niechętnie. </a:t>
            </a:r>
          </a:p>
          <a:p>
            <a:endParaRPr lang="en-US" altLang="en-US"/>
          </a:p>
          <a:p>
            <a:r>
              <a:rPr lang="en-US" altLang="en-US" b="1" i="1"/>
              <a:t>Emocje/Afekt</a:t>
            </a:r>
            <a:endParaRPr lang="de-DE" altLang="en-US" b="1"/>
          </a:p>
          <a:p>
            <a:r>
              <a:rPr lang="en-US" altLang="en-US"/>
              <a:t>Racjonalne decyzje nakładają się na emocje i afekt. Szczególną rolę odgrywa tutaj połączenie obu stron mózgu, kory mózgowej i układu limbicznego. Najważniejszą cechą jest oscylacja między strachem a chciwością, lub mówiąc bardziej elegancko: próba zapobiegania stratom i uzyskiwania nagród.</a:t>
            </a:r>
          </a:p>
          <a:p>
            <a:r>
              <a:rPr lang="en-US" altLang="en-US"/>
              <a:t>Nastrój to kolejna rzecz, która wpływa na nasze decyzje inwestycyjne. Niezależnie od tego, czy mamy szczęście, czy pecha, jesteśmy zdenerwowani lub beznamiętni, zestresowani lub zrelaksowani, wszystko to wpływa na nasze zachowania inwestycyjne. Nie zapominając oczywiście o bodźcach, takich jak kawa, alkohol czy leki, które wpływają na nasz nastrój. </a:t>
            </a:r>
          </a:p>
          <a:p>
            <a:r>
              <a:rPr lang="en-US" altLang="en-US"/>
              <a:t>Szczęśliwi ludzie są na przykład bardziej zdecydowani i raczej skłonni do przeceniania własnych możliwości. Są bardziej skłonni do podejmowania ryzyka i chętnie ignorują nawet ważne szczegółowe informacje. Łatwiej radzą sobie z porażkami i próbują ponownie.</a:t>
            </a:r>
            <a:endParaRPr lang="en-GB" altLang="en-US"/>
          </a:p>
          <a:p>
            <a:r>
              <a:rPr lang="en-GB" altLang="en-US"/>
              <a:t>Osoby z tendencją do depresji są zorientowane na szczegóły i niezdecydowane. Chcą unikać strat, jeśli to tylko możliwe. </a:t>
            </a:r>
          </a:p>
          <a:p>
            <a:r>
              <a:rPr lang="en-GB" altLang="en-US"/>
              <a:t>Ekstrawertyczni, optymistyczni ludzie rozważają ryzyko w mniejszym stopniu niż osoby niespokojne. </a:t>
            </a:r>
          </a:p>
          <a:p>
            <a:r>
              <a:rPr lang="en-GB" altLang="en-US"/>
              <a:t>W ten sposób wyniki inwestycyjne mogą wpływać na nastrój. Poczucie przyjemności z dobrej inwestycji często obniża ocenę ryzyka, wzrasta przeszacowanie własnych możliwości i może prowadzić do dodatkowych zakupów. Seria sukcesów może następnie prowadzić do ślepej chciwości, która maskuje wszelkie racjonalne myślenie i uodparnia ludzi na informacje ostrzegawcze - a to może skończyć się w pełni rozwiniętym nieuczciwym traderem. Samokontrola została całkowicie zablokowana. </a:t>
            </a:r>
          </a:p>
          <a:p>
            <a:r>
              <a:rPr lang="en-GB" altLang="en-US"/>
              <a:t>W przypadku niepowodzeń jest odwrotnie. To nieszczęście prowadzi do efektów eliminacji i awersji.</a:t>
            </a:r>
          </a:p>
          <a:p>
            <a:r>
              <a:rPr lang="en-GB" altLang="en-US"/>
              <a:t>Żal: Większość ludzi odczuwa większy żal z powodu czegoś, co zrobili, niż z powodu czegoś, czego nie zrobili. </a:t>
            </a:r>
          </a:p>
          <a:p>
            <a:r>
              <a:rPr lang="en-GB" altLang="en-US"/>
              <a:t>Przykład: Posiadają fundusz akcji A i rozważają, czy powinni go zmienić na fundusz akcji B, ale nic nie robią. Z perspektywy czasu dowiadują się, że w ten sposób stracili 10 000,00 EUR.</a:t>
            </a:r>
            <a:endParaRPr lang="en-US" altLang="en-US"/>
          </a:p>
          <a:p>
            <a:r>
              <a:rPr lang="en-US" altLang="en-US"/>
              <a:t>Ich znajomy posiada fundusz kapitałowy B i wymienia go na fundusz kapitałowy A. W </a:t>
            </a:r>
            <a:r>
              <a:rPr lang="en-GB" altLang="en-US"/>
              <a:t>rezultacie otrzymuje 10 000,00 EUR mniej niż mógłby otrzymać z funduszu kapitałowego B.</a:t>
            </a:r>
            <a:endParaRPr lang="en-US" altLang="en-US"/>
          </a:p>
          <a:p>
            <a:r>
              <a:rPr lang="en-US" altLang="en-US"/>
              <a:t>Kto jest bardziej zirytowany? Ty czy twój przyjaciel?</a:t>
            </a:r>
          </a:p>
          <a:p>
            <a:r>
              <a:rPr lang="en-US" altLang="en-US"/>
              <a:t>Przypuszczalnie mówisz, że twój przyjaciel jest bardziej zdenerwowany. Aktywnie zdecydował się na zmianę i w rezultacie uzyskał mniejszy zysk. Tyle tylko, że w twoim przypadku jest to kwestia utraconych perspektyw ("koszty alternatywne"); w przypadku twojego przyjaciela są to rzeczywiste straty. Ale w obu przypadkach wynik jest taki sam. Na tym polega różnica w tym, jak czegoś się żałuje. </a:t>
            </a:r>
            <a:endParaRPr lang="en-US" altLang="en-US" b="1"/>
          </a:p>
          <a:p>
            <a:r>
              <a:rPr lang="en-US" altLang="en-US" b="1"/>
              <a:t>Społeczny </a:t>
            </a:r>
            <a:endParaRPr lang="de-DE" altLang="en-US" b="1"/>
          </a:p>
          <a:p>
            <a:r>
              <a:rPr lang="en-US" altLang="en-US"/>
              <a:t>Ludzie są istotami stadnymi. Rzadko podejmują decyzje autarkicznie, to znaczy bez względu na środowisko, w którym żyją. A w stadach są zwierzęta alfa, które przewodzą stadu i nadają mu kierunek. Ludzie lubią naśladować zachowanie odnoszących sukcesy zwierząt alfa </a:t>
            </a:r>
          </a:p>
          <a:p>
            <a:r>
              <a:rPr lang="en-US" altLang="en-US"/>
              <a:t>Czy jesteś tego świadomy? Czy kiedykolwiek kupiłeś "gorącą wskazówkę", która później okazała się nietrafiona? Nie ma takich "gorących wskazówek". Ciężka praca leży u podstaw zaleceń, które obiecują sukces. Dlaczego ktoś miałby oddawać wyniki swojej pracy? Być może robi to tylko dlatego, że szuka kogoś, kto kupi od niego jego wskazówki, aby mógł zgarnąć zysk lub dlatego, że chce zarobić prowizję. Przy wszystkich swoich racjonalnych słabościach ludzie wciąż są ekonomistami.</a:t>
            </a:r>
          </a:p>
          <a:p>
            <a:r>
              <a:rPr lang="en-US" altLang="en-US"/>
              <a:t>Więc co tak naprawdę zrobiłeś ze swoim zakupem? Naśladowałeś kogoś, kto "musi być wtajemniczony". Na przykład dlatego, że jest brokerem lub "sprawdzonym ekspertem" w dziedzinie akcji internetowych, lub tego, lub tamtego. Albo po prostu jest zwierzęciem alfa.</a:t>
            </a:r>
          </a:p>
          <a:p>
            <a:r>
              <a:rPr lang="en-US" altLang="en-US"/>
              <a:t>Być może zostałeś przyłapany tylko dlatego, że wiele innych osób również zaufało tej wskazówce. Pojawiła się ona we wszystkich gazetach i rozprzestrzeniła jak epidemia. </a:t>
            </a:r>
            <a:r>
              <a:rPr lang="en-GB" altLang="en-US"/>
              <a:t> Epidemia, którą z pomocą racjonalności można było opanować tylko z wielkim trudem. </a:t>
            </a:r>
          </a:p>
          <a:p>
            <a:r>
              <a:rPr lang="en-GB" altLang="en-US"/>
              <a:t>Inna sprawa: czy czujemy się najlepiej w stadzie, ponieważ zapewnia nam ono bezpieczeństwo? Po co rozwijać inną opinię; większość musi mieć rację, czyż nie? Jeśli jednak każda osoba polega tylko na większości, kto tak naprawdę decyduje - i czy jest to racjonalne? </a:t>
            </a:r>
          </a:p>
          <a:p>
            <a:r>
              <a:rPr lang="en-GB" altLang="en-US"/>
              <a:t>Kaskadowanie informacji nie różni się w swoich konsekwencjach od pasterstwa. Nie wynika ona jednak z celowego ukierunkowania stada, ale jest wynikiem dzielenia się zbiorowymi informacjami i ich wymiany. Raporty badawcze, notowania giełdowe, bieżące ceny itp. ... to informacje, które są dostępne dla wszystkich w tym samym czasie. Następnie decyzje inwestycyjne są podejmowane z tych samych źródeł i często są oceniane przez ludzi, którzy mają ze sobą kontakt, na przykład dlatego, że są obecni na tym samym parkiecie. Kto byłby zaskoczony, gdyby doszli do tych samych lub przynajmniej podobnych ocen i decyzji? Często wystarczy tylko rosnąca cena, aby doprowadzić do przyszłych zakupów. </a:t>
            </a:r>
            <a:endParaRPr lang="de-DE" altLang="en-US"/>
          </a:p>
          <a:p>
            <a:endParaRPr lang="de-DE"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0.jpg"/><Relationship Id="rId4" Type="http://schemas.openxmlformats.org/officeDocument/2006/relationships/image" Target="../media/image9.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6" name="Logo Allianz Global Investors">
            <a:extLst>
              <a:ext uri="{FF2B5EF4-FFF2-40B4-BE49-F238E27FC236}">
                <a16:creationId xmlns:a16="http://schemas.microsoft.com/office/drawing/2014/main" id="{309904FC-5513-E2A2-A380-DA3F713D0F34}"/>
              </a:ext>
              <a:ext uri="{C183D7F6-B498-43B3-948B-1728B52AA6E4}">
                <adec:decorative xmlns:adec="http://schemas.microsoft.com/office/drawing/2017/decorative" val="1"/>
              </a:ext>
            </a:extLst>
          </p:cNvPr>
          <p:cNvSpPr>
            <a:spLocks noChangeAspect="1" noEditPoints="1"/>
          </p:cNvSpPr>
          <p:nvPr userDrawn="1"/>
        </p:nvSpPr>
        <p:spPr bwMode="gray">
          <a:xfrm>
            <a:off x="398770" y="475753"/>
            <a:ext cx="2059200" cy="76068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tx2"/>
          </a:solidFill>
          <a:ln w="9525">
            <a:noFill/>
            <a:round/>
            <a:headEnd/>
            <a:tailEnd/>
          </a:ln>
        </p:spPr>
        <p:txBody>
          <a:bodyPr/>
          <a:lstStyle/>
          <a:p>
            <a:endParaRPr lang="en-GB" sz="1777" noProof="0">
              <a:solidFill>
                <a:schemeClr val="bg1"/>
              </a:solidFill>
              <a:latin typeface="Arial" panose="020B0604020202020204" pitchFamily="34" charset="0"/>
            </a:endParaRPr>
          </a:p>
        </p:txBody>
      </p:sp>
      <p:sp>
        <p:nvSpPr>
          <p:cNvPr id="107" name="Title"/>
          <p:cNvSpPr>
            <a:spLocks noGrp="1"/>
          </p:cNvSpPr>
          <p:nvPr>
            <p:ph type="body" sz="quarter" idx="12" hasCustomPrompt="1"/>
          </p:nvPr>
        </p:nvSpPr>
        <p:spPr bwMode="gray">
          <a:xfrm>
            <a:off x="398770" y="2095848"/>
            <a:ext cx="4644000" cy="2308324"/>
          </a:xfrm>
        </p:spPr>
        <p:txBody>
          <a:bodyPr wrap="square" lIns="0" tIns="0" rIns="0" bIns="0" anchor="b">
            <a:spAutoFit/>
          </a:bodyPr>
          <a:lstStyle>
            <a:lvl1pPr marL="0" indent="0">
              <a:spcBef>
                <a:spcPts val="0"/>
              </a:spcBef>
              <a:spcAft>
                <a:spcPts val="0"/>
              </a:spcAft>
              <a:buNone/>
              <a:tabLst/>
              <a:defRPr sz="50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a:t>Title of the presentation</a:t>
            </a:r>
            <a:br>
              <a:rPr lang="en-GB" noProof="0"/>
            </a:br>
            <a:r>
              <a:rPr lang="en-GB" noProof="0"/>
              <a:t>(40–60 pt)</a:t>
            </a:r>
          </a:p>
        </p:txBody>
      </p:sp>
      <p:sp>
        <p:nvSpPr>
          <p:cNvPr id="48" name="Subtitle"/>
          <p:cNvSpPr>
            <a:spLocks noGrp="1"/>
          </p:cNvSpPr>
          <p:nvPr userDrawn="1">
            <p:ph type="body" sz="quarter" idx="14" hasCustomPrompt="1"/>
          </p:nvPr>
        </p:nvSpPr>
        <p:spPr bwMode="gray">
          <a:xfrm>
            <a:off x="398770" y="4810558"/>
            <a:ext cx="4644000" cy="430887"/>
          </a:xfrm>
        </p:spPr>
        <p:txBody>
          <a:bodyPr wrap="square" lIns="0" rIns="0" anchor="t">
            <a:spAutoFit/>
          </a:bodyPr>
          <a:lstStyle>
            <a:lvl1pPr marL="0" indent="0">
              <a:spcBef>
                <a:spcPts val="0"/>
              </a:spcBef>
              <a:spcAft>
                <a:spcPts val="0"/>
              </a:spcAft>
              <a:buNone/>
              <a:defRPr sz="1400">
                <a:solidFill>
                  <a:schemeClr val="tx2"/>
                </a:solidFill>
              </a:defRPr>
            </a:lvl1pPr>
          </a:lstStyle>
          <a:p>
            <a:pPr lvl="0"/>
            <a:r>
              <a:rPr lang="en-GB" noProof="0"/>
              <a:t>Subtitle of the presentation</a:t>
            </a:r>
          </a:p>
          <a:p>
            <a:pPr lvl="0"/>
            <a:r>
              <a:rPr lang="en-GB" noProof="0"/>
              <a:t>2nd line if required</a:t>
            </a:r>
          </a:p>
        </p:txBody>
      </p:sp>
      <p:sp>
        <p:nvSpPr>
          <p:cNvPr id="57" name="Author"/>
          <p:cNvSpPr>
            <a:spLocks noGrp="1"/>
          </p:cNvSpPr>
          <p:nvPr userDrawn="1">
            <p:ph type="body" sz="quarter" idx="11" hasCustomPrompt="1"/>
          </p:nvPr>
        </p:nvSpPr>
        <p:spPr bwMode="gray">
          <a:xfrm>
            <a:off x="398769" y="6455679"/>
            <a:ext cx="2448000" cy="169277"/>
          </a:xfrm>
        </p:spPr>
        <p:txBody>
          <a:bodyPr wrap="square" anchor="b"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sz="1100"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a:t>Author</a:t>
            </a:r>
          </a:p>
        </p:txBody>
      </p:sp>
      <p:sp>
        <p:nvSpPr>
          <p:cNvPr id="3" name="Date"/>
          <p:cNvSpPr>
            <a:spLocks noGrp="1"/>
          </p:cNvSpPr>
          <p:nvPr userDrawn="1">
            <p:ph type="body" sz="quarter" idx="13" hasCustomPrompt="1"/>
          </p:nvPr>
        </p:nvSpPr>
        <p:spPr bwMode="gray">
          <a:xfrm>
            <a:off x="2969170" y="6455679"/>
            <a:ext cx="2073600" cy="169277"/>
          </a:xfrm>
        </p:spPr>
        <p:txBody>
          <a:bodyPr wrap="square" lIns="0" rIns="0" anchor="b">
            <a:spAutoFit/>
          </a:bodyPr>
          <a:lstStyle>
            <a:lvl1pPr marL="0" indent="0">
              <a:spcBef>
                <a:spcPts val="0"/>
              </a:spcBef>
              <a:spcAft>
                <a:spcPts val="0"/>
              </a:spcAft>
              <a:buNone/>
              <a:defRPr sz="1100">
                <a:solidFill>
                  <a:schemeClr val="tx2"/>
                </a:solidFill>
              </a:defRPr>
            </a:lvl1pPr>
          </a:lstStyle>
          <a:p>
            <a:pPr lvl="0"/>
            <a:r>
              <a:rPr lang="en-GB" noProof="0"/>
              <a:t>Date of the presentation</a:t>
            </a:r>
          </a:p>
        </p:txBody>
      </p:sp>
      <p:pic>
        <p:nvPicPr>
          <p:cNvPr id="5" name="Picture 4">
            <a:extLst>
              <a:ext uri="{FF2B5EF4-FFF2-40B4-BE49-F238E27FC236}">
                <a16:creationId xmlns:a16="http://schemas.microsoft.com/office/drawing/2014/main" id="{9B1C13F5-839A-125A-C37B-81EC9EC2B073}"/>
              </a:ext>
            </a:extLst>
          </p:cNvPr>
          <p:cNvPicPr>
            <a:picLocks noChangeAspect="1"/>
          </p:cNvPicPr>
          <p:nvPr userDrawn="1"/>
        </p:nvPicPr>
        <p:blipFill>
          <a:blip r:embed="rId2"/>
          <a:stretch>
            <a:fillRect/>
          </a:stretch>
        </p:blipFill>
        <p:spPr>
          <a:xfrm>
            <a:off x="5335200" y="0"/>
            <a:ext cx="6850886" cy="4810558"/>
          </a:xfrm>
          <a:prstGeom prst="rect">
            <a:avLst/>
          </a:prstGeom>
        </p:spPr>
      </p:pic>
    </p:spTree>
    <p:extLst>
      <p:ext uri="{BB962C8B-B14F-4D97-AF65-F5344CB8AC3E}">
        <p14:creationId xmlns:p14="http://schemas.microsoft.com/office/powerpoint/2010/main" val="34391083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_Picture placeholder">
    <p:bg>
      <p:bgRef idx="1001">
        <a:schemeClr val="bg1"/>
      </p:bgRef>
    </p:bg>
    <p:spTree>
      <p:nvGrpSpPr>
        <p:cNvPr id="1" name=""/>
        <p:cNvGrpSpPr/>
        <p:nvPr/>
      </p:nvGrpSpPr>
      <p:grpSpPr>
        <a:xfrm>
          <a:off x="0" y="0"/>
          <a:ext cx="0" cy="0"/>
          <a:chOff x="0" y="0"/>
          <a:chExt cx="0" cy="0"/>
        </a:xfrm>
      </p:grpSpPr>
      <p:sp>
        <p:nvSpPr>
          <p:cNvPr id="7" name="Picture">
            <a:extLst>
              <a:ext uri="{FF2B5EF4-FFF2-40B4-BE49-F238E27FC236}">
                <a16:creationId xmlns:a16="http://schemas.microsoft.com/office/drawing/2014/main" id="{07B777D4-0823-426C-BAA9-0A7603FF9D4D}"/>
              </a:ext>
            </a:extLst>
          </p:cNvPr>
          <p:cNvSpPr>
            <a:spLocks noGrp="1"/>
          </p:cNvSpPr>
          <p:nvPr>
            <p:ph type="pic" sz="quarter" idx="13"/>
          </p:nvPr>
        </p:nvSpPr>
        <p:spPr>
          <a:xfrm>
            <a:off x="5148001" y="0"/>
            <a:ext cx="7044000" cy="4968000"/>
          </a:xfrm>
          <a:solidFill>
            <a:schemeClr val="bg2">
              <a:lumMod val="20000"/>
              <a:lumOff val="80000"/>
            </a:schemeClr>
          </a:solidFill>
        </p:spPr>
        <p:txBody>
          <a:bodyPr/>
          <a:lstStyle>
            <a:lvl1pPr marL="0" indent="0">
              <a:buNone/>
              <a:defRPr/>
            </a:lvl1pPr>
          </a:lstStyle>
          <a:p>
            <a:endParaRPr lang="de-DE" dirty="0"/>
          </a:p>
        </p:txBody>
      </p:sp>
      <p:sp>
        <p:nvSpPr>
          <p:cNvPr id="6" name="Logo Allianz Global Investors">
            <a:extLst>
              <a:ext uri="{FF2B5EF4-FFF2-40B4-BE49-F238E27FC236}">
                <a16:creationId xmlns:a16="http://schemas.microsoft.com/office/drawing/2014/main" id="{BDBED4AD-609F-DE17-7730-A494F18BFDB0}"/>
              </a:ext>
              <a:ext uri="{C183D7F6-B498-43B3-948B-1728B52AA6E4}">
                <adec:decorative xmlns:adec="http://schemas.microsoft.com/office/drawing/2017/decorative" val="1"/>
              </a:ext>
            </a:extLst>
          </p:cNvPr>
          <p:cNvSpPr>
            <a:spLocks noGrp="1" noChangeAspect="1"/>
          </p:cNvSpPr>
          <p:nvPr>
            <p:ph type="pic" sz="quarter" idx="15"/>
          </p:nvPr>
        </p:nvSpPr>
        <p:spPr>
          <a:xfrm>
            <a:off x="10755688" y="261274"/>
            <a:ext cx="1018800" cy="3744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rgbClr val="DADADA"/>
                </a:solidFill>
              </a:defRPr>
            </a:lvl1pPr>
          </a:lstStyle>
          <a:p>
            <a:endParaRPr lang="de-DE" dirty="0"/>
          </a:p>
        </p:txBody>
      </p:sp>
      <p:sp>
        <p:nvSpPr>
          <p:cNvPr id="5" name="Number">
            <a:extLst>
              <a:ext uri="{FF2B5EF4-FFF2-40B4-BE49-F238E27FC236}">
                <a16:creationId xmlns:a16="http://schemas.microsoft.com/office/drawing/2014/main" id="{58F839D5-0966-688B-2C36-35BC00C8E0B5}"/>
              </a:ext>
            </a:extLst>
          </p:cNvPr>
          <p:cNvSpPr>
            <a:spLocks noGrp="1"/>
          </p:cNvSpPr>
          <p:nvPr>
            <p:ph type="body" idx="1" hasCustomPrompt="1"/>
          </p:nvPr>
        </p:nvSpPr>
        <p:spPr bwMode="gray">
          <a:xfrm>
            <a:off x="400667" y="366523"/>
            <a:ext cx="4350272" cy="584775"/>
          </a:xfrm>
          <a:noFill/>
          <a:ln w="9525">
            <a:noFill/>
            <a:miter lim="800000"/>
            <a:headEnd/>
            <a:tailEnd/>
          </a:ln>
          <a:effectLst/>
        </p:spPr>
        <p:txBody>
          <a:bodyPr vert="horz" wrap="square" lIns="0" tIns="0" rIns="0" bIns="0" numCol="1" anchor="t" anchorCtr="0" compatLnSpc="1">
            <a:prstTxWarp prst="textNoShape">
              <a:avLst/>
            </a:prstTxWarp>
            <a:spAutoFit/>
          </a:bodyPr>
          <a:lstStyle>
            <a:lvl1pPr marL="0" indent="0">
              <a:buNone/>
              <a:defRPr lang="en-GB" sz="3800" b="0" strike="noStrike" kern="0" spc="0" noProof="0" dirty="0">
                <a:solidFill>
                  <a:schemeClr val="accent4"/>
                </a:solidFill>
              </a:defRPr>
            </a:lvl1pPr>
          </a:lstStyle>
          <a:p>
            <a:pPr marL="171450" lvl="0" indent="-171450" defTabSz="1038977">
              <a:spcBef>
                <a:spcPts val="0"/>
              </a:spcBef>
              <a:spcAft>
                <a:spcPct val="0"/>
              </a:spcAft>
              <a:buClrTx/>
              <a:tabLst>
                <a:tab pos="203827" algn="l"/>
              </a:tabLst>
            </a:pPr>
            <a:r>
              <a:rPr lang="en-GB" noProof="0" dirty="0"/>
              <a:t>01</a:t>
            </a:r>
          </a:p>
        </p:txBody>
      </p:sp>
      <p:sp>
        <p:nvSpPr>
          <p:cNvPr id="8" name="Title">
            <a:extLst>
              <a:ext uri="{FF2B5EF4-FFF2-40B4-BE49-F238E27FC236}">
                <a16:creationId xmlns:a16="http://schemas.microsoft.com/office/drawing/2014/main" id="{0D70220F-0897-8617-2B53-4BD663622CB5}"/>
              </a:ext>
            </a:extLst>
          </p:cNvPr>
          <p:cNvSpPr>
            <a:spLocks noGrp="1"/>
          </p:cNvSpPr>
          <p:nvPr>
            <p:ph type="title" hasCustomPrompt="1"/>
          </p:nvPr>
        </p:nvSpPr>
        <p:spPr bwMode="gray">
          <a:xfrm>
            <a:off x="401228" y="1214067"/>
            <a:ext cx="4349711" cy="1828193"/>
          </a:xfrm>
          <a:noFill/>
          <a:ln w="9525">
            <a:noFill/>
            <a:miter lim="800000"/>
            <a:headEnd/>
            <a:tailEnd/>
          </a:ln>
          <a:effectLst/>
        </p:spPr>
        <p:txBody>
          <a:bodyPr vert="horz" wrap="square" lIns="0" tIns="0" rIns="0" bIns="0" numCol="1" anchor="t" anchorCtr="0" compatLnSpc="1">
            <a:prstTxWarp prst="textNoShape">
              <a:avLst/>
            </a:prstTxWarp>
          </a:bodyPr>
          <a:lstStyle>
            <a:lvl1pPr>
              <a:defRPr lang="en-GB" sz="4400" b="0" kern="1200" noProof="0" dirty="0">
                <a:solidFill>
                  <a:schemeClr val="tx2"/>
                </a:solidFill>
                <a:ea typeface="+mn-ea"/>
                <a:cs typeface="+mn-cs"/>
              </a:defRPr>
            </a:lvl1pPr>
          </a:lstStyle>
          <a:p>
            <a:pPr marL="0" lvl="0" indent="0">
              <a:lnSpc>
                <a:spcPct val="90000"/>
              </a:lnSpc>
              <a:buFont typeface="Wingdings" panose="05000000000000000000" pitchFamily="2" charset="2"/>
              <a:buNone/>
            </a:pPr>
            <a:r>
              <a:rPr lang="en-GB" noProof="0" dirty="0"/>
              <a:t>Name of chapter     </a:t>
            </a:r>
            <a:br>
              <a:rPr lang="en-GB" noProof="0" dirty="0"/>
            </a:br>
            <a:r>
              <a:rPr lang="en-GB" noProof="0" dirty="0"/>
              <a:t>(44 </a:t>
            </a:r>
            <a:r>
              <a:rPr lang="en-GB" noProof="0" dirty="0" err="1"/>
              <a:t>pt</a:t>
            </a:r>
            <a:r>
              <a:rPr lang="en-GB" noProof="0" dirty="0"/>
              <a:t>)</a:t>
            </a:r>
          </a:p>
        </p:txBody>
      </p:sp>
      <p:sp>
        <p:nvSpPr>
          <p:cNvPr id="3" name="Subtitle">
            <a:extLst>
              <a:ext uri="{FF2B5EF4-FFF2-40B4-BE49-F238E27FC236}">
                <a16:creationId xmlns:a16="http://schemas.microsoft.com/office/drawing/2014/main" id="{6C610E4B-DACF-91C3-46F2-311DE2327C17}"/>
              </a:ext>
            </a:extLst>
          </p:cNvPr>
          <p:cNvSpPr>
            <a:spLocks noGrp="1"/>
          </p:cNvSpPr>
          <p:nvPr>
            <p:ph type="body" sz="quarter" idx="11" hasCustomPrompt="1"/>
          </p:nvPr>
        </p:nvSpPr>
        <p:spPr bwMode="gray">
          <a:xfrm>
            <a:off x="394677" y="4751842"/>
            <a:ext cx="4349711" cy="215444"/>
          </a:xfrm>
        </p:spPr>
        <p:txBody>
          <a:bodyPr anchor="b">
            <a:spAutoFit/>
          </a:bodyPr>
          <a:lstStyle>
            <a:lvl1pPr marL="0" indent="0">
              <a:spcBef>
                <a:spcPts val="0"/>
              </a:spcBef>
              <a:spcAft>
                <a:spcPts val="0"/>
              </a:spcAft>
              <a:buFont typeface="Arial" panose="020B0604020202020204" pitchFamily="34" charset="0"/>
              <a:buNone/>
              <a:defRPr sz="1400">
                <a:solidFill>
                  <a:schemeClr val="tx2"/>
                </a:solidFill>
              </a:defRPr>
            </a:lvl1pPr>
            <a:lvl2pPr marL="184150" indent="0">
              <a:buNone/>
              <a:defRPr/>
            </a:lvl2pPr>
            <a:lvl3pPr marL="360362" indent="0">
              <a:buNone/>
              <a:defRPr/>
            </a:lvl3pPr>
            <a:lvl4pPr marL="539750" indent="0">
              <a:buNone/>
              <a:defRPr/>
            </a:lvl4pPr>
            <a:lvl5pPr marL="720725" indent="0">
              <a:buNone/>
              <a:defRPr/>
            </a:lvl5pPr>
          </a:lstStyle>
          <a:p>
            <a:pPr lvl="0"/>
            <a:r>
              <a:rPr lang="en-GB" noProof="0" dirty="0"/>
              <a:t>Subtitle</a:t>
            </a:r>
          </a:p>
        </p:txBody>
      </p:sp>
      <p:sp>
        <p:nvSpPr>
          <p:cNvPr id="4" name="Slide number">
            <a:extLst>
              <a:ext uri="{FF2B5EF4-FFF2-40B4-BE49-F238E27FC236}">
                <a16:creationId xmlns:a16="http://schemas.microsoft.com/office/drawing/2014/main" id="{286433AE-3160-5AD4-7B7F-79ADA1B8A0C5}"/>
              </a:ext>
            </a:extLst>
          </p:cNvPr>
          <p:cNvSpPr txBox="1"/>
          <p:nvPr userDrawn="1"/>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a:t>
            </a:fld>
            <a:endParaRPr lang="en-GB" sz="800" baseline="0" noProof="0" dirty="0">
              <a:solidFill>
                <a:schemeClr val="tx2"/>
              </a:solidFill>
              <a:latin typeface="Arial" panose="020B0604020202020204" pitchFamily="34" charset="0"/>
            </a:endParaRPr>
          </a:p>
        </p:txBody>
      </p:sp>
    </p:spTree>
    <p:extLst>
      <p:ext uri="{BB962C8B-B14F-4D97-AF65-F5344CB8AC3E}">
        <p14:creationId xmlns:p14="http://schemas.microsoft.com/office/powerpoint/2010/main" val="261347060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_Picture placeholder_Dark Blue">
    <p:bg>
      <p:bgPr>
        <a:solidFill>
          <a:schemeClr val="accent1"/>
        </a:solidFill>
        <a:effectLst/>
      </p:bgPr>
    </p:bg>
    <p:spTree>
      <p:nvGrpSpPr>
        <p:cNvPr id="1" name=""/>
        <p:cNvGrpSpPr/>
        <p:nvPr/>
      </p:nvGrpSpPr>
      <p:grpSpPr>
        <a:xfrm>
          <a:off x="0" y="0"/>
          <a:ext cx="0" cy="0"/>
          <a:chOff x="0" y="0"/>
          <a:chExt cx="0" cy="0"/>
        </a:xfrm>
      </p:grpSpPr>
      <p:sp>
        <p:nvSpPr>
          <p:cNvPr id="7" name="Picture">
            <a:extLst>
              <a:ext uri="{FF2B5EF4-FFF2-40B4-BE49-F238E27FC236}">
                <a16:creationId xmlns:a16="http://schemas.microsoft.com/office/drawing/2014/main" id="{07B777D4-0823-426C-BAA9-0A7603FF9D4D}"/>
              </a:ext>
            </a:extLst>
          </p:cNvPr>
          <p:cNvSpPr>
            <a:spLocks noGrp="1"/>
          </p:cNvSpPr>
          <p:nvPr>
            <p:ph type="pic" sz="quarter" idx="13"/>
          </p:nvPr>
        </p:nvSpPr>
        <p:spPr>
          <a:xfrm>
            <a:off x="5148001" y="7015"/>
            <a:ext cx="7044000" cy="4968000"/>
          </a:xfrm>
          <a:solidFill>
            <a:schemeClr val="bg2">
              <a:lumMod val="20000"/>
              <a:lumOff val="80000"/>
            </a:schemeClr>
          </a:solidFill>
        </p:spPr>
        <p:txBody>
          <a:bodyPr/>
          <a:lstStyle>
            <a:lvl1pPr marL="0" indent="0">
              <a:buNone/>
              <a:defRPr/>
            </a:lvl1pPr>
          </a:lstStyle>
          <a:p>
            <a:endParaRPr lang="de-DE" dirty="0"/>
          </a:p>
        </p:txBody>
      </p:sp>
      <p:sp>
        <p:nvSpPr>
          <p:cNvPr id="6" name="Logo Allianz Global Investors">
            <a:extLst>
              <a:ext uri="{FF2B5EF4-FFF2-40B4-BE49-F238E27FC236}">
                <a16:creationId xmlns:a16="http://schemas.microsoft.com/office/drawing/2014/main" id="{37CF5EEF-28CD-C447-7BD0-3501E1E9D9C2}"/>
              </a:ext>
              <a:ext uri="{C183D7F6-B498-43B3-948B-1728B52AA6E4}">
                <adec:decorative xmlns:adec="http://schemas.microsoft.com/office/drawing/2017/decorative" val="1"/>
              </a:ext>
            </a:extLst>
          </p:cNvPr>
          <p:cNvSpPr>
            <a:spLocks noGrp="1" noChangeAspect="1"/>
          </p:cNvSpPr>
          <p:nvPr>
            <p:ph type="pic" sz="quarter" idx="15"/>
          </p:nvPr>
        </p:nvSpPr>
        <p:spPr>
          <a:xfrm>
            <a:off x="10747126" y="261274"/>
            <a:ext cx="1018800" cy="3744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rgbClr val="DADADA"/>
                </a:solidFill>
              </a:defRPr>
            </a:lvl1pPr>
          </a:lstStyle>
          <a:p>
            <a:endParaRPr lang="de-DE" dirty="0"/>
          </a:p>
        </p:txBody>
      </p:sp>
      <p:sp>
        <p:nvSpPr>
          <p:cNvPr id="2" name="Number">
            <a:extLst>
              <a:ext uri="{FF2B5EF4-FFF2-40B4-BE49-F238E27FC236}">
                <a16:creationId xmlns:a16="http://schemas.microsoft.com/office/drawing/2014/main" id="{D5FA630F-8F85-2C06-8992-C651107DD8DE}"/>
              </a:ext>
            </a:extLst>
          </p:cNvPr>
          <p:cNvSpPr>
            <a:spLocks noGrp="1"/>
          </p:cNvSpPr>
          <p:nvPr>
            <p:ph type="body" idx="1" hasCustomPrompt="1"/>
          </p:nvPr>
        </p:nvSpPr>
        <p:spPr bwMode="gray">
          <a:xfrm>
            <a:off x="400667" y="366523"/>
            <a:ext cx="4350271" cy="584775"/>
          </a:xfrm>
          <a:noFill/>
          <a:ln w="9525">
            <a:noFill/>
            <a:miter lim="800000"/>
            <a:headEnd/>
            <a:tailEnd/>
          </a:ln>
          <a:effectLst/>
        </p:spPr>
        <p:txBody>
          <a:bodyPr vert="horz" wrap="square" lIns="0" tIns="0" rIns="0" bIns="0" numCol="1" anchor="t" anchorCtr="0" compatLnSpc="1">
            <a:prstTxWarp prst="textNoShape">
              <a:avLst/>
            </a:prstTxWarp>
            <a:spAutoFit/>
          </a:bodyPr>
          <a:lstStyle>
            <a:lvl1pPr marL="0" indent="0">
              <a:buNone/>
              <a:defRPr lang="en-GB" sz="3800" b="0" strike="noStrike" kern="0" spc="0" noProof="0" dirty="0">
                <a:solidFill>
                  <a:schemeClr val="accent4"/>
                </a:solidFill>
              </a:defRPr>
            </a:lvl1pPr>
          </a:lstStyle>
          <a:p>
            <a:pPr marL="171450" lvl="0" indent="-171450" defTabSz="1038977">
              <a:spcBef>
                <a:spcPts val="0"/>
              </a:spcBef>
              <a:spcAft>
                <a:spcPct val="0"/>
              </a:spcAft>
              <a:buClrTx/>
              <a:tabLst>
                <a:tab pos="203827" algn="l"/>
              </a:tabLst>
            </a:pPr>
            <a:r>
              <a:rPr lang="en-GB" noProof="0" dirty="0"/>
              <a:t>01</a:t>
            </a:r>
          </a:p>
        </p:txBody>
      </p:sp>
      <p:sp>
        <p:nvSpPr>
          <p:cNvPr id="5" name="Title">
            <a:extLst>
              <a:ext uri="{FF2B5EF4-FFF2-40B4-BE49-F238E27FC236}">
                <a16:creationId xmlns:a16="http://schemas.microsoft.com/office/drawing/2014/main" id="{D2AFB818-5CB6-05F4-A03E-09A86E540161}"/>
              </a:ext>
            </a:extLst>
          </p:cNvPr>
          <p:cNvSpPr>
            <a:spLocks noGrp="1"/>
          </p:cNvSpPr>
          <p:nvPr>
            <p:ph type="title" hasCustomPrompt="1"/>
          </p:nvPr>
        </p:nvSpPr>
        <p:spPr bwMode="gray">
          <a:xfrm>
            <a:off x="401228" y="1214067"/>
            <a:ext cx="4349711" cy="1828193"/>
          </a:xfrm>
          <a:noFill/>
          <a:ln w="9525">
            <a:noFill/>
            <a:miter lim="800000"/>
            <a:headEnd/>
            <a:tailEnd/>
          </a:ln>
          <a:effectLst/>
        </p:spPr>
        <p:txBody>
          <a:bodyPr vert="horz" wrap="square" lIns="0" tIns="0" rIns="0" bIns="0" numCol="1" anchor="t" anchorCtr="0" compatLnSpc="1">
            <a:prstTxWarp prst="textNoShape">
              <a:avLst/>
            </a:prstTxWarp>
          </a:bodyPr>
          <a:lstStyle>
            <a:lvl1pPr>
              <a:defRPr lang="en-GB" sz="4400" b="0" kern="1200" noProof="0" dirty="0">
                <a:solidFill>
                  <a:schemeClr val="bg1"/>
                </a:solidFill>
                <a:ea typeface="+mn-ea"/>
                <a:cs typeface="+mn-cs"/>
              </a:defRPr>
            </a:lvl1pPr>
          </a:lstStyle>
          <a:p>
            <a:pPr marL="0" lvl="0" indent="0">
              <a:lnSpc>
                <a:spcPct val="90000"/>
              </a:lnSpc>
              <a:buFont typeface="Wingdings" panose="05000000000000000000" pitchFamily="2" charset="2"/>
              <a:buNone/>
            </a:pPr>
            <a:r>
              <a:rPr lang="en-GB" noProof="0" dirty="0"/>
              <a:t>Name of chapter     </a:t>
            </a:r>
            <a:br>
              <a:rPr lang="en-GB" noProof="0" dirty="0"/>
            </a:br>
            <a:r>
              <a:rPr lang="en-GB" noProof="0" dirty="0"/>
              <a:t>(44 </a:t>
            </a:r>
            <a:r>
              <a:rPr lang="en-GB" noProof="0" dirty="0" err="1"/>
              <a:t>pt</a:t>
            </a:r>
            <a:r>
              <a:rPr lang="en-GB" noProof="0" dirty="0"/>
              <a:t>)</a:t>
            </a:r>
          </a:p>
        </p:txBody>
      </p:sp>
      <p:sp>
        <p:nvSpPr>
          <p:cNvPr id="18" name="Subtitle">
            <a:extLst>
              <a:ext uri="{FF2B5EF4-FFF2-40B4-BE49-F238E27FC236}">
                <a16:creationId xmlns:a16="http://schemas.microsoft.com/office/drawing/2014/main" id="{B35C9DB6-6AB3-451C-A3A4-ACDF47A8045B}"/>
              </a:ext>
            </a:extLst>
          </p:cNvPr>
          <p:cNvSpPr>
            <a:spLocks noGrp="1"/>
          </p:cNvSpPr>
          <p:nvPr>
            <p:ph type="body" sz="quarter" idx="14" hasCustomPrompt="1"/>
          </p:nvPr>
        </p:nvSpPr>
        <p:spPr bwMode="gray">
          <a:xfrm>
            <a:off x="401230" y="4752000"/>
            <a:ext cx="4318554" cy="215444"/>
          </a:xfrm>
          <a:noFill/>
          <a:ln w="9525">
            <a:noFill/>
            <a:miter lim="800000"/>
            <a:headEnd/>
            <a:tailEnd/>
          </a:ln>
          <a:effectLst/>
        </p:spPr>
        <p:txBody>
          <a:bodyPr vert="horz" wrap="square" lIns="0" tIns="0" rIns="0" bIns="0" numCol="1" anchor="b" anchorCtr="0" compatLnSpc="1">
            <a:prstTxWarp prst="textNoShape">
              <a:avLst/>
            </a:prstTxWarp>
          </a:bodyPr>
          <a:lstStyle>
            <a:lvl1pPr marL="0" indent="0">
              <a:buNone/>
              <a:defRPr lang="en-GB" sz="1400" b="0" noProof="0" dirty="0">
                <a:solidFill>
                  <a:schemeClr val="bg1"/>
                </a:solidFill>
              </a:defRPr>
            </a:lvl1pPr>
          </a:lstStyle>
          <a:p>
            <a:pPr marL="158282" lvl="0" indent="-158282">
              <a:spcBef>
                <a:spcPts val="0"/>
              </a:spcBef>
              <a:spcAft>
                <a:spcPts val="0"/>
              </a:spcAft>
            </a:pPr>
            <a:r>
              <a:rPr lang="en-GB" noProof="0" dirty="0"/>
              <a:t>Subtitle</a:t>
            </a:r>
          </a:p>
        </p:txBody>
      </p:sp>
      <p:sp>
        <p:nvSpPr>
          <p:cNvPr id="4" name="Slide number">
            <a:extLst>
              <a:ext uri="{FF2B5EF4-FFF2-40B4-BE49-F238E27FC236}">
                <a16:creationId xmlns:a16="http://schemas.microsoft.com/office/drawing/2014/main" id="{284E9176-D64E-B7FC-4A50-0249FECD4B32}"/>
              </a:ext>
            </a:extLst>
          </p:cNvPr>
          <p:cNvSpPr txBox="1"/>
          <p:nvPr userDrawn="1"/>
        </p:nvSpPr>
        <p:spPr>
          <a:xfrm>
            <a:off x="10269444"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bg1"/>
                </a:solidFill>
                <a:latin typeface="Arial" panose="020B0604020202020204" pitchFamily="34" charset="0"/>
              </a:rPr>
              <a:pPr lvl="0"/>
              <a:t>‹#›</a:t>
            </a:fld>
            <a:endParaRPr lang="en-GB" sz="800" baseline="0" noProof="0" dirty="0">
              <a:solidFill>
                <a:schemeClr val="bg1"/>
              </a:solidFill>
              <a:latin typeface="Arial" panose="020B0604020202020204" pitchFamily="34" charset="0"/>
            </a:endParaRPr>
          </a:p>
        </p:txBody>
      </p:sp>
    </p:spTree>
    <p:extLst>
      <p:ext uri="{BB962C8B-B14F-4D97-AF65-F5344CB8AC3E}">
        <p14:creationId xmlns:p14="http://schemas.microsoft.com/office/powerpoint/2010/main" val="17304490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_White">
    <p:bg>
      <p:bgPr>
        <a:solidFill>
          <a:schemeClr val="bg1"/>
        </a:solidFill>
        <a:effectLst/>
      </p:bgPr>
    </p:bg>
    <p:spTree>
      <p:nvGrpSpPr>
        <p:cNvPr id="1" name=""/>
        <p:cNvGrpSpPr/>
        <p:nvPr/>
      </p:nvGrpSpPr>
      <p:grpSpPr>
        <a:xfrm>
          <a:off x="0" y="0"/>
          <a:ext cx="0" cy="0"/>
          <a:chOff x="0" y="0"/>
          <a:chExt cx="0" cy="0"/>
        </a:xfrm>
      </p:grpSpPr>
      <p:sp>
        <p:nvSpPr>
          <p:cNvPr id="5" name="Number"/>
          <p:cNvSpPr>
            <a:spLocks noGrp="1"/>
          </p:cNvSpPr>
          <p:nvPr>
            <p:ph type="body" idx="1" hasCustomPrompt="1"/>
          </p:nvPr>
        </p:nvSpPr>
        <p:spPr bwMode="gray">
          <a:xfrm>
            <a:off x="395926" y="366522"/>
            <a:ext cx="2672171" cy="945042"/>
          </a:xfrm>
        </p:spPr>
        <p:txBody>
          <a:bodyPr wrap="none" lIns="0" tIns="0" rIns="0" bIns="0" anchor="t" anchorCtr="0"/>
          <a:lstStyle>
            <a:lvl1pPr marL="0" indent="0" algn="l" rtl="0" fontAlgn="base">
              <a:lnSpc>
                <a:spcPct val="100000"/>
              </a:lnSpc>
              <a:spcBef>
                <a:spcPts val="0"/>
              </a:spcBef>
              <a:spcAft>
                <a:spcPct val="0"/>
              </a:spcAft>
              <a:buClrTx/>
              <a:buFontTx/>
              <a:buNone/>
              <a:defRPr lang="en-US" sz="3800" b="0" strike="noStrike" kern="0" spc="0" baseline="0" dirty="0" smtClean="0">
                <a:solidFill>
                  <a:schemeClr val="tx2"/>
                </a:solidFill>
                <a:latin typeface="Arial" panose="020B0604020202020204" pitchFamily="34" charset="0"/>
                <a:ea typeface="+mn-ea"/>
                <a:cs typeface="+mn-cs"/>
              </a:defRPr>
            </a:lvl1pPr>
            <a:lvl2pPr marL="519488" indent="0">
              <a:buNone/>
              <a:defRPr sz="2000"/>
            </a:lvl2pPr>
            <a:lvl3pPr marL="1038977" indent="0">
              <a:buNone/>
              <a:defRPr sz="1867"/>
            </a:lvl3pPr>
            <a:lvl4pPr marL="1558465" indent="0">
              <a:buNone/>
              <a:defRPr sz="1600"/>
            </a:lvl4pPr>
            <a:lvl5pPr marL="2077952" indent="0">
              <a:buNone/>
              <a:defRPr sz="1600"/>
            </a:lvl5pPr>
            <a:lvl6pPr marL="2597440" indent="0">
              <a:buNone/>
              <a:defRPr sz="1600"/>
            </a:lvl6pPr>
            <a:lvl7pPr marL="3116929" indent="0">
              <a:buNone/>
              <a:defRPr sz="1600"/>
            </a:lvl7pPr>
            <a:lvl8pPr marL="3636417" indent="0">
              <a:buNone/>
              <a:defRPr sz="1600"/>
            </a:lvl8pPr>
            <a:lvl9pPr marL="4155905" indent="0">
              <a:buNone/>
              <a:defRPr sz="1600"/>
            </a:lvl9pPr>
          </a:lstStyle>
          <a:p>
            <a:pPr lvl="0"/>
            <a:r>
              <a:rPr lang="en-GB" noProof="0" dirty="0"/>
              <a:t>01</a:t>
            </a:r>
          </a:p>
        </p:txBody>
      </p:sp>
      <p:sp>
        <p:nvSpPr>
          <p:cNvPr id="6" name="Title"/>
          <p:cNvSpPr>
            <a:spLocks noGrp="1"/>
          </p:cNvSpPr>
          <p:nvPr>
            <p:ph type="title" hasCustomPrompt="1"/>
          </p:nvPr>
        </p:nvSpPr>
        <p:spPr bwMode="gray">
          <a:xfrm>
            <a:off x="395926" y="1897545"/>
            <a:ext cx="11377762" cy="1495264"/>
          </a:xfrm>
        </p:spPr>
        <p:txBody>
          <a:bodyPr anchor="b" anchorCtr="0"/>
          <a:lstStyle>
            <a:lvl1pPr marL="0" indent="0" algn="l">
              <a:buFont typeface="Wingdings" panose="05000000000000000000" pitchFamily="2" charset="2"/>
              <a:buNone/>
              <a:defRPr lang="en-US" sz="8500" b="0" kern="1200" dirty="0" smtClean="0">
                <a:solidFill>
                  <a:schemeClr val="tx2"/>
                </a:solidFill>
                <a:latin typeface="Arial" panose="020B0604020202020204" pitchFamily="34" charset="0"/>
                <a:ea typeface="+mn-ea"/>
                <a:cs typeface="+mn-cs"/>
              </a:defRPr>
            </a:lvl1pPr>
          </a:lstStyle>
          <a:p>
            <a:r>
              <a:rPr lang="en-GB" noProof="0" dirty="0"/>
              <a:t>Name of chapter</a:t>
            </a:r>
          </a:p>
        </p:txBody>
      </p:sp>
      <p:sp>
        <p:nvSpPr>
          <p:cNvPr id="4" name="Subtitle">
            <a:extLst>
              <a:ext uri="{FF2B5EF4-FFF2-40B4-BE49-F238E27FC236}">
                <a16:creationId xmlns:a16="http://schemas.microsoft.com/office/drawing/2014/main" id="{B75E64CD-D5B3-6705-6EEB-7A45AA5358B8}"/>
              </a:ext>
            </a:extLst>
          </p:cNvPr>
          <p:cNvSpPr>
            <a:spLocks noGrp="1"/>
          </p:cNvSpPr>
          <p:nvPr>
            <p:ph type="body" sz="quarter" idx="16" hasCustomPrompt="1"/>
          </p:nvPr>
        </p:nvSpPr>
        <p:spPr>
          <a:xfrm>
            <a:off x="4296488" y="3421520"/>
            <a:ext cx="7477200" cy="1177245"/>
          </a:xfrm>
        </p:spPr>
        <p:txBody>
          <a:bodyPr anchor="t">
            <a:spAutoFit/>
          </a:bodyPr>
          <a:lstStyle>
            <a:lvl1pPr marL="0" indent="0">
              <a:lnSpc>
                <a:spcPct val="90000"/>
              </a:lnSpc>
              <a:spcBef>
                <a:spcPts val="0"/>
              </a:spcBef>
              <a:spcAft>
                <a:spcPts val="0"/>
              </a:spcAft>
              <a:buNone/>
              <a:defRPr sz="8500">
                <a:solidFill>
                  <a:schemeClr val="accent4"/>
                </a:solidFill>
              </a:defRPr>
            </a:lvl1pPr>
          </a:lstStyle>
          <a:p>
            <a:pPr lvl="0"/>
            <a:r>
              <a:rPr lang="en-GB"/>
              <a:t>Subtitle</a:t>
            </a:r>
            <a:endParaRPr lang="en-GB" dirty="0"/>
          </a:p>
        </p:txBody>
      </p:sp>
    </p:spTree>
    <p:extLst>
      <p:ext uri="{BB962C8B-B14F-4D97-AF65-F5344CB8AC3E}">
        <p14:creationId xmlns:p14="http://schemas.microsoft.com/office/powerpoint/2010/main" val="35647063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_Blue">
    <p:bg>
      <p:bgPr>
        <a:solidFill>
          <a:schemeClr val="accent4"/>
        </a:solidFill>
        <a:effectLst/>
      </p:bgPr>
    </p:bg>
    <p:spTree>
      <p:nvGrpSpPr>
        <p:cNvPr id="1" name=""/>
        <p:cNvGrpSpPr/>
        <p:nvPr/>
      </p:nvGrpSpPr>
      <p:grpSpPr>
        <a:xfrm>
          <a:off x="0" y="0"/>
          <a:ext cx="0" cy="0"/>
          <a:chOff x="0" y="0"/>
          <a:chExt cx="0" cy="0"/>
        </a:xfrm>
      </p:grpSpPr>
      <p:sp>
        <p:nvSpPr>
          <p:cNvPr id="2" name="Logo Allianz Global Investors">
            <a:extLst>
              <a:ext uri="{FF2B5EF4-FFF2-40B4-BE49-F238E27FC236}">
                <a16:creationId xmlns:a16="http://schemas.microsoft.com/office/drawing/2014/main" id="{7CE70B20-4DEA-72F7-97FD-777640FC890B}"/>
              </a:ext>
              <a:ext uri="{C183D7F6-B498-43B3-948B-1728B52AA6E4}">
                <adec:decorative xmlns:adec="http://schemas.microsoft.com/office/drawing/2017/decorative" val="1"/>
              </a:ext>
            </a:extLst>
          </p:cNvPr>
          <p:cNvSpPr>
            <a:spLocks noChangeAspect="1" noEditPoints="1"/>
          </p:cNvSpPr>
          <p:nvPr userDrawn="1"/>
        </p:nvSpPr>
        <p:spPr bwMode="gray">
          <a:xfrm>
            <a:off x="10750523" y="261274"/>
            <a:ext cx="1017600" cy="375911"/>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bg1"/>
          </a:solidFill>
          <a:ln w="9525">
            <a:noFill/>
            <a:round/>
            <a:headEnd/>
            <a:tailEnd/>
          </a:ln>
        </p:spPr>
        <p:txBody>
          <a:bodyPr/>
          <a:lstStyle/>
          <a:p>
            <a:endParaRPr lang="en-GB" sz="1777" noProof="0" dirty="0">
              <a:latin typeface="Arial" panose="020B0604020202020204" pitchFamily="34" charset="0"/>
            </a:endParaRPr>
          </a:p>
        </p:txBody>
      </p:sp>
      <p:sp>
        <p:nvSpPr>
          <p:cNvPr id="5" name="Number"/>
          <p:cNvSpPr>
            <a:spLocks noGrp="1"/>
          </p:cNvSpPr>
          <p:nvPr>
            <p:ph type="body" idx="1" hasCustomPrompt="1"/>
          </p:nvPr>
        </p:nvSpPr>
        <p:spPr bwMode="gray">
          <a:xfrm>
            <a:off x="395926" y="366522"/>
            <a:ext cx="2672171" cy="945042"/>
          </a:xfrm>
        </p:spPr>
        <p:txBody>
          <a:bodyPr wrap="none" lIns="0" tIns="0" rIns="0" bIns="0" anchor="t" anchorCtr="0"/>
          <a:lstStyle>
            <a:lvl1pPr marL="0" indent="0" algn="l" rtl="0" fontAlgn="base">
              <a:lnSpc>
                <a:spcPct val="100000"/>
              </a:lnSpc>
              <a:spcBef>
                <a:spcPts val="0"/>
              </a:spcBef>
              <a:spcAft>
                <a:spcPct val="0"/>
              </a:spcAft>
              <a:buClrTx/>
              <a:buFontTx/>
              <a:buNone/>
              <a:defRPr lang="en-US" sz="3800" b="0" strike="noStrike" kern="0" spc="0" baseline="0" dirty="0" smtClean="0">
                <a:solidFill>
                  <a:schemeClr val="accent1"/>
                </a:solidFill>
                <a:latin typeface="Arial" panose="020B0604020202020204" pitchFamily="34" charset="0"/>
                <a:ea typeface="+mn-ea"/>
                <a:cs typeface="+mn-cs"/>
              </a:defRPr>
            </a:lvl1pPr>
            <a:lvl2pPr marL="519488" indent="0">
              <a:buNone/>
              <a:defRPr sz="2000"/>
            </a:lvl2pPr>
            <a:lvl3pPr marL="1038977" indent="0">
              <a:buNone/>
              <a:defRPr sz="1867"/>
            </a:lvl3pPr>
            <a:lvl4pPr marL="1558465" indent="0">
              <a:buNone/>
              <a:defRPr sz="1600"/>
            </a:lvl4pPr>
            <a:lvl5pPr marL="2077952" indent="0">
              <a:buNone/>
              <a:defRPr sz="1600"/>
            </a:lvl5pPr>
            <a:lvl6pPr marL="2597440" indent="0">
              <a:buNone/>
              <a:defRPr sz="1600"/>
            </a:lvl6pPr>
            <a:lvl7pPr marL="3116929" indent="0">
              <a:buNone/>
              <a:defRPr sz="1600"/>
            </a:lvl7pPr>
            <a:lvl8pPr marL="3636417" indent="0">
              <a:buNone/>
              <a:defRPr sz="1600"/>
            </a:lvl8pPr>
            <a:lvl9pPr marL="4155905" indent="0">
              <a:buNone/>
              <a:defRPr sz="1600"/>
            </a:lvl9pPr>
          </a:lstStyle>
          <a:p>
            <a:pPr lvl="0"/>
            <a:r>
              <a:rPr lang="en-GB" noProof="0" dirty="0"/>
              <a:t>01</a:t>
            </a:r>
          </a:p>
        </p:txBody>
      </p:sp>
      <p:sp>
        <p:nvSpPr>
          <p:cNvPr id="4" name="Title">
            <a:extLst>
              <a:ext uri="{FF2B5EF4-FFF2-40B4-BE49-F238E27FC236}">
                <a16:creationId xmlns:a16="http://schemas.microsoft.com/office/drawing/2014/main" id="{92FB9740-B6E1-43C9-22E6-1A290E5C9594}"/>
              </a:ext>
            </a:extLst>
          </p:cNvPr>
          <p:cNvSpPr>
            <a:spLocks noGrp="1"/>
          </p:cNvSpPr>
          <p:nvPr>
            <p:ph type="title" hasCustomPrompt="1"/>
          </p:nvPr>
        </p:nvSpPr>
        <p:spPr bwMode="gray">
          <a:xfrm>
            <a:off x="395926" y="1897545"/>
            <a:ext cx="11378316" cy="1495264"/>
          </a:xfrm>
        </p:spPr>
        <p:txBody>
          <a:bodyPr anchor="b" anchorCtr="0"/>
          <a:lstStyle>
            <a:lvl1pPr marL="0" indent="0" algn="l">
              <a:buFont typeface="Wingdings" panose="05000000000000000000" pitchFamily="2" charset="2"/>
              <a:buNone/>
              <a:defRPr lang="en-US" sz="8500" b="0" kern="1200" dirty="0" smtClean="0">
                <a:solidFill>
                  <a:schemeClr val="accent1"/>
                </a:solidFill>
                <a:latin typeface="Arial" panose="020B0604020202020204" pitchFamily="34" charset="0"/>
                <a:ea typeface="+mn-ea"/>
                <a:cs typeface="+mn-cs"/>
              </a:defRPr>
            </a:lvl1pPr>
          </a:lstStyle>
          <a:p>
            <a:r>
              <a:rPr lang="en-GB" noProof="0" dirty="0"/>
              <a:t>Name of chapter</a:t>
            </a:r>
          </a:p>
        </p:txBody>
      </p:sp>
      <p:sp>
        <p:nvSpPr>
          <p:cNvPr id="7" name="Subtitle">
            <a:extLst>
              <a:ext uri="{FF2B5EF4-FFF2-40B4-BE49-F238E27FC236}">
                <a16:creationId xmlns:a16="http://schemas.microsoft.com/office/drawing/2014/main" id="{28955D04-FE4B-9BBC-6AE5-26F4AF48A5FA}"/>
              </a:ext>
            </a:extLst>
          </p:cNvPr>
          <p:cNvSpPr>
            <a:spLocks noGrp="1"/>
          </p:cNvSpPr>
          <p:nvPr>
            <p:ph type="body" sz="quarter" idx="16" hasCustomPrompt="1"/>
          </p:nvPr>
        </p:nvSpPr>
        <p:spPr>
          <a:xfrm>
            <a:off x="4297042" y="3421520"/>
            <a:ext cx="7477200" cy="1177245"/>
          </a:xfrm>
        </p:spPr>
        <p:txBody>
          <a:bodyPr anchor="t">
            <a:spAutoFit/>
          </a:bodyPr>
          <a:lstStyle>
            <a:lvl1pPr marL="0" indent="0">
              <a:lnSpc>
                <a:spcPct val="90000"/>
              </a:lnSpc>
              <a:spcBef>
                <a:spcPts val="0"/>
              </a:spcBef>
              <a:spcAft>
                <a:spcPts val="0"/>
              </a:spcAft>
              <a:buNone/>
              <a:defRPr sz="8500">
                <a:solidFill>
                  <a:schemeClr val="bg1"/>
                </a:solidFill>
              </a:defRPr>
            </a:lvl1pPr>
          </a:lstStyle>
          <a:p>
            <a:pPr lvl="0"/>
            <a:r>
              <a:rPr lang="en-GB"/>
              <a:t>Subtitle</a:t>
            </a:r>
            <a:endParaRPr lang="en-GB" dirty="0"/>
          </a:p>
        </p:txBody>
      </p:sp>
      <p:sp>
        <p:nvSpPr>
          <p:cNvPr id="3" name="Slide number">
            <a:extLst>
              <a:ext uri="{FF2B5EF4-FFF2-40B4-BE49-F238E27FC236}">
                <a16:creationId xmlns:a16="http://schemas.microsoft.com/office/drawing/2014/main" id="{68FB5753-3FFF-ADDF-50DD-756C8A6482F0}"/>
              </a:ext>
            </a:extLst>
          </p:cNvPr>
          <p:cNvSpPr txBox="1"/>
          <p:nvPr userDrawn="1"/>
        </p:nvSpPr>
        <p:spPr>
          <a:xfrm>
            <a:off x="10271640" y="6526800"/>
            <a:ext cx="1496483" cy="84139"/>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bg1"/>
                </a:solidFill>
                <a:latin typeface="Arial" panose="020B0604020202020204" pitchFamily="34" charset="0"/>
              </a:rPr>
              <a:pPr lvl="0"/>
              <a:t>‹#›</a:t>
            </a:fld>
            <a:endParaRPr lang="en-GB" sz="800" baseline="0" noProof="0" dirty="0">
              <a:solidFill>
                <a:schemeClr val="bg1"/>
              </a:solidFill>
              <a:latin typeface="Arial" panose="020B0604020202020204" pitchFamily="34" charset="0"/>
            </a:endParaRPr>
          </a:p>
        </p:txBody>
      </p:sp>
    </p:spTree>
    <p:extLst>
      <p:ext uri="{BB962C8B-B14F-4D97-AF65-F5344CB8AC3E}">
        <p14:creationId xmlns:p14="http://schemas.microsoft.com/office/powerpoint/2010/main" val="6797018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_2_Dark Blue">
    <p:bg>
      <p:bgPr>
        <a:solidFill>
          <a:schemeClr val="accent1"/>
        </a:solidFill>
        <a:effectLst/>
      </p:bgPr>
    </p:bg>
    <p:spTree>
      <p:nvGrpSpPr>
        <p:cNvPr id="1" name=""/>
        <p:cNvGrpSpPr/>
        <p:nvPr/>
      </p:nvGrpSpPr>
      <p:grpSpPr>
        <a:xfrm>
          <a:off x="0" y="0"/>
          <a:ext cx="0" cy="0"/>
          <a:chOff x="0" y="0"/>
          <a:chExt cx="0" cy="0"/>
        </a:xfrm>
      </p:grpSpPr>
      <p:sp>
        <p:nvSpPr>
          <p:cNvPr id="2" name="Logo Allianz Global Investors">
            <a:extLst>
              <a:ext uri="{FF2B5EF4-FFF2-40B4-BE49-F238E27FC236}">
                <a16:creationId xmlns:a16="http://schemas.microsoft.com/office/drawing/2014/main" id="{63EBFA2E-919D-D649-9362-C89EC0495715}"/>
              </a:ext>
              <a:ext uri="{C183D7F6-B498-43B3-948B-1728B52AA6E4}">
                <adec:decorative xmlns:adec="http://schemas.microsoft.com/office/drawing/2017/decorative" val="1"/>
              </a:ext>
            </a:extLst>
          </p:cNvPr>
          <p:cNvSpPr>
            <a:spLocks noEditPoints="1"/>
          </p:cNvSpPr>
          <p:nvPr userDrawn="1"/>
        </p:nvSpPr>
        <p:spPr bwMode="gray">
          <a:xfrm>
            <a:off x="10756888" y="261274"/>
            <a:ext cx="1017600" cy="375911"/>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bg1"/>
          </a:solidFill>
          <a:ln w="9525">
            <a:noFill/>
            <a:round/>
            <a:headEnd/>
            <a:tailEnd/>
          </a:ln>
        </p:spPr>
        <p:txBody>
          <a:bodyPr>
            <a:noAutofit/>
          </a:bodyPr>
          <a:lstStyle/>
          <a:p>
            <a:endParaRPr lang="en-GB" sz="1777" noProof="0" dirty="0">
              <a:latin typeface="Arial" panose="020B0604020202020204" pitchFamily="34" charset="0"/>
            </a:endParaRPr>
          </a:p>
        </p:txBody>
      </p:sp>
      <p:sp>
        <p:nvSpPr>
          <p:cNvPr id="6" name="Title"/>
          <p:cNvSpPr>
            <a:spLocks noGrp="1"/>
          </p:cNvSpPr>
          <p:nvPr>
            <p:ph type="title" hasCustomPrompt="1"/>
          </p:nvPr>
        </p:nvSpPr>
        <p:spPr bwMode="gray">
          <a:xfrm>
            <a:off x="-240000" y="1051725"/>
            <a:ext cx="12672000" cy="2769989"/>
          </a:xfrm>
          <a:noFill/>
          <a:ln w="9525">
            <a:noFill/>
            <a:miter lim="800000"/>
            <a:headEnd/>
            <a:tailEnd/>
          </a:ln>
          <a:effectLst/>
        </p:spPr>
        <p:txBody>
          <a:bodyPr vert="horz" wrap="square" lIns="0" tIns="0" rIns="0" bIns="0" numCol="1" anchor="b" anchorCtr="0" compatLnSpc="1">
            <a:prstTxWarp prst="textNoShape">
              <a:avLst/>
            </a:prstTxWarp>
            <a:noAutofit/>
          </a:bodyPr>
          <a:lstStyle>
            <a:lvl1pPr algn="r">
              <a:defRPr lang="en-GB" sz="20000" b="0" kern="1200" noProof="0" dirty="0">
                <a:solidFill>
                  <a:schemeClr val="bg1"/>
                </a:solidFill>
                <a:ea typeface="+mn-ea"/>
                <a:cs typeface="+mn-cs"/>
              </a:defRPr>
            </a:lvl1pPr>
          </a:lstStyle>
          <a:p>
            <a:pPr marL="0" lvl="0" indent="0">
              <a:lnSpc>
                <a:spcPct val="90000"/>
              </a:lnSpc>
              <a:buFont typeface="Wingdings" panose="05000000000000000000" pitchFamily="2" charset="2"/>
              <a:buNone/>
            </a:pPr>
            <a:r>
              <a:rPr lang="en-GB" noProof="0" dirty="0"/>
              <a:t>Chapter</a:t>
            </a:r>
          </a:p>
        </p:txBody>
      </p:sp>
      <p:sp>
        <p:nvSpPr>
          <p:cNvPr id="7" name="Subtitle">
            <a:extLst>
              <a:ext uri="{FF2B5EF4-FFF2-40B4-BE49-F238E27FC236}">
                <a16:creationId xmlns:a16="http://schemas.microsoft.com/office/drawing/2014/main" id="{1B412F4F-CB72-D038-184D-90A9D2CC94FD}"/>
              </a:ext>
            </a:extLst>
          </p:cNvPr>
          <p:cNvSpPr>
            <a:spLocks noGrp="1"/>
          </p:cNvSpPr>
          <p:nvPr>
            <p:ph type="body" sz="quarter" idx="16" hasCustomPrompt="1"/>
          </p:nvPr>
        </p:nvSpPr>
        <p:spPr>
          <a:xfrm>
            <a:off x="-240000" y="3526296"/>
            <a:ext cx="12672000" cy="2769989"/>
          </a:xfrm>
        </p:spPr>
        <p:txBody>
          <a:bodyPr wrap="square" anchor="t">
            <a:noAutofit/>
          </a:bodyPr>
          <a:lstStyle>
            <a:lvl1pPr marL="0" indent="0" algn="l">
              <a:lnSpc>
                <a:spcPct val="90000"/>
              </a:lnSpc>
              <a:spcBef>
                <a:spcPts val="0"/>
              </a:spcBef>
              <a:spcAft>
                <a:spcPts val="0"/>
              </a:spcAft>
              <a:buNone/>
              <a:defRPr sz="20000">
                <a:solidFill>
                  <a:schemeClr val="accent4"/>
                </a:solidFill>
              </a:defRPr>
            </a:lvl1pPr>
          </a:lstStyle>
          <a:p>
            <a:pPr lvl="0"/>
            <a:r>
              <a:rPr lang="en-GB"/>
              <a:t>divider</a:t>
            </a:r>
            <a:endParaRPr lang="en-GB" dirty="0"/>
          </a:p>
        </p:txBody>
      </p:sp>
      <p:sp>
        <p:nvSpPr>
          <p:cNvPr id="4" name="Slide number">
            <a:extLst>
              <a:ext uri="{FF2B5EF4-FFF2-40B4-BE49-F238E27FC236}">
                <a16:creationId xmlns:a16="http://schemas.microsoft.com/office/drawing/2014/main" id="{81319F0B-C0E6-7315-D5CA-7C27220555E0}"/>
              </a:ext>
            </a:extLst>
          </p:cNvPr>
          <p:cNvSpPr txBox="1"/>
          <p:nvPr userDrawn="1"/>
        </p:nvSpPr>
        <p:spPr>
          <a:xfrm>
            <a:off x="10278006"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bg1"/>
                </a:solidFill>
                <a:latin typeface="Arial" panose="020B0604020202020204" pitchFamily="34" charset="0"/>
              </a:rPr>
              <a:pPr lvl="0"/>
              <a:t>‹#›</a:t>
            </a:fld>
            <a:endParaRPr lang="en-GB" sz="800" baseline="0" noProof="0" dirty="0">
              <a:solidFill>
                <a:schemeClr val="bg1"/>
              </a:solidFill>
              <a:latin typeface="Arial" panose="020B0604020202020204" pitchFamily="34" charset="0"/>
            </a:endParaRPr>
          </a:p>
        </p:txBody>
      </p:sp>
    </p:spTree>
    <p:extLst>
      <p:ext uri="{BB962C8B-B14F-4D97-AF65-F5344CB8AC3E}">
        <p14:creationId xmlns:p14="http://schemas.microsoft.com/office/powerpoint/2010/main" val="13891120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_2_White">
    <p:bg>
      <p:bgPr>
        <a:solidFill>
          <a:schemeClr val="bg1"/>
        </a:solidFill>
        <a:effectLst/>
      </p:bgPr>
    </p:bg>
    <p:spTree>
      <p:nvGrpSpPr>
        <p:cNvPr id="1" name=""/>
        <p:cNvGrpSpPr/>
        <p:nvPr/>
      </p:nvGrpSpPr>
      <p:grpSpPr>
        <a:xfrm>
          <a:off x="0" y="0"/>
          <a:ext cx="0" cy="0"/>
          <a:chOff x="0" y="0"/>
          <a:chExt cx="0" cy="0"/>
        </a:xfrm>
      </p:grpSpPr>
      <p:sp>
        <p:nvSpPr>
          <p:cNvPr id="6" name="Title"/>
          <p:cNvSpPr>
            <a:spLocks noGrp="1"/>
          </p:cNvSpPr>
          <p:nvPr>
            <p:ph type="title" hasCustomPrompt="1"/>
          </p:nvPr>
        </p:nvSpPr>
        <p:spPr bwMode="gray">
          <a:xfrm>
            <a:off x="-240000" y="1051725"/>
            <a:ext cx="12672000" cy="2769989"/>
          </a:xfrm>
          <a:noFill/>
          <a:ln w="9525">
            <a:noFill/>
            <a:miter lim="800000"/>
            <a:headEnd/>
            <a:tailEnd/>
          </a:ln>
          <a:effectLst/>
        </p:spPr>
        <p:txBody>
          <a:bodyPr vert="horz" wrap="square" lIns="0" tIns="0" rIns="0" bIns="0" numCol="1" anchor="b" anchorCtr="0" compatLnSpc="1">
            <a:prstTxWarp prst="textNoShape">
              <a:avLst/>
            </a:prstTxWarp>
          </a:bodyPr>
          <a:lstStyle>
            <a:lvl1pPr algn="r">
              <a:defRPr lang="en-GB" sz="20000" b="0" kern="1200" noProof="0" dirty="0">
                <a:solidFill>
                  <a:schemeClr val="tx2"/>
                </a:solidFill>
                <a:ea typeface="+mn-ea"/>
                <a:cs typeface="+mn-cs"/>
              </a:defRPr>
            </a:lvl1pPr>
          </a:lstStyle>
          <a:p>
            <a:pPr marL="0" lvl="0" indent="0">
              <a:lnSpc>
                <a:spcPct val="90000"/>
              </a:lnSpc>
              <a:buFont typeface="Wingdings" panose="05000000000000000000" pitchFamily="2" charset="2"/>
              <a:buNone/>
            </a:pPr>
            <a:r>
              <a:rPr lang="en-GB" noProof="0" dirty="0"/>
              <a:t>Chapter</a:t>
            </a:r>
          </a:p>
        </p:txBody>
      </p:sp>
      <p:sp>
        <p:nvSpPr>
          <p:cNvPr id="7" name="Subtitle">
            <a:extLst>
              <a:ext uri="{FF2B5EF4-FFF2-40B4-BE49-F238E27FC236}">
                <a16:creationId xmlns:a16="http://schemas.microsoft.com/office/drawing/2014/main" id="{1B412F4F-CB72-D038-184D-90A9D2CC94FD}"/>
              </a:ext>
            </a:extLst>
          </p:cNvPr>
          <p:cNvSpPr>
            <a:spLocks noGrp="1"/>
          </p:cNvSpPr>
          <p:nvPr>
            <p:ph type="body" sz="quarter" idx="16" hasCustomPrompt="1"/>
          </p:nvPr>
        </p:nvSpPr>
        <p:spPr>
          <a:xfrm>
            <a:off x="-240000" y="3526295"/>
            <a:ext cx="12672000" cy="2769989"/>
          </a:xfrm>
        </p:spPr>
        <p:txBody>
          <a:bodyPr wrap="square" anchor="t">
            <a:spAutoFit/>
          </a:bodyPr>
          <a:lstStyle>
            <a:lvl1pPr marL="0" indent="0" algn="l">
              <a:lnSpc>
                <a:spcPct val="90000"/>
              </a:lnSpc>
              <a:spcBef>
                <a:spcPts val="0"/>
              </a:spcBef>
              <a:spcAft>
                <a:spcPts val="0"/>
              </a:spcAft>
              <a:buNone/>
              <a:defRPr sz="20000">
                <a:solidFill>
                  <a:schemeClr val="accent4"/>
                </a:solidFill>
              </a:defRPr>
            </a:lvl1pPr>
          </a:lstStyle>
          <a:p>
            <a:pPr lvl="0"/>
            <a:r>
              <a:rPr lang="en-GB"/>
              <a:t>divider</a:t>
            </a:r>
            <a:endParaRPr lang="en-GB" dirty="0"/>
          </a:p>
        </p:txBody>
      </p:sp>
    </p:spTree>
    <p:extLst>
      <p:ext uri="{BB962C8B-B14F-4D97-AF65-F5344CB8AC3E}">
        <p14:creationId xmlns:p14="http://schemas.microsoft.com/office/powerpoint/2010/main" val="1779511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Header_Blue_Big">
    <p:bg>
      <p:bgPr>
        <a:solidFill>
          <a:schemeClr val="accent4"/>
        </a:solidFill>
        <a:effectLst/>
      </p:bgPr>
    </p:bg>
    <p:spTree>
      <p:nvGrpSpPr>
        <p:cNvPr id="1" name=""/>
        <p:cNvGrpSpPr/>
        <p:nvPr/>
      </p:nvGrpSpPr>
      <p:grpSpPr>
        <a:xfrm>
          <a:off x="0" y="0"/>
          <a:ext cx="0" cy="0"/>
          <a:chOff x="0" y="0"/>
          <a:chExt cx="0" cy="0"/>
        </a:xfrm>
      </p:grpSpPr>
      <p:sp>
        <p:nvSpPr>
          <p:cNvPr id="14" name="Logo Allianz Global Investors">
            <a:extLst>
              <a:ext uri="{FF2B5EF4-FFF2-40B4-BE49-F238E27FC236}">
                <a16:creationId xmlns:a16="http://schemas.microsoft.com/office/drawing/2014/main" id="{BBEBCACA-42B6-4509-B91B-DBF262BDE135}"/>
              </a:ext>
              <a:ext uri="{C183D7F6-B498-43B3-948B-1728B52AA6E4}">
                <adec:decorative xmlns:adec="http://schemas.microsoft.com/office/drawing/2017/decorative" val="1"/>
              </a:ext>
            </a:extLst>
          </p:cNvPr>
          <p:cNvSpPr>
            <a:spLocks noChangeAspect="1" noEditPoints="1"/>
          </p:cNvSpPr>
          <p:nvPr userDrawn="1"/>
        </p:nvSpPr>
        <p:spPr bwMode="gray">
          <a:xfrm>
            <a:off x="10750523" y="261274"/>
            <a:ext cx="1017600" cy="375911"/>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bg1"/>
          </a:solidFill>
          <a:ln w="9525">
            <a:noFill/>
            <a:round/>
            <a:headEnd/>
            <a:tailEnd/>
          </a:ln>
        </p:spPr>
        <p:txBody>
          <a:bodyPr/>
          <a:lstStyle/>
          <a:p>
            <a:endParaRPr lang="en-GB" sz="1777" noProof="0" dirty="0">
              <a:latin typeface="Arial" panose="020B0604020202020204" pitchFamily="34" charset="0"/>
            </a:endParaRPr>
          </a:p>
        </p:txBody>
      </p:sp>
      <p:sp>
        <p:nvSpPr>
          <p:cNvPr id="6" name="Title"/>
          <p:cNvSpPr>
            <a:spLocks noGrp="1"/>
          </p:cNvSpPr>
          <p:nvPr>
            <p:ph type="title" hasCustomPrompt="1"/>
          </p:nvPr>
        </p:nvSpPr>
        <p:spPr bwMode="gray">
          <a:xfrm>
            <a:off x="-393667" y="3330430"/>
            <a:ext cx="12963038" cy="1326987"/>
          </a:xfrm>
        </p:spPr>
        <p:txBody>
          <a:bodyPr anchor="ctr" anchorCtr="0"/>
          <a:lstStyle>
            <a:lvl1pPr marL="0" indent="0" algn="l">
              <a:lnSpc>
                <a:spcPts val="20000"/>
              </a:lnSpc>
              <a:buFont typeface="Wingdings" panose="05000000000000000000" pitchFamily="2" charset="2"/>
              <a:buNone/>
              <a:tabLst>
                <a:tab pos="1968500" algn="l"/>
                <a:tab pos="12623800" algn="r"/>
              </a:tabLst>
              <a:defRPr lang="en-US" sz="25000" b="0" kern="1200" dirty="0" smtClean="0">
                <a:solidFill>
                  <a:schemeClr val="bg1"/>
                </a:solidFill>
                <a:latin typeface="Arial" panose="020B0604020202020204" pitchFamily="34" charset="0"/>
                <a:ea typeface="+mn-ea"/>
                <a:cs typeface="+mn-cs"/>
              </a:defRPr>
            </a:lvl1pPr>
          </a:lstStyle>
          <a:p>
            <a:r>
              <a:rPr lang="en-GB" noProof="0" dirty="0"/>
              <a:t>Chapter</a:t>
            </a:r>
          </a:p>
        </p:txBody>
      </p:sp>
      <p:sp>
        <p:nvSpPr>
          <p:cNvPr id="4" name="Slide number">
            <a:extLst>
              <a:ext uri="{FF2B5EF4-FFF2-40B4-BE49-F238E27FC236}">
                <a16:creationId xmlns:a16="http://schemas.microsoft.com/office/drawing/2014/main" id="{E5BE76D6-8E37-E919-EB21-AD8283F1DB32}"/>
              </a:ext>
            </a:extLst>
          </p:cNvPr>
          <p:cNvSpPr txBox="1"/>
          <p:nvPr userDrawn="1"/>
        </p:nvSpPr>
        <p:spPr>
          <a:xfrm>
            <a:off x="10271640" y="6526800"/>
            <a:ext cx="1496483" cy="84139"/>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bg1"/>
                </a:solidFill>
                <a:latin typeface="Arial" panose="020B0604020202020204" pitchFamily="34" charset="0"/>
              </a:rPr>
              <a:pPr lvl="0"/>
              <a:t>‹#›</a:t>
            </a:fld>
            <a:endParaRPr lang="en-GB" sz="800" baseline="0" noProof="0" dirty="0">
              <a:solidFill>
                <a:schemeClr val="bg1"/>
              </a:solidFill>
              <a:latin typeface="Arial" panose="020B0604020202020204" pitchFamily="34" charset="0"/>
            </a:endParaRPr>
          </a:p>
        </p:txBody>
      </p:sp>
    </p:spTree>
    <p:extLst>
      <p:ext uri="{BB962C8B-B14F-4D97-AF65-F5344CB8AC3E}">
        <p14:creationId xmlns:p14="http://schemas.microsoft.com/office/powerpoint/2010/main" val="2379199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261402D0-E3AC-C79D-399C-A396C8FB4A9B}"/>
              </a:ext>
            </a:extLst>
          </p:cNvPr>
          <p:cNvSpPr>
            <a:spLocks noGrp="1"/>
          </p:cNvSpPr>
          <p:nvPr>
            <p:ph type="title" hasCustomPrompt="1"/>
          </p:nvPr>
        </p:nvSpPr>
        <p:spPr>
          <a:xfrm>
            <a:off x="395926" y="637185"/>
            <a:ext cx="9944006" cy="791565"/>
          </a:xfrm>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8" name="Subheadline"/>
          <p:cNvSpPr>
            <a:spLocks noGrp="1"/>
          </p:cNvSpPr>
          <p:nvPr>
            <p:ph type="body" sz="quarter" idx="23" hasCustomPrompt="1"/>
          </p:nvPr>
        </p:nvSpPr>
        <p:spPr bwMode="gray">
          <a:xfrm>
            <a:off x="395926" y="159385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9" name="Content"/>
          <p:cNvSpPr>
            <a:spLocks noGrp="1"/>
          </p:cNvSpPr>
          <p:nvPr>
            <p:ph sz="quarter" idx="21" hasCustomPrompt="1"/>
          </p:nvPr>
        </p:nvSpPr>
        <p:spPr bwMode="gray">
          <a:xfrm>
            <a:off x="395926" y="2368800"/>
            <a:ext cx="11368800"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23670592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amp; disclaimer">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46A0190-290D-C6EE-0F04-82448A9333A9}"/>
              </a:ext>
            </a:extLst>
          </p:cNvPr>
          <p:cNvSpPr>
            <a:spLocks noGrp="1"/>
          </p:cNvSpPr>
          <p:nvPr>
            <p:ph type="title" hasCustomPrompt="1"/>
          </p:nvPr>
        </p:nvSpPr>
        <p:spPr>
          <a:xfrm>
            <a:off x="395926" y="637185"/>
            <a:ext cx="9944006" cy="791565"/>
          </a:xfrm>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20" name="Subheadline"/>
          <p:cNvSpPr>
            <a:spLocks noGrp="1"/>
          </p:cNvSpPr>
          <p:nvPr>
            <p:ph type="body" sz="quarter" idx="23" hasCustomPrompt="1"/>
          </p:nvPr>
        </p:nvSpPr>
        <p:spPr bwMode="gray">
          <a:xfrm>
            <a:off x="395926"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spcBef>
                <a:spcPts val="0"/>
              </a:spcBef>
              <a:spcAft>
                <a:spcPts val="0"/>
              </a:spcAft>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22" name="Second subheadline"/>
          <p:cNvSpPr>
            <a:spLocks noGrp="1"/>
          </p:cNvSpPr>
          <p:nvPr>
            <p:ph type="body" sz="quarter" idx="24" hasCustomPrompt="1"/>
          </p:nvPr>
        </p:nvSpPr>
        <p:spPr bwMode="gray">
          <a:xfrm>
            <a:off x="395926" y="1842087"/>
            <a:ext cx="11368800" cy="244800"/>
          </a:xfrm>
        </p:spPr>
        <p:txBody>
          <a:bodyPr/>
          <a:lstStyle>
            <a:lvl1pPr marL="0" indent="0">
              <a:spcBef>
                <a:spcPts val="0"/>
              </a:spcBef>
              <a:spcAft>
                <a:spcPts val="0"/>
              </a:spcAft>
              <a:buFont typeface="Arial" panose="020B0604020202020204" pitchFamily="34" charset="0"/>
              <a:buNone/>
              <a:defRPr/>
            </a:lvl1pPr>
          </a:lstStyle>
          <a:p>
            <a:pPr lvl="0"/>
            <a:r>
              <a:rPr lang="en-GB" noProof="0" dirty="0"/>
              <a:t>Second </a:t>
            </a:r>
            <a:r>
              <a:rPr lang="en-GB" noProof="0" dirty="0" err="1"/>
              <a:t>subheadline</a:t>
            </a:r>
            <a:r>
              <a:rPr lang="en-GB" noProof="0" dirty="0"/>
              <a:t>, if required (12 </a:t>
            </a:r>
            <a:r>
              <a:rPr lang="en-GB" noProof="0" dirty="0" err="1"/>
              <a:t>pt</a:t>
            </a:r>
            <a:r>
              <a:rPr lang="en-GB" noProof="0" dirty="0"/>
              <a:t>)</a:t>
            </a:r>
          </a:p>
        </p:txBody>
      </p:sp>
      <p:sp>
        <p:nvSpPr>
          <p:cNvPr id="13" name="Content"/>
          <p:cNvSpPr>
            <a:spLocks noGrp="1"/>
          </p:cNvSpPr>
          <p:nvPr>
            <p:ph sz="quarter" idx="21" hasCustomPrompt="1"/>
          </p:nvPr>
        </p:nvSpPr>
        <p:spPr bwMode="gray">
          <a:xfrm>
            <a:off x="395926" y="2368800"/>
            <a:ext cx="11368800"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Disclaimer"/>
          <p:cNvSpPr>
            <a:spLocks noGrp="1"/>
          </p:cNvSpPr>
          <p:nvPr>
            <p:ph type="body" sz="quarter" idx="22" hasCustomPrompt="1"/>
          </p:nvPr>
        </p:nvSpPr>
        <p:spPr bwMode="gray">
          <a:xfrm>
            <a:off x="395926" y="6235200"/>
            <a:ext cx="10636691" cy="374400"/>
          </a:xfrm>
        </p:spPr>
        <p:txBody>
          <a:bodyPr anchor="b"/>
          <a:lstStyle>
            <a:lvl1pPr marL="0" indent="0">
              <a:lnSpc>
                <a:spcPct val="100000"/>
              </a:lnSpc>
              <a:spcBef>
                <a:spcPts val="0"/>
              </a:spcBef>
              <a:spcAft>
                <a:spcPts val="0"/>
              </a:spcAft>
              <a:buNone/>
              <a:defRPr sz="800" baseline="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33598971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9B5922CD-B0C6-EA47-A9C0-28ABECA8B716}"/>
              </a:ext>
            </a:extLst>
          </p:cNvPr>
          <p:cNvSpPr>
            <a:spLocks noGrp="1"/>
          </p:cNvSpPr>
          <p:nvPr>
            <p:ph type="title" hasCustomPrompt="1"/>
          </p:nvPr>
        </p:nvSpPr>
        <p:spPr>
          <a:xfrm>
            <a:off x="395926" y="637185"/>
            <a:ext cx="9944006" cy="791565"/>
          </a:xfrm>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11" name="Content"/>
          <p:cNvSpPr>
            <a:spLocks noGrp="1"/>
          </p:cNvSpPr>
          <p:nvPr>
            <p:ph sz="quarter" idx="25" hasCustomPrompt="1"/>
          </p:nvPr>
        </p:nvSpPr>
        <p:spPr bwMode="gray">
          <a:xfrm>
            <a:off x="395926" y="2368800"/>
            <a:ext cx="11368800"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3159828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 Placeholder">
    <p:bg>
      <p:bgRef idx="1001">
        <a:schemeClr val="bg1"/>
      </p:bgRef>
    </p:bg>
    <p:spTree>
      <p:nvGrpSpPr>
        <p:cNvPr id="1" name=""/>
        <p:cNvGrpSpPr/>
        <p:nvPr/>
      </p:nvGrpSpPr>
      <p:grpSpPr>
        <a:xfrm>
          <a:off x="0" y="0"/>
          <a:ext cx="0" cy="0"/>
          <a:chOff x="0" y="0"/>
          <a:chExt cx="0" cy="0"/>
        </a:xfrm>
      </p:grpSpPr>
      <p:sp>
        <p:nvSpPr>
          <p:cNvPr id="6" name="Logo Allianz Global Investors">
            <a:extLst>
              <a:ext uri="{FF2B5EF4-FFF2-40B4-BE49-F238E27FC236}">
                <a16:creationId xmlns:a16="http://schemas.microsoft.com/office/drawing/2014/main" id="{319640D2-8113-AF02-22EB-4F6A640493A5}"/>
              </a:ext>
              <a:ext uri="{C183D7F6-B498-43B3-948B-1728B52AA6E4}">
                <adec:decorative xmlns:adec="http://schemas.microsoft.com/office/drawing/2017/decorative" val="1"/>
              </a:ext>
            </a:extLst>
          </p:cNvPr>
          <p:cNvSpPr>
            <a:spLocks noChangeAspect="1" noEditPoints="1"/>
          </p:cNvSpPr>
          <p:nvPr userDrawn="1"/>
        </p:nvSpPr>
        <p:spPr bwMode="gray">
          <a:xfrm>
            <a:off x="398770" y="475753"/>
            <a:ext cx="2059200" cy="76068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tx2"/>
          </a:solidFill>
          <a:ln w="9525">
            <a:noFill/>
            <a:round/>
            <a:headEnd/>
            <a:tailEnd/>
          </a:ln>
        </p:spPr>
        <p:txBody>
          <a:bodyPr/>
          <a:lstStyle/>
          <a:p>
            <a:endParaRPr lang="en-GB" sz="1777" noProof="0">
              <a:solidFill>
                <a:schemeClr val="bg1"/>
              </a:solidFill>
              <a:latin typeface="Arial" panose="020B0604020202020204" pitchFamily="34" charset="0"/>
            </a:endParaRPr>
          </a:p>
        </p:txBody>
      </p:sp>
      <p:sp>
        <p:nvSpPr>
          <p:cNvPr id="2" name="Picture">
            <a:extLst>
              <a:ext uri="{FF2B5EF4-FFF2-40B4-BE49-F238E27FC236}">
                <a16:creationId xmlns:a16="http://schemas.microsoft.com/office/drawing/2014/main" id="{CA01CBF8-E7CF-6CFE-C611-93B64BA9B62A}"/>
              </a:ext>
            </a:extLst>
          </p:cNvPr>
          <p:cNvSpPr>
            <a:spLocks noGrp="1"/>
          </p:cNvSpPr>
          <p:nvPr>
            <p:ph type="pic" sz="quarter" idx="10" hasCustomPrompt="1"/>
          </p:nvPr>
        </p:nvSpPr>
        <p:spPr>
          <a:xfrm>
            <a:off x="5334003" y="0"/>
            <a:ext cx="6857998" cy="6858000"/>
          </a:xfrm>
          <a:solidFill>
            <a:schemeClr val="bg2">
              <a:lumMod val="20000"/>
              <a:lumOff val="80000"/>
            </a:schemeClr>
          </a:solidFill>
        </p:spPr>
        <p:txBody>
          <a:bodyPr/>
          <a:lstStyle>
            <a:lvl1pPr marL="0" indent="0">
              <a:buNone/>
              <a:defRPr/>
            </a:lvl1pPr>
          </a:lstStyle>
          <a:p>
            <a:r>
              <a:rPr lang="en-GB" noProof="0"/>
              <a:t>Picture</a:t>
            </a:r>
          </a:p>
        </p:txBody>
      </p:sp>
      <p:sp>
        <p:nvSpPr>
          <p:cNvPr id="107" name="Title"/>
          <p:cNvSpPr>
            <a:spLocks noGrp="1"/>
          </p:cNvSpPr>
          <p:nvPr>
            <p:ph type="body" sz="quarter" idx="12" hasCustomPrompt="1"/>
          </p:nvPr>
        </p:nvSpPr>
        <p:spPr bwMode="gray">
          <a:xfrm>
            <a:off x="398770" y="2095848"/>
            <a:ext cx="4676400" cy="2308324"/>
          </a:xfrm>
        </p:spPr>
        <p:txBody>
          <a:bodyPr wrap="square" lIns="0" tIns="0" rIns="0" bIns="0" anchor="b">
            <a:spAutoFit/>
          </a:bodyPr>
          <a:lstStyle>
            <a:lvl1pPr marL="0" indent="0">
              <a:spcBef>
                <a:spcPts val="0"/>
              </a:spcBef>
              <a:spcAft>
                <a:spcPts val="0"/>
              </a:spcAft>
              <a:buNone/>
              <a:tabLst/>
              <a:defRPr sz="50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a:t>Title of the presentation</a:t>
            </a:r>
            <a:br>
              <a:rPr lang="en-GB" noProof="0"/>
            </a:br>
            <a:r>
              <a:rPr lang="en-GB" noProof="0"/>
              <a:t>(40–60 pt)</a:t>
            </a:r>
          </a:p>
        </p:txBody>
      </p:sp>
      <p:sp>
        <p:nvSpPr>
          <p:cNvPr id="48" name="Subtitle"/>
          <p:cNvSpPr>
            <a:spLocks noGrp="1"/>
          </p:cNvSpPr>
          <p:nvPr userDrawn="1">
            <p:ph type="body" sz="quarter" idx="14" hasCustomPrompt="1"/>
          </p:nvPr>
        </p:nvSpPr>
        <p:spPr bwMode="gray">
          <a:xfrm>
            <a:off x="398770" y="4810558"/>
            <a:ext cx="4676400" cy="430887"/>
          </a:xfrm>
        </p:spPr>
        <p:txBody>
          <a:bodyPr wrap="square" lIns="0" rIns="0" anchor="t">
            <a:spAutoFit/>
          </a:bodyPr>
          <a:lstStyle>
            <a:lvl1pPr marL="0" indent="0">
              <a:spcBef>
                <a:spcPts val="0"/>
              </a:spcBef>
              <a:spcAft>
                <a:spcPts val="0"/>
              </a:spcAft>
              <a:buNone/>
              <a:defRPr sz="1400">
                <a:solidFill>
                  <a:schemeClr val="tx2"/>
                </a:solidFill>
              </a:defRPr>
            </a:lvl1pPr>
          </a:lstStyle>
          <a:p>
            <a:pPr lvl="0"/>
            <a:r>
              <a:rPr lang="en-GB" noProof="0"/>
              <a:t>Subtitle of the presentation</a:t>
            </a:r>
          </a:p>
          <a:p>
            <a:pPr lvl="0"/>
            <a:r>
              <a:rPr lang="en-GB" noProof="0"/>
              <a:t>2nd line if required</a:t>
            </a:r>
          </a:p>
        </p:txBody>
      </p:sp>
      <p:sp>
        <p:nvSpPr>
          <p:cNvPr id="9" name="Author">
            <a:extLst>
              <a:ext uri="{FF2B5EF4-FFF2-40B4-BE49-F238E27FC236}">
                <a16:creationId xmlns:a16="http://schemas.microsoft.com/office/drawing/2014/main" id="{CD431CB0-D652-08F5-A443-7D4DA3405855}"/>
              </a:ext>
            </a:extLst>
          </p:cNvPr>
          <p:cNvSpPr>
            <a:spLocks noGrp="1"/>
          </p:cNvSpPr>
          <p:nvPr>
            <p:ph type="body" sz="quarter" idx="11" hasCustomPrompt="1"/>
          </p:nvPr>
        </p:nvSpPr>
        <p:spPr bwMode="gray">
          <a:xfrm>
            <a:off x="398769" y="6455679"/>
            <a:ext cx="2448000" cy="169277"/>
          </a:xfrm>
        </p:spPr>
        <p:txBody>
          <a:bodyPr wrap="square" anchor="b"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sz="1100"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a:t>Author</a:t>
            </a:r>
          </a:p>
        </p:txBody>
      </p:sp>
      <p:sp>
        <p:nvSpPr>
          <p:cNvPr id="8" name="Date">
            <a:extLst>
              <a:ext uri="{FF2B5EF4-FFF2-40B4-BE49-F238E27FC236}">
                <a16:creationId xmlns:a16="http://schemas.microsoft.com/office/drawing/2014/main" id="{4DDC2449-E994-D457-4068-E88278A54DCD}"/>
              </a:ext>
            </a:extLst>
          </p:cNvPr>
          <p:cNvSpPr>
            <a:spLocks noGrp="1"/>
          </p:cNvSpPr>
          <p:nvPr>
            <p:ph type="body" sz="quarter" idx="13" hasCustomPrompt="1"/>
          </p:nvPr>
        </p:nvSpPr>
        <p:spPr bwMode="gray">
          <a:xfrm>
            <a:off x="2969170" y="6455679"/>
            <a:ext cx="2073600" cy="169277"/>
          </a:xfrm>
        </p:spPr>
        <p:txBody>
          <a:bodyPr wrap="square" lIns="0" rIns="0" anchor="b">
            <a:spAutoFit/>
          </a:bodyPr>
          <a:lstStyle>
            <a:lvl1pPr marL="0" indent="0">
              <a:spcBef>
                <a:spcPts val="0"/>
              </a:spcBef>
              <a:spcAft>
                <a:spcPts val="0"/>
              </a:spcAft>
              <a:buNone/>
              <a:defRPr sz="1100">
                <a:solidFill>
                  <a:schemeClr val="tx2"/>
                </a:solidFill>
              </a:defRPr>
            </a:lvl1pPr>
          </a:lstStyle>
          <a:p>
            <a:pPr lvl="0"/>
            <a:r>
              <a:rPr lang="en-GB" noProof="0"/>
              <a:t>Date of the presentation</a:t>
            </a:r>
          </a:p>
        </p:txBody>
      </p:sp>
    </p:spTree>
    <p:extLst>
      <p:ext uri="{BB962C8B-B14F-4D97-AF65-F5344CB8AC3E}">
        <p14:creationId xmlns:p14="http://schemas.microsoft.com/office/powerpoint/2010/main" val="6247665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Disclaimer)">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B05FBD11-6813-4F50-A8FE-46B62CD568A4}"/>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11" name="Content"/>
          <p:cNvSpPr>
            <a:spLocks noGrp="1"/>
          </p:cNvSpPr>
          <p:nvPr>
            <p:ph sz="quarter" idx="25" hasCustomPrompt="1"/>
          </p:nvPr>
        </p:nvSpPr>
        <p:spPr bwMode="gray">
          <a:xfrm>
            <a:off x="395926" y="2368800"/>
            <a:ext cx="11368800"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 name="Disclaimer"/>
          <p:cNvSpPr>
            <a:spLocks noGrp="1"/>
          </p:cNvSpPr>
          <p:nvPr>
            <p:ph type="body" sz="quarter" idx="26" hasCustomPrompt="1"/>
          </p:nvPr>
        </p:nvSpPr>
        <p:spPr bwMode="gray">
          <a:xfrm>
            <a:off x="398770" y="6235200"/>
            <a:ext cx="10633847" cy="374400"/>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vl2pPr>
              <a:lnSpc>
                <a:spcPct val="100000"/>
              </a:lnSpc>
              <a:spcBef>
                <a:spcPts val="0"/>
              </a:spcBef>
              <a:spcAft>
                <a:spcPts val="0"/>
              </a:spcAft>
              <a:defRPr sz="933">
                <a:solidFill>
                  <a:srgbClr val="4D4D4D"/>
                </a:solidFill>
              </a:defRPr>
            </a:lvl2pPr>
            <a:lvl3pPr>
              <a:lnSpc>
                <a:spcPct val="100000"/>
              </a:lnSpc>
              <a:spcBef>
                <a:spcPts val="0"/>
              </a:spcBef>
              <a:spcAft>
                <a:spcPts val="0"/>
              </a:spcAft>
              <a:defRPr sz="933">
                <a:solidFill>
                  <a:srgbClr val="4D4D4D"/>
                </a:solidFill>
              </a:defRPr>
            </a:lvl3pPr>
            <a:lvl4pPr>
              <a:lnSpc>
                <a:spcPct val="100000"/>
              </a:lnSpc>
              <a:spcBef>
                <a:spcPts val="0"/>
              </a:spcBef>
              <a:spcAft>
                <a:spcPts val="0"/>
              </a:spcAft>
              <a:defRPr sz="933">
                <a:solidFill>
                  <a:srgbClr val="4D4D4D"/>
                </a:solidFill>
              </a:defRPr>
            </a:lvl4pPr>
            <a:lvl5pPr>
              <a:lnSpc>
                <a:spcPct val="100000"/>
              </a:lnSpc>
              <a:spcBef>
                <a:spcPts val="0"/>
              </a:spcBef>
              <a:spcAft>
                <a:spcPts val="0"/>
              </a:spcAft>
              <a:defRPr sz="933">
                <a:solidFill>
                  <a:srgbClr val="4D4D4D"/>
                </a:solidFill>
              </a:defRPr>
            </a:lvl5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3737912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Headline">
            <a:extLst>
              <a:ext uri="{FF2B5EF4-FFF2-40B4-BE49-F238E27FC236}">
                <a16:creationId xmlns:a16="http://schemas.microsoft.com/office/drawing/2014/main" id="{F0CC7F13-B086-486A-6A90-1EF8F29EA3E0}"/>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Tree>
    <p:extLst>
      <p:ext uri="{BB962C8B-B14F-4D97-AF65-F5344CB8AC3E}">
        <p14:creationId xmlns:p14="http://schemas.microsoft.com/office/powerpoint/2010/main" val="41879885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Disclaimer)">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D7161047-E189-2CD3-1A9B-F6BA57693F65}"/>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4"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4039060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subheading">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FDFF0946-318E-B6A5-FCEF-2A60063A09AD}"/>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6" name="Subheadline"/>
          <p:cNvSpPr>
            <a:spLocks noGrp="1"/>
          </p:cNvSpPr>
          <p:nvPr>
            <p:ph type="body" sz="quarter" idx="23"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Tree>
    <p:extLst>
      <p:ext uri="{BB962C8B-B14F-4D97-AF65-F5344CB8AC3E}">
        <p14:creationId xmlns:p14="http://schemas.microsoft.com/office/powerpoint/2010/main" val="3368808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with subheading (Disclaimer)">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10D70FA4-23D7-1473-B1EF-9869942717BE}"/>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6" name="Subheadline"/>
          <p:cNvSpPr>
            <a:spLocks noGrp="1"/>
          </p:cNvSpPr>
          <p:nvPr>
            <p:ph type="body" sz="quarter" idx="23"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7" name="Second Subheadline"/>
          <p:cNvSpPr>
            <a:spLocks noGrp="1"/>
          </p:cNvSpPr>
          <p:nvPr>
            <p:ph type="body" sz="quarter" idx="24" hasCustomPrompt="1"/>
          </p:nvPr>
        </p:nvSpPr>
        <p:spPr bwMode="gray">
          <a:xfrm>
            <a:off x="398770" y="1842087"/>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4" name="Disclaimer"/>
          <p:cNvSpPr>
            <a:spLocks noGrp="1"/>
          </p:cNvSpPr>
          <p:nvPr>
            <p:ph type="body" sz="quarter" idx="10" hasCustomPrompt="1"/>
          </p:nvPr>
        </p:nvSpPr>
        <p:spPr bwMode="gray">
          <a:xfrm>
            <a:off x="398770" y="6235200"/>
            <a:ext cx="10633847" cy="374400"/>
          </a:xfrm>
        </p:spPr>
        <p:txBody>
          <a:bodyPr anchor="b"/>
          <a:lstStyle>
            <a:lvl1pPr marL="0" indent="0">
              <a:lnSpc>
                <a:spcPct val="100000"/>
              </a:lnSpc>
              <a:spcBef>
                <a:spcPts val="0"/>
              </a:spcBef>
              <a:spcAft>
                <a:spcPts val="0"/>
              </a:spcAft>
              <a:buNone/>
              <a:defRPr sz="800" baseline="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339498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4187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Notepa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D34E58C7-F659-D8B6-3471-D0883B591E24}"/>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de-DE" dirty="0"/>
          </a:p>
        </p:txBody>
      </p:sp>
      <p:sp>
        <p:nvSpPr>
          <p:cNvPr id="11" name="Subheadline"/>
          <p:cNvSpPr>
            <a:spLocks noGrp="1"/>
          </p:cNvSpPr>
          <p:nvPr>
            <p:ph type="body" sz="quarter" idx="23"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12" name="Second Subheadline"/>
          <p:cNvSpPr>
            <a:spLocks noGrp="1"/>
          </p:cNvSpPr>
          <p:nvPr>
            <p:ph type="body" sz="quarter" idx="24" hasCustomPrompt="1"/>
          </p:nvPr>
        </p:nvSpPr>
        <p:spPr bwMode="gray">
          <a:xfrm>
            <a:off x="398770" y="1842087"/>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7" name="Content"/>
          <p:cNvSpPr>
            <a:spLocks noGrp="1"/>
          </p:cNvSpPr>
          <p:nvPr>
            <p:ph sz="quarter" idx="25" hasCustomPrompt="1"/>
          </p:nvPr>
        </p:nvSpPr>
        <p:spPr bwMode="gray">
          <a:xfrm>
            <a:off x="398770" y="2368800"/>
            <a:ext cx="8465830"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3"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14549978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08DC4367-1E97-CA90-A3E2-A7400751CE6D}"/>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de-DE" dirty="0"/>
          </a:p>
        </p:txBody>
      </p:sp>
      <p:sp>
        <p:nvSpPr>
          <p:cNvPr id="8" name="Subheadline"/>
          <p:cNvSpPr>
            <a:spLocks noGrp="1"/>
          </p:cNvSpPr>
          <p:nvPr>
            <p:ph type="body" sz="quarter" idx="24"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9" name="Second Subheadline"/>
          <p:cNvSpPr>
            <a:spLocks noGrp="1"/>
          </p:cNvSpPr>
          <p:nvPr>
            <p:ph type="body" sz="quarter" idx="25" hasCustomPrompt="1"/>
          </p:nvPr>
        </p:nvSpPr>
        <p:spPr bwMode="gray">
          <a:xfrm>
            <a:off x="398770" y="1842087"/>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4" name="Picture"/>
          <p:cNvSpPr>
            <a:spLocks noGrp="1"/>
          </p:cNvSpPr>
          <p:nvPr>
            <p:ph type="pic" sz="quarter" idx="23" hasCustomPrompt="1"/>
          </p:nvPr>
        </p:nvSpPr>
        <p:spPr bwMode="gray">
          <a:xfrm>
            <a:off x="398770" y="2368800"/>
            <a:ext cx="11368800" cy="37944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18"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35687831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images with text">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AAB36B10-A7D4-C9BA-9C2B-C4CDFC3E2794}"/>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9" name="Subheadline"/>
          <p:cNvSpPr>
            <a:spLocks noGrp="1"/>
          </p:cNvSpPr>
          <p:nvPr>
            <p:ph type="body" sz="quarter" idx="30"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10" name="Second subheadline"/>
          <p:cNvSpPr>
            <a:spLocks noGrp="1"/>
          </p:cNvSpPr>
          <p:nvPr>
            <p:ph type="body" sz="quarter" idx="31" hasCustomPrompt="1"/>
          </p:nvPr>
        </p:nvSpPr>
        <p:spPr bwMode="gray">
          <a:xfrm>
            <a:off x="398770" y="1842087"/>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4" name="Picture left"/>
          <p:cNvSpPr>
            <a:spLocks noGrp="1"/>
          </p:cNvSpPr>
          <p:nvPr>
            <p:ph type="pic" sz="quarter" idx="23" hasCustomPrompt="1"/>
          </p:nvPr>
        </p:nvSpPr>
        <p:spPr bwMode="gray">
          <a:xfrm>
            <a:off x="398770" y="2368800"/>
            <a:ext cx="5569476" cy="28800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7" name="Picture right"/>
          <p:cNvSpPr>
            <a:spLocks noGrp="1"/>
          </p:cNvSpPr>
          <p:nvPr>
            <p:ph type="pic" sz="quarter" idx="24" hasCustomPrompt="1"/>
          </p:nvPr>
        </p:nvSpPr>
        <p:spPr bwMode="gray">
          <a:xfrm>
            <a:off x="6198094" y="2368800"/>
            <a:ext cx="5569476" cy="28800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13" name="Text"/>
          <p:cNvSpPr>
            <a:spLocks noGrp="1"/>
          </p:cNvSpPr>
          <p:nvPr>
            <p:ph sz="quarter" idx="29" hasCustomPrompt="1"/>
          </p:nvPr>
        </p:nvSpPr>
        <p:spPr bwMode="gray">
          <a:xfrm>
            <a:off x="398770" y="5369302"/>
            <a:ext cx="11368800" cy="790199"/>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p:txBody>
      </p:sp>
      <p:sp>
        <p:nvSpPr>
          <p:cNvPr id="18"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36474573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2489358D-E7D3-4DA6-5276-C79B34F698F6}"/>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24" name="Subheadline"/>
          <p:cNvSpPr>
            <a:spLocks noGrp="1"/>
          </p:cNvSpPr>
          <p:nvPr>
            <p:ph type="body" sz="quarter" idx="30"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25" name="Second subheadline"/>
          <p:cNvSpPr>
            <a:spLocks noGrp="1"/>
          </p:cNvSpPr>
          <p:nvPr>
            <p:ph type="body" sz="quarter" idx="31" hasCustomPrompt="1"/>
          </p:nvPr>
        </p:nvSpPr>
        <p:spPr bwMode="gray">
          <a:xfrm>
            <a:off x="398770" y="1842087"/>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8" name="Picture 1"/>
          <p:cNvSpPr>
            <a:spLocks noGrp="1"/>
          </p:cNvSpPr>
          <p:nvPr>
            <p:ph type="pic" sz="quarter" idx="23" hasCustomPrompt="1"/>
          </p:nvPr>
        </p:nvSpPr>
        <p:spPr bwMode="gray">
          <a:xfrm>
            <a:off x="398770" y="2368800"/>
            <a:ext cx="2671753" cy="1800000"/>
          </a:xfrm>
        </p:spPr>
        <p:txBody>
          <a:bodyPr/>
          <a:lstStyle>
            <a:lvl1pPr marL="0" indent="0">
              <a:buNone/>
              <a:defRPr sz="933">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6" name="Picture 2"/>
          <p:cNvSpPr>
            <a:spLocks noGrp="1"/>
          </p:cNvSpPr>
          <p:nvPr>
            <p:ph type="pic" sz="quarter" idx="21" hasCustomPrompt="1"/>
          </p:nvPr>
        </p:nvSpPr>
        <p:spPr bwMode="gray">
          <a:xfrm>
            <a:off x="398770" y="4359011"/>
            <a:ext cx="2671753" cy="1800000"/>
          </a:xfrm>
        </p:spPr>
        <p:txBody>
          <a:bodyPr/>
          <a:lstStyle>
            <a:lvl1pPr marL="0" indent="0">
              <a:buNone/>
              <a:defRPr sz="933">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19" name="Content"/>
          <p:cNvSpPr>
            <a:spLocks noGrp="1"/>
          </p:cNvSpPr>
          <p:nvPr>
            <p:ph sz="quarter" idx="25" hasCustomPrompt="1"/>
          </p:nvPr>
        </p:nvSpPr>
        <p:spPr bwMode="gray">
          <a:xfrm>
            <a:off x="3289300" y="2368800"/>
            <a:ext cx="8485188"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1244441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Co-Branding">
    <p:bg>
      <p:bgRef idx="1001">
        <a:schemeClr val="bg1"/>
      </p:bgRef>
    </p:bg>
    <p:spTree>
      <p:nvGrpSpPr>
        <p:cNvPr id="1" name=""/>
        <p:cNvGrpSpPr/>
        <p:nvPr/>
      </p:nvGrpSpPr>
      <p:grpSpPr>
        <a:xfrm>
          <a:off x="0" y="0"/>
          <a:ext cx="0" cy="0"/>
          <a:chOff x="0" y="0"/>
          <a:chExt cx="0" cy="0"/>
        </a:xfrm>
      </p:grpSpPr>
      <p:sp>
        <p:nvSpPr>
          <p:cNvPr id="7" name="Logo Allianz Global Investors">
            <a:extLst>
              <a:ext uri="{FF2B5EF4-FFF2-40B4-BE49-F238E27FC236}">
                <a16:creationId xmlns:a16="http://schemas.microsoft.com/office/drawing/2014/main" id="{793D9694-6DAA-E002-E7C7-EAF0F887FB34}"/>
              </a:ext>
              <a:ext uri="{C183D7F6-B498-43B3-948B-1728B52AA6E4}">
                <adec:decorative xmlns:adec="http://schemas.microsoft.com/office/drawing/2017/decorative" val="1"/>
              </a:ext>
            </a:extLst>
          </p:cNvPr>
          <p:cNvSpPr>
            <a:spLocks noChangeAspect="1" noEditPoints="1"/>
          </p:cNvSpPr>
          <p:nvPr userDrawn="1"/>
        </p:nvSpPr>
        <p:spPr bwMode="gray">
          <a:xfrm>
            <a:off x="398770" y="475753"/>
            <a:ext cx="2059200" cy="76068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tx2"/>
          </a:solidFill>
          <a:ln w="9525">
            <a:noFill/>
            <a:round/>
            <a:headEnd/>
            <a:tailEnd/>
          </a:ln>
        </p:spPr>
        <p:txBody>
          <a:bodyPr/>
          <a:lstStyle/>
          <a:p>
            <a:endParaRPr lang="en-GB" sz="1777" noProof="0" dirty="0">
              <a:solidFill>
                <a:schemeClr val="bg1"/>
              </a:solidFill>
              <a:latin typeface="Arial" panose="020B0604020202020204" pitchFamily="34" charset="0"/>
            </a:endParaRPr>
          </a:p>
        </p:txBody>
      </p:sp>
      <p:sp>
        <p:nvSpPr>
          <p:cNvPr id="2" name="Picture">
            <a:extLst>
              <a:ext uri="{FF2B5EF4-FFF2-40B4-BE49-F238E27FC236}">
                <a16:creationId xmlns:a16="http://schemas.microsoft.com/office/drawing/2014/main" id="{CA01CBF8-E7CF-6CFE-C611-93B64BA9B62A}"/>
              </a:ext>
            </a:extLst>
          </p:cNvPr>
          <p:cNvSpPr>
            <a:spLocks noGrp="1"/>
          </p:cNvSpPr>
          <p:nvPr>
            <p:ph type="pic" sz="quarter" idx="10" hasCustomPrompt="1"/>
          </p:nvPr>
        </p:nvSpPr>
        <p:spPr>
          <a:xfrm>
            <a:off x="5334003" y="0"/>
            <a:ext cx="6857998" cy="6858000"/>
          </a:xfrm>
          <a:solidFill>
            <a:schemeClr val="bg2">
              <a:lumMod val="20000"/>
              <a:lumOff val="80000"/>
            </a:schemeClr>
          </a:solidFill>
        </p:spPr>
        <p:txBody>
          <a:bodyPr/>
          <a:lstStyle>
            <a:lvl1pPr marL="0" indent="0">
              <a:buNone/>
              <a:defRPr/>
            </a:lvl1pPr>
          </a:lstStyle>
          <a:p>
            <a:r>
              <a:rPr lang="en-GB"/>
              <a:t>Picture</a:t>
            </a:r>
            <a:endParaRPr lang="en-GB" dirty="0"/>
          </a:p>
        </p:txBody>
      </p:sp>
      <p:sp>
        <p:nvSpPr>
          <p:cNvPr id="107" name="Title"/>
          <p:cNvSpPr>
            <a:spLocks noGrp="1"/>
          </p:cNvSpPr>
          <p:nvPr>
            <p:ph type="body" sz="quarter" idx="12" hasCustomPrompt="1"/>
          </p:nvPr>
        </p:nvSpPr>
        <p:spPr bwMode="gray">
          <a:xfrm>
            <a:off x="398770" y="2095848"/>
            <a:ext cx="4676400" cy="2308324"/>
          </a:xfrm>
        </p:spPr>
        <p:txBody>
          <a:bodyPr wrap="square" lIns="0" tIns="0" rIns="0" bIns="0" anchor="b">
            <a:spAutoFit/>
          </a:bodyPr>
          <a:lstStyle>
            <a:lvl1pPr marL="0" indent="0">
              <a:spcBef>
                <a:spcPts val="0"/>
              </a:spcBef>
              <a:spcAft>
                <a:spcPts val="0"/>
              </a:spcAft>
              <a:buNone/>
              <a:tabLst/>
              <a:defRPr sz="50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40–60 </a:t>
            </a:r>
            <a:r>
              <a:rPr lang="en-GB" noProof="0" dirty="0" err="1"/>
              <a:t>pt</a:t>
            </a:r>
            <a:r>
              <a:rPr lang="en-GB" noProof="0" dirty="0"/>
              <a:t>)</a:t>
            </a:r>
          </a:p>
        </p:txBody>
      </p:sp>
      <p:sp>
        <p:nvSpPr>
          <p:cNvPr id="48" name="Subtitle"/>
          <p:cNvSpPr>
            <a:spLocks noGrp="1"/>
          </p:cNvSpPr>
          <p:nvPr userDrawn="1">
            <p:ph type="body" sz="quarter" idx="14" hasCustomPrompt="1"/>
          </p:nvPr>
        </p:nvSpPr>
        <p:spPr bwMode="gray">
          <a:xfrm>
            <a:off x="398770" y="4810558"/>
            <a:ext cx="4676400" cy="430887"/>
          </a:xfrm>
        </p:spPr>
        <p:txBody>
          <a:bodyPr wrap="square" lIns="0" rIns="0" anchor="t">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grpSp>
        <p:nvGrpSpPr>
          <p:cNvPr id="13" name="Logo" descr="Logo Co-Branding">
            <a:extLst>
              <a:ext uri="{FF2B5EF4-FFF2-40B4-BE49-F238E27FC236}">
                <a16:creationId xmlns:a16="http://schemas.microsoft.com/office/drawing/2014/main" id="{3110C375-A1FE-4C95-480C-7D028E0F2A72}"/>
              </a:ext>
            </a:extLst>
          </p:cNvPr>
          <p:cNvGrpSpPr/>
          <p:nvPr userDrawn="1"/>
        </p:nvGrpSpPr>
        <p:grpSpPr bwMode="gray">
          <a:xfrm>
            <a:off x="398770" y="5592397"/>
            <a:ext cx="1523830" cy="512330"/>
            <a:chOff x="3544910" y="6002251"/>
            <a:chExt cx="1523830" cy="512330"/>
          </a:xfrm>
        </p:grpSpPr>
        <p:sp>
          <p:nvSpPr>
            <p:cNvPr id="14" name="Ellipse 3">
              <a:extLst>
                <a:ext uri="{FF2B5EF4-FFF2-40B4-BE49-F238E27FC236}">
                  <a16:creationId xmlns:a16="http://schemas.microsoft.com/office/drawing/2014/main" id="{0048F675-E980-F5A1-8F2A-AC70908D3AB4}"/>
                </a:ext>
              </a:extLst>
            </p:cNvPr>
            <p:cNvSpPr/>
            <p:nvPr userDrawn="1"/>
          </p:nvSpPr>
          <p:spPr bwMode="gray">
            <a:xfrm>
              <a:off x="3551281" y="6002251"/>
              <a:ext cx="512330" cy="512330"/>
            </a:xfrm>
            <a:prstGeom prst="ellipse">
              <a:avLst/>
            </a:prstGeom>
            <a:solidFill>
              <a:schemeClr val="accent3"/>
            </a:solidFill>
            <a:ln w="63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r>
                <a:rPr kumimoji="0" lang="en-GB" sz="3000" b="0" i="0" u="none" strike="noStrike" cap="none" normalizeH="0" baseline="0" noProof="0" dirty="0">
                  <a:ln>
                    <a:noFill/>
                  </a:ln>
                  <a:solidFill>
                    <a:schemeClr val="bg1"/>
                  </a:solidFill>
                  <a:effectLst/>
                  <a:latin typeface="Arial" charset="0"/>
                </a:rPr>
                <a:t>CO</a:t>
              </a:r>
            </a:p>
          </p:txBody>
        </p:sp>
        <p:grpSp>
          <p:nvGrpSpPr>
            <p:cNvPr id="15" name="Gruppieren 4">
              <a:extLst>
                <a:ext uri="{FF2B5EF4-FFF2-40B4-BE49-F238E27FC236}">
                  <a16:creationId xmlns:a16="http://schemas.microsoft.com/office/drawing/2014/main" id="{43AFF250-E9A4-7DF0-7D44-24579F6FE56C}"/>
                </a:ext>
              </a:extLst>
            </p:cNvPr>
            <p:cNvGrpSpPr/>
            <p:nvPr userDrawn="1"/>
          </p:nvGrpSpPr>
          <p:grpSpPr bwMode="gray">
            <a:xfrm>
              <a:off x="3544910" y="6079550"/>
              <a:ext cx="1523830" cy="369332"/>
              <a:chOff x="3544910" y="6152092"/>
              <a:chExt cx="1523830" cy="369332"/>
            </a:xfrm>
          </p:grpSpPr>
          <p:sp>
            <p:nvSpPr>
              <p:cNvPr id="16" name="TextBox 2">
                <a:extLst>
                  <a:ext uri="{FF2B5EF4-FFF2-40B4-BE49-F238E27FC236}">
                    <a16:creationId xmlns:a16="http://schemas.microsoft.com/office/drawing/2014/main" id="{58E4C20E-B18D-44AA-5026-8ABCFD08A0CC}"/>
                  </a:ext>
                </a:extLst>
              </p:cNvPr>
              <p:cNvSpPr txBox="1"/>
              <p:nvPr userDrawn="1"/>
            </p:nvSpPr>
            <p:spPr bwMode="gray">
              <a:xfrm>
                <a:off x="4124571" y="6332141"/>
                <a:ext cx="65" cy="189283"/>
              </a:xfrm>
              <a:prstGeom prst="rect">
                <a:avLst/>
              </a:prstGeom>
            </p:spPr>
            <p:txBody>
              <a:bodyPr vert="horz" wrap="none" lIns="0" tIns="0" rIns="0" bIns="0" rtlCol="0" anchor="b">
                <a:spAutoFit/>
              </a:bodyPr>
              <a:lstStyle/>
              <a:p>
                <a:pPr algn="l"/>
                <a:endParaRPr lang="en-GB" sz="1230" b="1" noProof="0" dirty="0">
                  <a:solidFill>
                    <a:schemeClr val="accent2"/>
                  </a:solidFill>
                  <a:latin typeface="+mj-lt"/>
                  <a:ea typeface="Allianz Sans" panose="02000506030000020004" pitchFamily="2" charset="0"/>
                </a:endParaRPr>
              </a:p>
            </p:txBody>
          </p:sp>
          <p:sp>
            <p:nvSpPr>
              <p:cNvPr id="17" name="TextBox 2">
                <a:extLst>
                  <a:ext uri="{FF2B5EF4-FFF2-40B4-BE49-F238E27FC236}">
                    <a16:creationId xmlns:a16="http://schemas.microsoft.com/office/drawing/2014/main" id="{BC9340D7-D1C6-AB8E-4C28-BF29F3FED8B0}"/>
                  </a:ext>
                </a:extLst>
              </p:cNvPr>
              <p:cNvSpPr txBox="1"/>
              <p:nvPr userDrawn="1"/>
            </p:nvSpPr>
            <p:spPr bwMode="gray">
              <a:xfrm>
                <a:off x="4124571" y="6236317"/>
                <a:ext cx="944169" cy="189283"/>
              </a:xfrm>
              <a:prstGeom prst="rect">
                <a:avLst/>
              </a:prstGeom>
            </p:spPr>
            <p:txBody>
              <a:bodyPr vert="horz" wrap="none" lIns="0" tIns="0" rIns="0" bIns="0" rtlCol="0" anchor="b">
                <a:spAutoFit/>
              </a:bodyPr>
              <a:lstStyle/>
              <a:p>
                <a:pPr algn="l"/>
                <a:r>
                  <a:rPr lang="en-GB" sz="1230" b="1" noProof="0" dirty="0">
                    <a:solidFill>
                      <a:schemeClr val="accent3"/>
                    </a:solidFill>
                    <a:latin typeface="+mj-lt"/>
                    <a:ea typeface="Allianz Sans" panose="02000506030000020004" pitchFamily="2" charset="0"/>
                  </a:rPr>
                  <a:t>Co</a:t>
                </a:r>
                <a:r>
                  <a:rPr lang="en-GB" sz="1230" b="1" baseline="0" noProof="0" dirty="0">
                    <a:solidFill>
                      <a:schemeClr val="accent3"/>
                    </a:solidFill>
                    <a:latin typeface="+mj-lt"/>
                    <a:ea typeface="Allianz Sans" panose="02000506030000020004" pitchFamily="2" charset="0"/>
                  </a:rPr>
                  <a:t> </a:t>
                </a:r>
                <a:r>
                  <a:rPr lang="en-GB" sz="1230" b="1" noProof="0" dirty="0">
                    <a:solidFill>
                      <a:schemeClr val="accent3"/>
                    </a:solidFill>
                    <a:latin typeface="+mj-lt"/>
                    <a:ea typeface="Allianz Sans" panose="02000506030000020004" pitchFamily="2" charset="0"/>
                  </a:rPr>
                  <a:t>Branding</a:t>
                </a:r>
              </a:p>
            </p:txBody>
          </p:sp>
          <p:sp>
            <p:nvSpPr>
              <p:cNvPr id="18" name="TextBox 2">
                <a:extLst>
                  <a:ext uri="{FF2B5EF4-FFF2-40B4-BE49-F238E27FC236}">
                    <a16:creationId xmlns:a16="http://schemas.microsoft.com/office/drawing/2014/main" id="{9C3906F0-03A9-0F47-9FB7-67305380E584}"/>
                  </a:ext>
                </a:extLst>
              </p:cNvPr>
              <p:cNvSpPr txBox="1"/>
              <p:nvPr userDrawn="1"/>
            </p:nvSpPr>
            <p:spPr bwMode="gray">
              <a:xfrm>
                <a:off x="3544910" y="6152092"/>
                <a:ext cx="65" cy="369332"/>
              </a:xfrm>
              <a:prstGeom prst="rect">
                <a:avLst/>
              </a:prstGeom>
            </p:spPr>
            <p:txBody>
              <a:bodyPr vert="horz" wrap="none" lIns="0" tIns="0" rIns="0" bIns="0" rtlCol="0" anchor="b">
                <a:spAutoFit/>
              </a:bodyPr>
              <a:lstStyle/>
              <a:p>
                <a:pPr algn="l"/>
                <a:endParaRPr lang="en-GB" sz="2400" b="0" noProof="0" dirty="0">
                  <a:solidFill>
                    <a:schemeClr val="bg1"/>
                  </a:solidFill>
                  <a:latin typeface="+mj-lt"/>
                  <a:ea typeface="Allianz Sans" panose="02000506030000020004" pitchFamily="2" charset="0"/>
                </a:endParaRPr>
              </a:p>
            </p:txBody>
          </p:sp>
        </p:grpSp>
      </p:grpSp>
      <p:sp>
        <p:nvSpPr>
          <p:cNvPr id="20" name="Author">
            <a:extLst>
              <a:ext uri="{FF2B5EF4-FFF2-40B4-BE49-F238E27FC236}">
                <a16:creationId xmlns:a16="http://schemas.microsoft.com/office/drawing/2014/main" id="{5523F124-FFEF-1480-C75C-11F27492B2F3}"/>
              </a:ext>
            </a:extLst>
          </p:cNvPr>
          <p:cNvSpPr>
            <a:spLocks noGrp="1"/>
          </p:cNvSpPr>
          <p:nvPr>
            <p:ph type="body" sz="quarter" idx="11" hasCustomPrompt="1"/>
          </p:nvPr>
        </p:nvSpPr>
        <p:spPr bwMode="gray">
          <a:xfrm>
            <a:off x="398769" y="6455679"/>
            <a:ext cx="2448000" cy="169277"/>
          </a:xfrm>
        </p:spPr>
        <p:txBody>
          <a:bodyPr wrap="square" anchor="b"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sz="1100"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a:t>
            </a:r>
          </a:p>
        </p:txBody>
      </p:sp>
      <p:sp>
        <p:nvSpPr>
          <p:cNvPr id="19" name="Date">
            <a:extLst>
              <a:ext uri="{FF2B5EF4-FFF2-40B4-BE49-F238E27FC236}">
                <a16:creationId xmlns:a16="http://schemas.microsoft.com/office/drawing/2014/main" id="{40ECDD1D-17C5-894D-9D08-A4B66069BEC2}"/>
              </a:ext>
            </a:extLst>
          </p:cNvPr>
          <p:cNvSpPr>
            <a:spLocks noGrp="1"/>
          </p:cNvSpPr>
          <p:nvPr>
            <p:ph type="body" sz="quarter" idx="13" hasCustomPrompt="1"/>
          </p:nvPr>
        </p:nvSpPr>
        <p:spPr bwMode="gray">
          <a:xfrm>
            <a:off x="2969170" y="6455679"/>
            <a:ext cx="2073600" cy="169277"/>
          </a:xfrm>
        </p:spPr>
        <p:txBody>
          <a:bodyPr wrap="square" lIns="0" rIns="0" anchor="b">
            <a:spAutoFit/>
          </a:bodyPr>
          <a:lstStyle>
            <a:lvl1pPr marL="0" indent="0">
              <a:spcBef>
                <a:spcPts val="0"/>
              </a:spcBef>
              <a:spcAft>
                <a:spcPts val="0"/>
              </a:spcAft>
              <a:buNone/>
              <a:defRPr sz="1100">
                <a:solidFill>
                  <a:schemeClr val="tx2"/>
                </a:solidFill>
              </a:defRPr>
            </a:lvl1pPr>
          </a:lstStyle>
          <a:p>
            <a:pPr lvl="0"/>
            <a:r>
              <a:rPr lang="en-GB" noProof="0" dirty="0"/>
              <a:t>Date of the presentation</a:t>
            </a:r>
          </a:p>
        </p:txBody>
      </p:sp>
    </p:spTree>
    <p:extLst>
      <p:ext uri="{BB962C8B-B14F-4D97-AF65-F5344CB8AC3E}">
        <p14:creationId xmlns:p14="http://schemas.microsoft.com/office/powerpoint/2010/main" val="1399386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eadline"/>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p>
        </p:txBody>
      </p:sp>
      <p:sp>
        <p:nvSpPr>
          <p:cNvPr id="21" name="Content left"/>
          <p:cNvSpPr>
            <a:spLocks noGrp="1"/>
          </p:cNvSpPr>
          <p:nvPr>
            <p:ph sz="quarter" idx="26" hasCustomPrompt="1"/>
          </p:nvPr>
        </p:nvSpPr>
        <p:spPr bwMode="gray">
          <a:xfrm>
            <a:off x="6195377" y="2368800"/>
            <a:ext cx="5572321"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0" name="Content right"/>
          <p:cNvSpPr>
            <a:spLocks noGrp="1"/>
          </p:cNvSpPr>
          <p:nvPr>
            <p:ph sz="quarter" idx="25" hasCustomPrompt="1"/>
          </p:nvPr>
        </p:nvSpPr>
        <p:spPr bwMode="gray">
          <a:xfrm>
            <a:off x="395925" y="2368800"/>
            <a:ext cx="5572321"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19783653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with subheading">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16CE3ED2-85F6-9E85-9DCA-4FF7D176CEB5}"/>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5" name="Subheadline"/>
          <p:cNvSpPr>
            <a:spLocks noGrp="1"/>
          </p:cNvSpPr>
          <p:nvPr>
            <p:ph type="body" sz="quarter" idx="23"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20" name="Content left"/>
          <p:cNvSpPr>
            <a:spLocks noGrp="1"/>
          </p:cNvSpPr>
          <p:nvPr>
            <p:ph sz="quarter" idx="25" hasCustomPrompt="1"/>
          </p:nvPr>
        </p:nvSpPr>
        <p:spPr bwMode="gray">
          <a:xfrm>
            <a:off x="395925" y="2368800"/>
            <a:ext cx="5572321"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Content right"/>
          <p:cNvSpPr>
            <a:spLocks noGrp="1"/>
          </p:cNvSpPr>
          <p:nvPr>
            <p:ph sz="quarter" idx="26" hasCustomPrompt="1"/>
          </p:nvPr>
        </p:nvSpPr>
        <p:spPr bwMode="gray">
          <a:xfrm>
            <a:off x="6195376" y="2368800"/>
            <a:ext cx="5572321"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11254868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with subheading (Disclaimer)">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749DD4BC-1157-120C-D41F-3B75EC007FAD}"/>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8" name="Subheadline"/>
          <p:cNvSpPr>
            <a:spLocks noGrp="1"/>
          </p:cNvSpPr>
          <p:nvPr>
            <p:ph type="body" sz="quarter" idx="23"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9" name="Second subheadline"/>
          <p:cNvSpPr>
            <a:spLocks noGrp="1"/>
          </p:cNvSpPr>
          <p:nvPr>
            <p:ph type="body" sz="quarter" idx="24" hasCustomPrompt="1"/>
          </p:nvPr>
        </p:nvSpPr>
        <p:spPr bwMode="gray">
          <a:xfrm>
            <a:off x="398770" y="1842087"/>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20" name="Content left"/>
          <p:cNvSpPr>
            <a:spLocks noGrp="1"/>
          </p:cNvSpPr>
          <p:nvPr>
            <p:ph sz="quarter" idx="25" hasCustomPrompt="1"/>
          </p:nvPr>
        </p:nvSpPr>
        <p:spPr bwMode="gray">
          <a:xfrm>
            <a:off x="395925" y="2368800"/>
            <a:ext cx="5572321"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Content right"/>
          <p:cNvSpPr>
            <a:spLocks noGrp="1"/>
          </p:cNvSpPr>
          <p:nvPr>
            <p:ph sz="quarter" idx="26" hasCustomPrompt="1"/>
          </p:nvPr>
        </p:nvSpPr>
        <p:spPr bwMode="gray">
          <a:xfrm>
            <a:off x="6195377" y="2368800"/>
            <a:ext cx="5572321"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9"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2400113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with subheading and description">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D6AFFBF2-7A69-976F-C730-D955C69907AC}"/>
              </a:ext>
            </a:extLst>
          </p:cNvPr>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14" name="Subheadline"/>
          <p:cNvSpPr>
            <a:spLocks noGrp="1"/>
          </p:cNvSpPr>
          <p:nvPr>
            <p:ph type="body" sz="quarter" idx="23"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15" name="Second subheadline"/>
          <p:cNvSpPr>
            <a:spLocks noGrp="1"/>
          </p:cNvSpPr>
          <p:nvPr>
            <p:ph type="body" sz="quarter" idx="24" hasCustomPrompt="1"/>
          </p:nvPr>
        </p:nvSpPr>
        <p:spPr bwMode="gray">
          <a:xfrm>
            <a:off x="398770" y="1842087"/>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22" name="Content left"/>
          <p:cNvSpPr>
            <a:spLocks noGrp="1"/>
          </p:cNvSpPr>
          <p:nvPr>
            <p:ph sz="quarter" idx="26" hasCustomPrompt="1"/>
          </p:nvPr>
        </p:nvSpPr>
        <p:spPr bwMode="gray">
          <a:xfrm>
            <a:off x="395925" y="2368800"/>
            <a:ext cx="5572321" cy="35712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52" name="Description content left"/>
          <p:cNvSpPr>
            <a:spLocks noGrp="1"/>
          </p:cNvSpPr>
          <p:nvPr>
            <p:ph type="body" sz="quarter" idx="48" hasCustomPrompt="1"/>
          </p:nvPr>
        </p:nvSpPr>
        <p:spPr bwMode="gray">
          <a:xfrm>
            <a:off x="398770" y="5947200"/>
            <a:ext cx="5565047" cy="216000"/>
          </a:xfrm>
        </p:spPr>
        <p:txBody>
          <a:bodyPr anchor="b"/>
          <a:lstStyle>
            <a:lvl1pPr marL="0" indent="0">
              <a:buNone/>
              <a:defRPr sz="800">
                <a:latin typeface="Arial Narrow" panose="020B0606020202030204" pitchFamily="34" charset="0"/>
              </a:defRPr>
            </a:lvl1pPr>
          </a:lstStyle>
          <a:p>
            <a:pPr marL="0" lvl="0" indent="0">
              <a:spcBef>
                <a:spcPts val="0"/>
              </a:spcBef>
              <a:spcAft>
                <a:spcPts val="0"/>
              </a:spcAft>
              <a:buNone/>
            </a:pPr>
            <a:r>
              <a:rPr lang="en-GB" noProof="0" dirty="0"/>
              <a:t>Description (8 </a:t>
            </a:r>
            <a:r>
              <a:rPr lang="en-GB" noProof="0" dirty="0" err="1"/>
              <a:t>pt</a:t>
            </a:r>
            <a:r>
              <a:rPr lang="en-GB" noProof="0" dirty="0"/>
              <a:t>) </a:t>
            </a:r>
          </a:p>
        </p:txBody>
      </p:sp>
      <p:sp>
        <p:nvSpPr>
          <p:cNvPr id="23" name="Content right"/>
          <p:cNvSpPr>
            <a:spLocks noGrp="1"/>
          </p:cNvSpPr>
          <p:nvPr>
            <p:ph sz="quarter" idx="27" hasCustomPrompt="1"/>
          </p:nvPr>
        </p:nvSpPr>
        <p:spPr bwMode="gray">
          <a:xfrm>
            <a:off x="6195377" y="2368800"/>
            <a:ext cx="5572321" cy="35712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54" name="Description content right"/>
          <p:cNvSpPr>
            <a:spLocks noGrp="1"/>
          </p:cNvSpPr>
          <p:nvPr>
            <p:ph type="body" sz="quarter" idx="49" hasCustomPrompt="1"/>
          </p:nvPr>
        </p:nvSpPr>
        <p:spPr bwMode="gray">
          <a:xfrm>
            <a:off x="6198093" y="5947200"/>
            <a:ext cx="5569477" cy="216000"/>
          </a:xfrm>
        </p:spPr>
        <p:txBody>
          <a:bodyPr anchor="b"/>
          <a:lstStyle>
            <a:lvl1pPr marL="0" indent="0">
              <a:buNone/>
              <a:defRPr sz="800">
                <a:latin typeface="Arial Narrow" panose="020B0606020202030204" pitchFamily="34" charset="0"/>
              </a:defRPr>
            </a:lvl1pPr>
          </a:lstStyle>
          <a:p>
            <a:pPr marL="0" lvl="0" indent="0">
              <a:spcBef>
                <a:spcPts val="0"/>
              </a:spcBef>
              <a:spcAft>
                <a:spcPts val="0"/>
              </a:spcAft>
              <a:buNone/>
            </a:pPr>
            <a:r>
              <a:rPr lang="en-GB" noProof="0" dirty="0"/>
              <a:t>Description (8 </a:t>
            </a:r>
            <a:r>
              <a:rPr lang="en-GB" noProof="0" dirty="0" err="1"/>
              <a:t>pt</a:t>
            </a:r>
            <a:r>
              <a:rPr lang="en-GB" noProof="0" dirty="0"/>
              <a:t>) </a:t>
            </a:r>
          </a:p>
        </p:txBody>
      </p:sp>
      <p:sp>
        <p:nvSpPr>
          <p:cNvPr id="46"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41852509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ubhead, Two Content with chart title (Disclaimer)">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013F806B-E927-7B57-A898-CE02F5F58503}"/>
              </a:ext>
            </a:extLst>
          </p:cNvPr>
          <p:cNvSpPr>
            <a:spLocks noGrp="1"/>
          </p:cNvSpPr>
          <p:nvPr>
            <p:ph type="title" hasCustomPrompt="1"/>
          </p:nvPr>
        </p:nvSpPr>
        <p:spPr>
          <a:xfrm>
            <a:off x="398770" y="637185"/>
            <a:ext cx="9944645" cy="374401"/>
          </a:xfrm>
        </p:spPr>
        <p:txBody>
          <a:bodyPr/>
          <a:lstStyle>
            <a:lvl1pPr>
              <a:defRPr/>
            </a:lvl1pPr>
          </a:lstStyle>
          <a:p>
            <a:r>
              <a:rPr lang="en-GB" noProof="0" dirty="0"/>
              <a:t>Main slide heading appears here (28 </a:t>
            </a:r>
            <a:r>
              <a:rPr lang="en-GB" noProof="0" dirty="0" err="1"/>
              <a:t>pt</a:t>
            </a:r>
            <a:r>
              <a:rPr lang="en-GB" noProof="0" dirty="0"/>
              <a:t>)</a:t>
            </a:r>
            <a:endParaRPr lang="en-US" dirty="0"/>
          </a:p>
        </p:txBody>
      </p:sp>
      <p:sp>
        <p:nvSpPr>
          <p:cNvPr id="20" name="Subheadline"/>
          <p:cNvSpPr>
            <a:spLocks noGrp="1"/>
          </p:cNvSpPr>
          <p:nvPr>
            <p:ph type="body" sz="quarter" idx="23" hasCustomPrompt="1"/>
          </p:nvPr>
        </p:nvSpPr>
        <p:spPr bwMode="gray">
          <a:xfrm>
            <a:off x="398770" y="1101712"/>
            <a:ext cx="9944644" cy="244800"/>
          </a:xfrm>
        </p:spPr>
        <p:txBody>
          <a:bodyPr/>
          <a:lstStyle>
            <a:lvl1pPr marL="0" indent="0">
              <a:spcBef>
                <a:spcPts val="2400"/>
              </a:spcBef>
              <a:spcAft>
                <a:spcPts val="1600"/>
              </a:spcAft>
              <a:buFontTx/>
              <a:buNone/>
              <a:defRPr sz="1600" b="0">
                <a:solidFill>
                  <a:schemeClr val="tx2"/>
                </a:solidFill>
              </a:defRPr>
            </a:lvl1pPr>
          </a:lstStyle>
          <a:p>
            <a:pPr>
              <a:spcBef>
                <a:spcPts val="1800"/>
              </a:spcBef>
              <a:spcAft>
                <a:spcPts val="1200"/>
              </a:spcAft>
              <a:buFontTx/>
            </a:pPr>
            <a:r>
              <a:rPr lang="en-GB" sz="1600" noProof="0" dirty="0"/>
              <a:t>Subhead appears here (16 </a:t>
            </a:r>
            <a:r>
              <a:rPr lang="en-GB" sz="1600" noProof="0" dirty="0" err="1"/>
              <a:t>pt</a:t>
            </a:r>
            <a:r>
              <a:rPr lang="en-GB" sz="1600" noProof="0" dirty="0"/>
              <a:t>)</a:t>
            </a:r>
          </a:p>
        </p:txBody>
      </p:sp>
      <p:sp>
        <p:nvSpPr>
          <p:cNvPr id="6" name="Chart title left"/>
          <p:cNvSpPr>
            <a:spLocks noGrp="1"/>
          </p:cNvSpPr>
          <p:nvPr>
            <p:ph type="body" sz="quarter" idx="24" hasCustomPrompt="1"/>
          </p:nvPr>
        </p:nvSpPr>
        <p:spPr bwMode="gray">
          <a:xfrm>
            <a:off x="398770" y="1591201"/>
            <a:ext cx="5576093" cy="153888"/>
          </a:xfrm>
        </p:spPr>
        <p:txBody>
          <a:bodyPr wrap="square">
            <a:spAutoFit/>
          </a:bodyPr>
          <a:lstStyle>
            <a:lvl1pPr marL="0" indent="0">
              <a:spcBef>
                <a:spcPts val="0"/>
              </a:spcBef>
              <a:spcAft>
                <a:spcPts val="0"/>
              </a:spcAft>
              <a:buNone/>
              <a:defRPr sz="1000" b="1"/>
            </a:lvl1pPr>
          </a:lstStyle>
          <a:p>
            <a:pPr lvl="0"/>
            <a:r>
              <a:rPr lang="en-GB" noProof="0" dirty="0"/>
              <a:t>Chart title (10 </a:t>
            </a:r>
            <a:r>
              <a:rPr lang="en-GB" noProof="0" dirty="0" err="1"/>
              <a:t>pt</a:t>
            </a:r>
            <a:r>
              <a:rPr lang="en-GB" noProof="0" dirty="0"/>
              <a:t>)</a:t>
            </a:r>
          </a:p>
        </p:txBody>
      </p:sp>
      <p:sp>
        <p:nvSpPr>
          <p:cNvPr id="13" name="Content left"/>
          <p:cNvSpPr>
            <a:spLocks noGrp="1"/>
          </p:cNvSpPr>
          <p:nvPr>
            <p:ph sz="quarter" idx="21" hasCustomPrompt="1"/>
          </p:nvPr>
        </p:nvSpPr>
        <p:spPr bwMode="gray">
          <a:xfrm>
            <a:off x="398770" y="2368800"/>
            <a:ext cx="5572321" cy="3416551"/>
          </a:xfrm>
        </p:spPr>
        <p:txBody>
          <a:bodyPr/>
          <a:lstStyle>
            <a:lvl1pPr>
              <a:defRPr sz="1200"/>
            </a:lvl1pPr>
            <a:lvl2pPr>
              <a:defRPr sz="1200"/>
            </a:lvl2pPr>
            <a:lvl3pPr>
              <a:defRPr sz="1200"/>
            </a:lvl3pPr>
            <a:lvl4pPr>
              <a:defRPr sz="1200"/>
            </a:lvl4pPr>
            <a:lvl5pPr>
              <a:defRPr sz="1200"/>
            </a:lvl5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8" name="Description content left"/>
          <p:cNvSpPr>
            <a:spLocks noGrp="1"/>
          </p:cNvSpPr>
          <p:nvPr>
            <p:ph type="body" sz="quarter" idx="25" hasCustomPrompt="1"/>
          </p:nvPr>
        </p:nvSpPr>
        <p:spPr bwMode="gray">
          <a:xfrm>
            <a:off x="398770" y="5794625"/>
            <a:ext cx="5576093" cy="374400"/>
          </a:xfrm>
        </p:spPr>
        <p:txBody>
          <a:bodyPr anchor="t"/>
          <a:lstStyle>
            <a:lvl1pPr marL="0" indent="0">
              <a:lnSpc>
                <a:spcPct val="100000"/>
              </a:lnSpc>
              <a:spcBef>
                <a:spcPts val="0"/>
              </a:spcBef>
              <a:spcAft>
                <a:spcPts val="0"/>
              </a:spcAft>
              <a:buNone/>
              <a:defRPr sz="800" baseline="0">
                <a:solidFill>
                  <a:schemeClr val="tx2"/>
                </a:solidFill>
                <a:latin typeface="Arial Narrow" panose="020B0606020202030204" pitchFamily="34" charset="0"/>
              </a:defRPr>
            </a:lvl1pPr>
          </a:lstStyle>
          <a:p>
            <a:pPr lvl="0"/>
            <a:r>
              <a:rPr lang="en-GB" noProof="0" dirty="0"/>
              <a:t>Description (8 </a:t>
            </a:r>
            <a:r>
              <a:rPr lang="en-GB" noProof="0" dirty="0" err="1"/>
              <a:t>pt</a:t>
            </a:r>
            <a:r>
              <a:rPr lang="en-GB" noProof="0" dirty="0"/>
              <a:t>)</a:t>
            </a:r>
          </a:p>
        </p:txBody>
      </p:sp>
      <p:sp>
        <p:nvSpPr>
          <p:cNvPr id="10" name="Chart title right"/>
          <p:cNvSpPr>
            <a:spLocks noGrp="1"/>
          </p:cNvSpPr>
          <p:nvPr>
            <p:ph type="body" sz="quarter" idx="27" hasCustomPrompt="1"/>
          </p:nvPr>
        </p:nvSpPr>
        <p:spPr bwMode="gray">
          <a:xfrm>
            <a:off x="6198127" y="1591201"/>
            <a:ext cx="5576093" cy="153888"/>
          </a:xfrm>
        </p:spPr>
        <p:txBody>
          <a:bodyPr wrap="square">
            <a:spAutoFit/>
          </a:bodyPr>
          <a:lstStyle>
            <a:lvl1pPr marL="0" indent="0">
              <a:spcBef>
                <a:spcPts val="0"/>
              </a:spcBef>
              <a:spcAft>
                <a:spcPts val="0"/>
              </a:spcAft>
              <a:buNone/>
              <a:defRPr sz="1000" b="1"/>
            </a:lvl1pPr>
          </a:lstStyle>
          <a:p>
            <a:pPr lvl="0"/>
            <a:r>
              <a:rPr lang="en-GB" noProof="0" dirty="0"/>
              <a:t>Chart title (10 </a:t>
            </a:r>
            <a:r>
              <a:rPr lang="en-GB" noProof="0" dirty="0" err="1"/>
              <a:t>pt</a:t>
            </a:r>
            <a:r>
              <a:rPr lang="en-GB" noProof="0" dirty="0"/>
              <a:t>)</a:t>
            </a:r>
          </a:p>
        </p:txBody>
      </p:sp>
      <p:sp>
        <p:nvSpPr>
          <p:cNvPr id="9" name="Content right"/>
          <p:cNvSpPr>
            <a:spLocks noGrp="1"/>
          </p:cNvSpPr>
          <p:nvPr>
            <p:ph sz="quarter" idx="26" hasCustomPrompt="1"/>
          </p:nvPr>
        </p:nvSpPr>
        <p:spPr bwMode="gray">
          <a:xfrm>
            <a:off x="6198127" y="2368800"/>
            <a:ext cx="5572321" cy="3416551"/>
          </a:xfrm>
        </p:spPr>
        <p:txBody>
          <a:bodyPr/>
          <a:lstStyle>
            <a:lvl1pPr>
              <a:defRPr sz="1200"/>
            </a:lvl1pPr>
            <a:lvl2pPr>
              <a:defRPr sz="1200"/>
            </a:lvl2pPr>
            <a:lvl3pPr>
              <a:defRPr sz="1200"/>
            </a:lvl3pPr>
            <a:lvl4pPr>
              <a:defRPr sz="1200"/>
            </a:lvl4pPr>
            <a:lvl5pPr>
              <a:defRPr sz="1200"/>
            </a:lvl5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1" name="Description content right"/>
          <p:cNvSpPr>
            <a:spLocks noGrp="1"/>
          </p:cNvSpPr>
          <p:nvPr>
            <p:ph type="body" sz="quarter" idx="28" hasCustomPrompt="1"/>
          </p:nvPr>
        </p:nvSpPr>
        <p:spPr bwMode="gray">
          <a:xfrm>
            <a:off x="6198127" y="5794625"/>
            <a:ext cx="5576093" cy="374400"/>
          </a:xfrm>
        </p:spPr>
        <p:txBody>
          <a:bodyPr anchor="t"/>
          <a:lstStyle>
            <a:lvl1pPr marL="0" indent="0">
              <a:lnSpc>
                <a:spcPct val="100000"/>
              </a:lnSpc>
              <a:spcBef>
                <a:spcPts val="0"/>
              </a:spcBef>
              <a:spcAft>
                <a:spcPts val="0"/>
              </a:spcAft>
              <a:buNone/>
              <a:defRPr sz="800" baseline="0">
                <a:solidFill>
                  <a:schemeClr val="tx2"/>
                </a:solidFill>
                <a:latin typeface="Arial Narrow" panose="020B0606020202030204" pitchFamily="34" charset="0"/>
              </a:defRPr>
            </a:lvl1pPr>
          </a:lstStyle>
          <a:p>
            <a:pPr lvl="0"/>
            <a:r>
              <a:rPr lang="en-GB" noProof="0" dirty="0"/>
              <a:t>Description (8 </a:t>
            </a:r>
            <a:r>
              <a:rPr lang="en-GB" noProof="0" dirty="0" err="1"/>
              <a:t>pt</a:t>
            </a:r>
            <a:r>
              <a:rPr lang="en-GB" noProof="0" dirty="0"/>
              <a:t>)</a:t>
            </a:r>
          </a:p>
        </p:txBody>
      </p:sp>
      <p:sp>
        <p:nvSpPr>
          <p:cNvPr id="18" name="Disclaimer"/>
          <p:cNvSpPr>
            <a:spLocks noGrp="1"/>
          </p:cNvSpPr>
          <p:nvPr>
            <p:ph type="body" sz="quarter" idx="22" hasCustomPrompt="1"/>
          </p:nvPr>
        </p:nvSpPr>
        <p:spPr bwMode="gray">
          <a:xfrm>
            <a:off x="398770" y="6235200"/>
            <a:ext cx="10633847" cy="374400"/>
          </a:xfrm>
        </p:spPr>
        <p:txBody>
          <a:bodyPr anchor="b"/>
          <a:lstStyle>
            <a:lvl1pPr marL="0" indent="0">
              <a:lnSpc>
                <a:spcPct val="100000"/>
              </a:lnSpc>
              <a:spcBef>
                <a:spcPts val="0"/>
              </a:spcBef>
              <a:spcAft>
                <a:spcPts val="0"/>
              </a:spcAft>
              <a:buNone/>
              <a:defRPr sz="800" baseline="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28896233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with subheading &amp; chart title (Disclaimer)">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9062A72B-74DA-9AA5-E964-9945DE7A0DCE}"/>
              </a:ext>
            </a:extLst>
          </p:cNvPr>
          <p:cNvSpPr>
            <a:spLocks noGrp="1"/>
          </p:cNvSpPr>
          <p:nvPr>
            <p:ph type="title" hasCustomPrompt="1"/>
          </p:nvPr>
        </p:nvSpPr>
        <p:spPr>
          <a:xfrm>
            <a:off x="395926" y="637185"/>
            <a:ext cx="9944006" cy="791565"/>
          </a:xfrm>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12" name="Subheadline"/>
          <p:cNvSpPr>
            <a:spLocks noGrp="1"/>
          </p:cNvSpPr>
          <p:nvPr>
            <p:ph type="body" sz="quarter" idx="23" hasCustomPrompt="1"/>
          </p:nvPr>
        </p:nvSpPr>
        <p:spPr bwMode="gray">
          <a:xfrm>
            <a:off x="395926"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6" name="Chart title left"/>
          <p:cNvSpPr>
            <a:spLocks noGrp="1"/>
          </p:cNvSpPr>
          <p:nvPr>
            <p:ph type="body" sz="quarter" idx="24" hasCustomPrompt="1"/>
          </p:nvPr>
        </p:nvSpPr>
        <p:spPr bwMode="gray">
          <a:xfrm>
            <a:off x="395288" y="2364761"/>
            <a:ext cx="5579575" cy="184666"/>
          </a:xfrm>
        </p:spPr>
        <p:txBody>
          <a:bodyPr wrap="square">
            <a:spAutoFit/>
          </a:bodyPr>
          <a:lstStyle>
            <a:lvl1pPr marL="0" indent="0">
              <a:spcBef>
                <a:spcPts val="0"/>
              </a:spcBef>
              <a:spcAft>
                <a:spcPts val="0"/>
              </a:spcAft>
              <a:buNone/>
              <a:defRPr sz="1200" b="1">
                <a:solidFill>
                  <a:schemeClr val="tx2"/>
                </a:solidFill>
              </a:defRPr>
            </a:lvl1pPr>
          </a:lstStyle>
          <a:p>
            <a:pPr lvl="0"/>
            <a:r>
              <a:rPr lang="en-GB" noProof="0" dirty="0"/>
              <a:t>Chart title (12 </a:t>
            </a:r>
            <a:r>
              <a:rPr lang="en-GB" noProof="0" dirty="0" err="1"/>
              <a:t>pt</a:t>
            </a:r>
            <a:r>
              <a:rPr lang="en-GB" noProof="0" dirty="0"/>
              <a:t>)</a:t>
            </a:r>
          </a:p>
        </p:txBody>
      </p:sp>
      <p:sp>
        <p:nvSpPr>
          <p:cNvPr id="13" name="Content left"/>
          <p:cNvSpPr>
            <a:spLocks noGrp="1"/>
          </p:cNvSpPr>
          <p:nvPr>
            <p:ph sz="quarter" idx="21" hasCustomPrompt="1"/>
          </p:nvPr>
        </p:nvSpPr>
        <p:spPr bwMode="gray">
          <a:xfrm>
            <a:off x="395925" y="2755961"/>
            <a:ext cx="5572321" cy="3254975"/>
          </a:xfrm>
        </p:spPr>
        <p:txBody>
          <a:bodyPr/>
          <a:lstStyle>
            <a:lvl1pPr>
              <a:defRPr sz="1200"/>
            </a:lvl1pPr>
            <a:lvl2pPr>
              <a:defRPr sz="1200"/>
            </a:lvl2pPr>
            <a:lvl3pPr>
              <a:defRPr sz="1200"/>
            </a:lvl3pPr>
            <a:lvl4pPr>
              <a:defRPr sz="1200"/>
            </a:lvl4pPr>
            <a:lvl5pPr>
              <a:defRPr sz="1200"/>
            </a:lvl5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Chart title right"/>
          <p:cNvSpPr>
            <a:spLocks noGrp="1"/>
          </p:cNvSpPr>
          <p:nvPr>
            <p:ph type="body" sz="quarter" idx="27" hasCustomPrompt="1"/>
          </p:nvPr>
        </p:nvSpPr>
        <p:spPr bwMode="gray">
          <a:xfrm>
            <a:off x="6185151" y="2364761"/>
            <a:ext cx="5579575" cy="184666"/>
          </a:xfrm>
        </p:spPr>
        <p:txBody>
          <a:bodyPr wrap="square">
            <a:spAutoFit/>
          </a:bodyPr>
          <a:lstStyle>
            <a:lvl1pPr marL="0" indent="0">
              <a:spcBef>
                <a:spcPts val="0"/>
              </a:spcBef>
              <a:spcAft>
                <a:spcPts val="0"/>
              </a:spcAft>
              <a:buNone/>
              <a:defRPr sz="1200" b="1">
                <a:solidFill>
                  <a:schemeClr val="tx2"/>
                </a:solidFill>
              </a:defRPr>
            </a:lvl1pPr>
          </a:lstStyle>
          <a:p>
            <a:pPr lvl="0"/>
            <a:r>
              <a:rPr lang="en-GB" noProof="0" dirty="0"/>
              <a:t>Chart title (12 </a:t>
            </a:r>
            <a:r>
              <a:rPr lang="en-GB" noProof="0" dirty="0" err="1"/>
              <a:t>pt</a:t>
            </a:r>
            <a:r>
              <a:rPr lang="en-GB" noProof="0" dirty="0"/>
              <a:t>)</a:t>
            </a:r>
          </a:p>
        </p:txBody>
      </p:sp>
      <p:sp>
        <p:nvSpPr>
          <p:cNvPr id="9" name="Content right"/>
          <p:cNvSpPr>
            <a:spLocks noGrp="1"/>
          </p:cNvSpPr>
          <p:nvPr>
            <p:ph sz="quarter" idx="26" hasCustomPrompt="1"/>
          </p:nvPr>
        </p:nvSpPr>
        <p:spPr bwMode="gray">
          <a:xfrm>
            <a:off x="6195376" y="2755961"/>
            <a:ext cx="5572321" cy="3254975"/>
          </a:xfrm>
        </p:spPr>
        <p:txBody>
          <a:bodyPr/>
          <a:lstStyle>
            <a:lvl1pPr>
              <a:defRPr sz="1200"/>
            </a:lvl1pPr>
            <a:lvl2pPr>
              <a:defRPr sz="1200"/>
            </a:lvl2pPr>
            <a:lvl3pPr>
              <a:defRPr sz="1200"/>
            </a:lvl3pPr>
            <a:lvl4pPr>
              <a:defRPr sz="1200"/>
            </a:lvl4pPr>
            <a:lvl5pPr>
              <a:defRPr sz="1200"/>
            </a:lvl5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Disclaimer"/>
          <p:cNvSpPr>
            <a:spLocks noGrp="1"/>
          </p:cNvSpPr>
          <p:nvPr>
            <p:ph type="body" sz="quarter" idx="22" hasCustomPrompt="1"/>
          </p:nvPr>
        </p:nvSpPr>
        <p:spPr bwMode="gray">
          <a:xfrm>
            <a:off x="398770" y="6235200"/>
            <a:ext cx="10633847" cy="374400"/>
          </a:xfrm>
        </p:spPr>
        <p:txBody>
          <a:bodyPr anchor="b"/>
          <a:lstStyle>
            <a:lvl1pPr marL="0" indent="0">
              <a:lnSpc>
                <a:spcPct val="100000"/>
              </a:lnSpc>
              <a:spcBef>
                <a:spcPts val="0"/>
              </a:spcBef>
              <a:spcAft>
                <a:spcPts val="0"/>
              </a:spcAft>
              <a:buNone/>
              <a:defRPr sz="800" baseline="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31474960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ntent with subheading &amp; chart title (Disclaimer)">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FBEFB399-A858-0221-BDBE-ECA49A4C07EB}"/>
              </a:ext>
            </a:extLst>
          </p:cNvPr>
          <p:cNvSpPr>
            <a:spLocks noGrp="1"/>
          </p:cNvSpPr>
          <p:nvPr>
            <p:ph type="title" hasCustomPrompt="1"/>
          </p:nvPr>
        </p:nvSpPr>
        <p:spPr>
          <a:xfrm>
            <a:off x="395926" y="637185"/>
            <a:ext cx="9944006" cy="791565"/>
          </a:xfrm>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endParaRPr lang="en-US" dirty="0"/>
          </a:p>
        </p:txBody>
      </p:sp>
      <p:sp>
        <p:nvSpPr>
          <p:cNvPr id="12" name="Subheadline"/>
          <p:cNvSpPr>
            <a:spLocks noGrp="1"/>
          </p:cNvSpPr>
          <p:nvPr>
            <p:ph type="body" sz="quarter" idx="23" hasCustomPrompt="1"/>
          </p:nvPr>
        </p:nvSpPr>
        <p:spPr bwMode="gray">
          <a:xfrm>
            <a:off x="395926"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13" name="Content left"/>
          <p:cNvSpPr>
            <a:spLocks noGrp="1"/>
          </p:cNvSpPr>
          <p:nvPr>
            <p:ph sz="quarter" idx="21" hasCustomPrompt="1"/>
          </p:nvPr>
        </p:nvSpPr>
        <p:spPr bwMode="gray">
          <a:xfrm>
            <a:off x="398769" y="2371627"/>
            <a:ext cx="3633233" cy="3817938"/>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1" name="Content middle"/>
          <p:cNvSpPr>
            <a:spLocks noGrp="1"/>
          </p:cNvSpPr>
          <p:nvPr>
            <p:ph sz="quarter" idx="28" hasCustomPrompt="1"/>
          </p:nvPr>
        </p:nvSpPr>
        <p:spPr bwMode="gray">
          <a:xfrm>
            <a:off x="4265131" y="2371627"/>
            <a:ext cx="3633233" cy="3817938"/>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Content right"/>
          <p:cNvSpPr>
            <a:spLocks noGrp="1"/>
          </p:cNvSpPr>
          <p:nvPr>
            <p:ph sz="quarter" idx="26" hasCustomPrompt="1"/>
          </p:nvPr>
        </p:nvSpPr>
        <p:spPr bwMode="gray">
          <a:xfrm>
            <a:off x="8131493" y="2371627"/>
            <a:ext cx="3633233" cy="3817938"/>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Disclaimer"/>
          <p:cNvSpPr>
            <a:spLocks noGrp="1"/>
          </p:cNvSpPr>
          <p:nvPr>
            <p:ph type="body" sz="quarter" idx="22" hasCustomPrompt="1"/>
          </p:nvPr>
        </p:nvSpPr>
        <p:spPr bwMode="gray">
          <a:xfrm>
            <a:off x="398770" y="6235200"/>
            <a:ext cx="10633847" cy="374400"/>
          </a:xfrm>
        </p:spPr>
        <p:txBody>
          <a:bodyPr anchor="b"/>
          <a:lstStyle>
            <a:lvl1pPr marL="0" indent="0">
              <a:lnSpc>
                <a:spcPct val="100000"/>
              </a:lnSpc>
              <a:spcBef>
                <a:spcPts val="0"/>
              </a:spcBef>
              <a:spcAft>
                <a:spcPts val="0"/>
              </a:spcAft>
              <a:buNone/>
              <a:defRPr sz="800" baseline="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42281926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Content plus pictures with subheading (Disclaimer)">
    <p:spTree>
      <p:nvGrpSpPr>
        <p:cNvPr id="1" name=""/>
        <p:cNvGrpSpPr/>
        <p:nvPr/>
      </p:nvGrpSpPr>
      <p:grpSpPr>
        <a:xfrm>
          <a:off x="0" y="0"/>
          <a:ext cx="0" cy="0"/>
          <a:chOff x="0" y="0"/>
          <a:chExt cx="0" cy="0"/>
        </a:xfrm>
      </p:grpSpPr>
      <p:sp>
        <p:nvSpPr>
          <p:cNvPr id="2" name="Headline"/>
          <p:cNvSpPr>
            <a:spLocks noGrp="1"/>
          </p:cNvSpPr>
          <p:nvPr>
            <p:ph type="title" hasCustomPrompt="1"/>
          </p:nvPr>
        </p:nvSpPr>
        <p:spPr/>
        <p:txBody>
          <a:bodyPr/>
          <a:lstStyle>
            <a:lvl1pPr>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p>
        </p:txBody>
      </p:sp>
      <p:sp>
        <p:nvSpPr>
          <p:cNvPr id="12" name="Subheadline"/>
          <p:cNvSpPr>
            <a:spLocks noGrp="1"/>
          </p:cNvSpPr>
          <p:nvPr>
            <p:ph type="body" sz="quarter" idx="23" hasCustomPrompt="1"/>
          </p:nvPr>
        </p:nvSpPr>
        <p:spPr bwMode="gray">
          <a:xfrm>
            <a:off x="398769" y="1591200"/>
            <a:ext cx="11369354"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4" name="Picture left">
            <a:extLst>
              <a:ext uri="{FF2B5EF4-FFF2-40B4-BE49-F238E27FC236}">
                <a16:creationId xmlns:a16="http://schemas.microsoft.com/office/drawing/2014/main" id="{30FC73BF-F3CF-390A-AA91-788A1D11D3E4}"/>
              </a:ext>
            </a:extLst>
          </p:cNvPr>
          <p:cNvSpPr>
            <a:spLocks noGrp="1"/>
          </p:cNvSpPr>
          <p:nvPr>
            <p:ph type="pic" sz="quarter" idx="30"/>
          </p:nvPr>
        </p:nvSpPr>
        <p:spPr>
          <a:xfrm>
            <a:off x="398770" y="2371626"/>
            <a:ext cx="3633231" cy="1800000"/>
          </a:xfrm>
          <a:solidFill>
            <a:srgbClr val="DADADA"/>
          </a:solidFill>
        </p:spPr>
        <p:txBody>
          <a:bodyPr/>
          <a:lstStyle>
            <a:lvl1pPr marL="0" indent="0">
              <a:buNone/>
              <a:defRPr/>
            </a:lvl1pPr>
          </a:lstStyle>
          <a:p>
            <a:endParaRPr lang="de-DE" dirty="0"/>
          </a:p>
        </p:txBody>
      </p:sp>
      <p:sp>
        <p:nvSpPr>
          <p:cNvPr id="13" name="Content left"/>
          <p:cNvSpPr>
            <a:spLocks noGrp="1"/>
          </p:cNvSpPr>
          <p:nvPr>
            <p:ph sz="quarter" idx="21" hasCustomPrompt="1"/>
          </p:nvPr>
        </p:nvSpPr>
        <p:spPr bwMode="gray">
          <a:xfrm>
            <a:off x="398770" y="4385654"/>
            <a:ext cx="3633231" cy="1786546"/>
          </a:xfrm>
        </p:spPr>
        <p:txBody>
          <a:bodyPr/>
          <a:lstStyle>
            <a:lvl1pPr>
              <a:defRPr sz="1200"/>
            </a:lvl1pPr>
            <a:lvl2pPr>
              <a:defRPr sz="1200"/>
            </a:lvl2pPr>
            <a:lvl3pPr>
              <a:defRPr sz="1200"/>
            </a:lvl3pPr>
            <a:lvl4pPr>
              <a:defRPr sz="1200"/>
            </a:lvl4pPr>
            <a:lvl5pPr>
              <a:defRPr sz="1200"/>
            </a:lvl5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5" name="Picture middle">
            <a:extLst>
              <a:ext uri="{FF2B5EF4-FFF2-40B4-BE49-F238E27FC236}">
                <a16:creationId xmlns:a16="http://schemas.microsoft.com/office/drawing/2014/main" id="{04A64EB1-6BDE-CCC0-B3C8-D03A67591C68}"/>
              </a:ext>
            </a:extLst>
          </p:cNvPr>
          <p:cNvSpPr>
            <a:spLocks noGrp="1"/>
          </p:cNvSpPr>
          <p:nvPr>
            <p:ph type="pic" sz="quarter" idx="31"/>
          </p:nvPr>
        </p:nvSpPr>
        <p:spPr>
          <a:xfrm>
            <a:off x="4266832" y="2371626"/>
            <a:ext cx="3633231" cy="1800000"/>
          </a:xfrm>
          <a:solidFill>
            <a:srgbClr val="DADADA"/>
          </a:solidFill>
        </p:spPr>
        <p:txBody>
          <a:bodyPr/>
          <a:lstStyle>
            <a:lvl1pPr marL="0" indent="0">
              <a:buNone/>
              <a:defRPr/>
            </a:lvl1pPr>
          </a:lstStyle>
          <a:p>
            <a:endParaRPr lang="de-DE" dirty="0"/>
          </a:p>
        </p:txBody>
      </p:sp>
      <p:sp>
        <p:nvSpPr>
          <p:cNvPr id="11" name="Content middle"/>
          <p:cNvSpPr>
            <a:spLocks noGrp="1"/>
          </p:cNvSpPr>
          <p:nvPr>
            <p:ph sz="quarter" idx="28" hasCustomPrompt="1"/>
          </p:nvPr>
        </p:nvSpPr>
        <p:spPr bwMode="gray">
          <a:xfrm>
            <a:off x="4266832" y="4385654"/>
            <a:ext cx="3633231" cy="1786546"/>
          </a:xfrm>
        </p:spPr>
        <p:txBody>
          <a:bodyPr/>
          <a:lstStyle>
            <a:lvl1pPr>
              <a:defRPr sz="1200"/>
            </a:lvl1pPr>
            <a:lvl2pPr>
              <a:defRPr sz="1200"/>
            </a:lvl2pPr>
            <a:lvl3pPr>
              <a:defRPr sz="1200"/>
            </a:lvl3pPr>
            <a:lvl4pPr>
              <a:defRPr sz="1200"/>
            </a:lvl4pPr>
            <a:lvl5pPr>
              <a:defRPr sz="1200"/>
            </a:lvl5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6" name="Picture right">
            <a:extLst>
              <a:ext uri="{FF2B5EF4-FFF2-40B4-BE49-F238E27FC236}">
                <a16:creationId xmlns:a16="http://schemas.microsoft.com/office/drawing/2014/main" id="{B85F1999-AD86-1FEF-BB41-A5246961E672}"/>
              </a:ext>
            </a:extLst>
          </p:cNvPr>
          <p:cNvSpPr>
            <a:spLocks noGrp="1"/>
          </p:cNvSpPr>
          <p:nvPr>
            <p:ph type="pic" sz="quarter" idx="32"/>
          </p:nvPr>
        </p:nvSpPr>
        <p:spPr>
          <a:xfrm>
            <a:off x="8134892" y="2371626"/>
            <a:ext cx="3633231" cy="1800000"/>
          </a:xfrm>
          <a:solidFill>
            <a:srgbClr val="DADADA"/>
          </a:solidFill>
        </p:spPr>
        <p:txBody>
          <a:bodyPr/>
          <a:lstStyle>
            <a:lvl1pPr marL="0" indent="0">
              <a:buNone/>
              <a:defRPr/>
            </a:lvl1pPr>
          </a:lstStyle>
          <a:p>
            <a:endParaRPr lang="de-DE" dirty="0"/>
          </a:p>
        </p:txBody>
      </p:sp>
      <p:sp>
        <p:nvSpPr>
          <p:cNvPr id="9" name="Content right"/>
          <p:cNvSpPr>
            <a:spLocks noGrp="1"/>
          </p:cNvSpPr>
          <p:nvPr>
            <p:ph sz="quarter" idx="26" hasCustomPrompt="1"/>
          </p:nvPr>
        </p:nvSpPr>
        <p:spPr bwMode="gray">
          <a:xfrm>
            <a:off x="8134892" y="4385654"/>
            <a:ext cx="3633231" cy="1786546"/>
          </a:xfrm>
        </p:spPr>
        <p:txBody>
          <a:bodyPr/>
          <a:lstStyle>
            <a:lvl1pPr>
              <a:defRPr sz="1200"/>
            </a:lvl1pPr>
            <a:lvl2pPr>
              <a:defRPr sz="1200"/>
            </a:lvl2pPr>
            <a:lvl3pPr>
              <a:defRPr sz="1200"/>
            </a:lvl3pPr>
            <a:lvl4pPr>
              <a:defRPr sz="1200"/>
            </a:lvl4pPr>
            <a:lvl5pPr>
              <a:defRPr sz="1200"/>
            </a:lvl5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Disclaimer"/>
          <p:cNvSpPr>
            <a:spLocks noGrp="1"/>
          </p:cNvSpPr>
          <p:nvPr>
            <p:ph type="body" sz="quarter" idx="22" hasCustomPrompt="1"/>
          </p:nvPr>
        </p:nvSpPr>
        <p:spPr bwMode="gray">
          <a:xfrm>
            <a:off x="398769" y="6235200"/>
            <a:ext cx="10633846" cy="374400"/>
          </a:xfrm>
        </p:spPr>
        <p:txBody>
          <a:bodyPr anchor="b"/>
          <a:lstStyle>
            <a:lvl1pPr marL="0" indent="0">
              <a:lnSpc>
                <a:spcPct val="100000"/>
              </a:lnSpc>
              <a:spcBef>
                <a:spcPts val="0"/>
              </a:spcBef>
              <a:spcAft>
                <a:spcPts val="0"/>
              </a:spcAft>
              <a:buNone/>
              <a:defRPr sz="800" baseline="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22800463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picture 1 (Disclaimer)">
    <p:spTree>
      <p:nvGrpSpPr>
        <p:cNvPr id="1" name=""/>
        <p:cNvGrpSpPr/>
        <p:nvPr/>
      </p:nvGrpSpPr>
      <p:grpSpPr>
        <a:xfrm>
          <a:off x="0" y="0"/>
          <a:ext cx="0" cy="0"/>
          <a:chOff x="0" y="0"/>
          <a:chExt cx="0" cy="0"/>
        </a:xfrm>
      </p:grpSpPr>
      <p:sp>
        <p:nvSpPr>
          <p:cNvPr id="4" name="Picture">
            <a:extLst>
              <a:ext uri="{FF2B5EF4-FFF2-40B4-BE49-F238E27FC236}">
                <a16:creationId xmlns:a16="http://schemas.microsoft.com/office/drawing/2014/main" id="{1C72E3D5-3F9A-FB52-17ED-1D029BD5B760}"/>
              </a:ext>
            </a:extLst>
          </p:cNvPr>
          <p:cNvSpPr>
            <a:spLocks noGrp="1"/>
          </p:cNvSpPr>
          <p:nvPr>
            <p:ph type="pic" sz="quarter" idx="29"/>
          </p:nvPr>
        </p:nvSpPr>
        <p:spPr>
          <a:xfrm>
            <a:off x="0" y="0"/>
            <a:ext cx="7056000" cy="5940000"/>
          </a:xfrm>
          <a:solidFill>
            <a:schemeClr val="bg2">
              <a:lumMod val="20000"/>
              <a:lumOff val="80000"/>
            </a:schemeClr>
          </a:solidFill>
        </p:spPr>
        <p:txBody>
          <a:bodyPr/>
          <a:lstStyle>
            <a:lvl1pPr marL="0" indent="0">
              <a:buNone/>
              <a:defRPr/>
            </a:lvl1pPr>
          </a:lstStyle>
          <a:p>
            <a:endParaRPr lang="de-DE" dirty="0"/>
          </a:p>
        </p:txBody>
      </p:sp>
      <p:sp>
        <p:nvSpPr>
          <p:cNvPr id="7" name="Headline">
            <a:extLst>
              <a:ext uri="{FF2B5EF4-FFF2-40B4-BE49-F238E27FC236}">
                <a16:creationId xmlns:a16="http://schemas.microsoft.com/office/drawing/2014/main" id="{E2CF6106-C854-E65A-CF91-78E55BC0ACD0}"/>
              </a:ext>
            </a:extLst>
          </p:cNvPr>
          <p:cNvSpPr>
            <a:spLocks noGrp="1"/>
          </p:cNvSpPr>
          <p:nvPr>
            <p:ph type="title" hasCustomPrompt="1"/>
          </p:nvPr>
        </p:nvSpPr>
        <p:spPr>
          <a:xfrm>
            <a:off x="7456601" y="1584324"/>
            <a:ext cx="4316400" cy="861774"/>
          </a:xfrm>
        </p:spPr>
        <p:txBody>
          <a:bodyPr/>
          <a:lstStyle>
            <a:lvl1pPr>
              <a:defRPr/>
            </a:lvl1pPr>
          </a:lstStyle>
          <a:p>
            <a:r>
              <a:rPr lang="en-GB"/>
              <a:t>Mastertitelformat bearbeiten</a:t>
            </a:r>
            <a:endParaRPr lang="en-GB" dirty="0"/>
          </a:p>
        </p:txBody>
      </p:sp>
      <p:sp>
        <p:nvSpPr>
          <p:cNvPr id="3" name="Content">
            <a:extLst>
              <a:ext uri="{FF2B5EF4-FFF2-40B4-BE49-F238E27FC236}">
                <a16:creationId xmlns:a16="http://schemas.microsoft.com/office/drawing/2014/main" id="{2B810075-7FDA-3A17-48F9-1BB2C73285A3}"/>
              </a:ext>
            </a:extLst>
          </p:cNvPr>
          <p:cNvSpPr>
            <a:spLocks noGrp="1"/>
          </p:cNvSpPr>
          <p:nvPr>
            <p:ph sz="quarter" idx="30" hasCustomPrompt="1"/>
          </p:nvPr>
        </p:nvSpPr>
        <p:spPr bwMode="gray">
          <a:xfrm>
            <a:off x="7456604" y="3048001"/>
            <a:ext cx="4316297" cy="2892001"/>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 name="Disclaimer">
            <a:extLst>
              <a:ext uri="{FF2B5EF4-FFF2-40B4-BE49-F238E27FC236}">
                <a16:creationId xmlns:a16="http://schemas.microsoft.com/office/drawing/2014/main" id="{3A8DEEC7-275B-DD17-F418-7C82A4F1349B}"/>
              </a:ext>
            </a:extLst>
          </p:cNvPr>
          <p:cNvSpPr>
            <a:spLocks noGrp="1"/>
          </p:cNvSpPr>
          <p:nvPr>
            <p:ph type="body" sz="quarter" idx="26" hasCustomPrompt="1"/>
          </p:nvPr>
        </p:nvSpPr>
        <p:spPr bwMode="gray">
          <a:xfrm>
            <a:off x="398769" y="6235200"/>
            <a:ext cx="10633846" cy="374400"/>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21686276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picture 2 (Disclaimer)">
    <p:spTree>
      <p:nvGrpSpPr>
        <p:cNvPr id="1" name=""/>
        <p:cNvGrpSpPr/>
        <p:nvPr/>
      </p:nvGrpSpPr>
      <p:grpSpPr>
        <a:xfrm>
          <a:off x="0" y="0"/>
          <a:ext cx="0" cy="0"/>
          <a:chOff x="0" y="0"/>
          <a:chExt cx="0" cy="0"/>
        </a:xfrm>
      </p:grpSpPr>
      <p:sp>
        <p:nvSpPr>
          <p:cNvPr id="4" name="Picture">
            <a:extLst>
              <a:ext uri="{FF2B5EF4-FFF2-40B4-BE49-F238E27FC236}">
                <a16:creationId xmlns:a16="http://schemas.microsoft.com/office/drawing/2014/main" id="{1C72E3D5-3F9A-FB52-17ED-1D029BD5B760}"/>
              </a:ext>
            </a:extLst>
          </p:cNvPr>
          <p:cNvSpPr>
            <a:spLocks noGrp="1"/>
          </p:cNvSpPr>
          <p:nvPr>
            <p:ph type="pic" sz="quarter" idx="29"/>
          </p:nvPr>
        </p:nvSpPr>
        <p:spPr>
          <a:xfrm>
            <a:off x="0" y="0"/>
            <a:ext cx="8928000" cy="6084000"/>
          </a:xfrm>
          <a:solidFill>
            <a:schemeClr val="bg2">
              <a:lumMod val="20000"/>
              <a:lumOff val="80000"/>
            </a:schemeClr>
          </a:solidFill>
        </p:spPr>
        <p:txBody>
          <a:bodyPr/>
          <a:lstStyle>
            <a:lvl1pPr marL="0" indent="0">
              <a:buNone/>
              <a:defRPr/>
            </a:lvl1pPr>
          </a:lstStyle>
          <a:p>
            <a:endParaRPr lang="de-DE" dirty="0"/>
          </a:p>
        </p:txBody>
      </p:sp>
      <p:sp>
        <p:nvSpPr>
          <p:cNvPr id="9" name="Content"/>
          <p:cNvSpPr>
            <a:spLocks noGrp="1"/>
          </p:cNvSpPr>
          <p:nvPr>
            <p:ph sz="quarter" idx="26" hasCustomPrompt="1"/>
          </p:nvPr>
        </p:nvSpPr>
        <p:spPr bwMode="gray">
          <a:xfrm>
            <a:off x="9313246" y="1332000"/>
            <a:ext cx="2462400" cy="47520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 name="Disclaimer">
            <a:extLst>
              <a:ext uri="{FF2B5EF4-FFF2-40B4-BE49-F238E27FC236}">
                <a16:creationId xmlns:a16="http://schemas.microsoft.com/office/drawing/2014/main" id="{553A1194-2A92-48E2-271F-A4287CB6A939}"/>
              </a:ext>
            </a:extLst>
          </p:cNvPr>
          <p:cNvSpPr>
            <a:spLocks noGrp="1"/>
          </p:cNvSpPr>
          <p:nvPr>
            <p:ph type="body" sz="quarter" idx="30" hasCustomPrompt="1"/>
          </p:nvPr>
        </p:nvSpPr>
        <p:spPr bwMode="gray">
          <a:xfrm>
            <a:off x="398769" y="6235200"/>
            <a:ext cx="10633846" cy="374400"/>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1092171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full picture_placeholder">
    <p:bg>
      <p:bgRef idx="1001">
        <a:schemeClr val="bg1"/>
      </p:bgRef>
    </p:bg>
    <p:spTree>
      <p:nvGrpSpPr>
        <p:cNvPr id="1" name=""/>
        <p:cNvGrpSpPr/>
        <p:nvPr/>
      </p:nvGrpSpPr>
      <p:grpSpPr>
        <a:xfrm>
          <a:off x="0" y="0"/>
          <a:ext cx="0" cy="0"/>
          <a:chOff x="0" y="0"/>
          <a:chExt cx="0" cy="0"/>
        </a:xfrm>
      </p:grpSpPr>
      <p:sp>
        <p:nvSpPr>
          <p:cNvPr id="8" name="Picture">
            <a:extLst>
              <a:ext uri="{FF2B5EF4-FFF2-40B4-BE49-F238E27FC236}">
                <a16:creationId xmlns:a16="http://schemas.microsoft.com/office/drawing/2014/main" id="{0A049A99-C5E8-C766-05CC-A9F870DE8193}"/>
              </a:ext>
            </a:extLst>
          </p:cNvPr>
          <p:cNvSpPr>
            <a:spLocks noGrp="1"/>
          </p:cNvSpPr>
          <p:nvPr>
            <p:ph type="pic" sz="quarter" idx="15"/>
          </p:nvPr>
        </p:nvSpPr>
        <p:spPr>
          <a:xfrm>
            <a:off x="3175" y="0"/>
            <a:ext cx="12188825" cy="6858000"/>
          </a:xfrm>
          <a:ln>
            <a:noFill/>
          </a:ln>
        </p:spPr>
        <p:txBody>
          <a:bodyPr/>
          <a:lstStyle>
            <a:lvl1pPr marL="0" indent="0">
              <a:buNone/>
              <a:defRPr/>
            </a:lvl1pPr>
          </a:lstStyle>
          <a:p>
            <a:endParaRPr lang="en-GB" dirty="0"/>
          </a:p>
        </p:txBody>
      </p:sp>
      <p:sp>
        <p:nvSpPr>
          <p:cNvPr id="107" name="Title"/>
          <p:cNvSpPr>
            <a:spLocks noGrp="1"/>
          </p:cNvSpPr>
          <p:nvPr>
            <p:ph type="body" sz="quarter" idx="12" hasCustomPrompt="1"/>
          </p:nvPr>
        </p:nvSpPr>
        <p:spPr bwMode="gray">
          <a:xfrm>
            <a:off x="398770" y="2095848"/>
            <a:ext cx="4644000" cy="2308324"/>
          </a:xfrm>
        </p:spPr>
        <p:txBody>
          <a:bodyPr wrap="square" lIns="0" tIns="0" rIns="0" bIns="0" anchor="b">
            <a:spAutoFit/>
          </a:bodyPr>
          <a:lstStyle>
            <a:lvl1pPr marL="0" indent="0">
              <a:spcBef>
                <a:spcPts val="0"/>
              </a:spcBef>
              <a:spcAft>
                <a:spcPts val="0"/>
              </a:spcAft>
              <a:buNone/>
              <a:tabLst/>
              <a:defRPr sz="50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a:t>
            </a:r>
            <a:br>
              <a:rPr lang="en-GB" noProof="0" dirty="0"/>
            </a:br>
            <a:r>
              <a:rPr lang="en-GB" noProof="0" dirty="0"/>
              <a:t>(40–70 </a:t>
            </a:r>
            <a:r>
              <a:rPr lang="en-GB" noProof="0" dirty="0" err="1"/>
              <a:t>pt</a:t>
            </a:r>
            <a:r>
              <a:rPr lang="en-GB" noProof="0" dirty="0"/>
              <a:t>)</a:t>
            </a:r>
          </a:p>
        </p:txBody>
      </p:sp>
      <p:sp>
        <p:nvSpPr>
          <p:cNvPr id="48" name="Subtitle"/>
          <p:cNvSpPr>
            <a:spLocks noGrp="1"/>
          </p:cNvSpPr>
          <p:nvPr userDrawn="1">
            <p:ph type="body" sz="quarter" idx="14" hasCustomPrompt="1"/>
          </p:nvPr>
        </p:nvSpPr>
        <p:spPr bwMode="gray">
          <a:xfrm>
            <a:off x="398770" y="4810558"/>
            <a:ext cx="4644000" cy="430887"/>
          </a:xfrm>
        </p:spPr>
        <p:txBody>
          <a:bodyPr wrap="square" lIns="0" rIns="0" anchor="t">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Author"/>
          <p:cNvSpPr>
            <a:spLocks noGrp="1"/>
          </p:cNvSpPr>
          <p:nvPr userDrawn="1">
            <p:ph type="body" sz="quarter" idx="11" hasCustomPrompt="1"/>
          </p:nvPr>
        </p:nvSpPr>
        <p:spPr bwMode="gray">
          <a:xfrm>
            <a:off x="398769" y="6455679"/>
            <a:ext cx="2448000" cy="169277"/>
          </a:xfrm>
        </p:spPr>
        <p:txBody>
          <a:bodyPr wrap="square" anchor="b"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sz="1100"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a:t>
            </a:r>
          </a:p>
        </p:txBody>
      </p:sp>
      <p:sp>
        <p:nvSpPr>
          <p:cNvPr id="3" name="Date"/>
          <p:cNvSpPr>
            <a:spLocks noGrp="1"/>
          </p:cNvSpPr>
          <p:nvPr userDrawn="1">
            <p:ph type="body" sz="quarter" idx="13" hasCustomPrompt="1"/>
          </p:nvPr>
        </p:nvSpPr>
        <p:spPr bwMode="gray">
          <a:xfrm>
            <a:off x="2969170" y="6455679"/>
            <a:ext cx="2073600" cy="169277"/>
          </a:xfrm>
        </p:spPr>
        <p:txBody>
          <a:bodyPr wrap="square" lIns="0" rIns="0" anchor="b">
            <a:spAutoFit/>
          </a:bodyPr>
          <a:lstStyle>
            <a:lvl1pPr marL="0" indent="0">
              <a:spcBef>
                <a:spcPts val="0"/>
              </a:spcBef>
              <a:spcAft>
                <a:spcPts val="0"/>
              </a:spcAft>
              <a:buNone/>
              <a:defRPr sz="1100">
                <a:solidFill>
                  <a:schemeClr val="tx2"/>
                </a:solidFill>
              </a:defRPr>
            </a:lvl1pPr>
          </a:lstStyle>
          <a:p>
            <a:pPr lvl="0"/>
            <a:r>
              <a:rPr lang="en-GB" noProof="0" dirty="0"/>
              <a:t>Date of the presentation</a:t>
            </a:r>
          </a:p>
        </p:txBody>
      </p:sp>
      <p:sp>
        <p:nvSpPr>
          <p:cNvPr id="2" name="Logo Allianz Global Investors">
            <a:extLst>
              <a:ext uri="{FF2B5EF4-FFF2-40B4-BE49-F238E27FC236}">
                <a16:creationId xmlns:a16="http://schemas.microsoft.com/office/drawing/2014/main" id="{C1C745EF-9866-685D-32F9-74642D19C2C9}"/>
              </a:ext>
              <a:ext uri="{C183D7F6-B498-43B3-948B-1728B52AA6E4}">
                <adec:decorative xmlns:adec="http://schemas.microsoft.com/office/drawing/2017/decorative" val="1"/>
              </a:ext>
            </a:extLst>
          </p:cNvPr>
          <p:cNvSpPr>
            <a:spLocks noGrp="1" noChangeAspect="1"/>
          </p:cNvSpPr>
          <p:nvPr>
            <p:ph type="pic" sz="quarter" idx="16"/>
          </p:nvPr>
        </p:nvSpPr>
        <p:spPr>
          <a:xfrm>
            <a:off x="398770" y="475753"/>
            <a:ext cx="2059200" cy="75673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rgbClr val="DADADA"/>
                </a:solidFill>
              </a:defRPr>
            </a:lvl1pPr>
          </a:lstStyle>
          <a:p>
            <a:endParaRPr lang="de-DE" dirty="0"/>
          </a:p>
        </p:txBody>
      </p:sp>
    </p:spTree>
    <p:extLst>
      <p:ext uri="{BB962C8B-B14F-4D97-AF65-F5344CB8AC3E}">
        <p14:creationId xmlns:p14="http://schemas.microsoft.com/office/powerpoint/2010/main" val="15793785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picture 3 (Disclaimer)">
    <p:bg>
      <p:bgRef idx="1001">
        <a:schemeClr val="bg1"/>
      </p:bgRef>
    </p:bg>
    <p:spTree>
      <p:nvGrpSpPr>
        <p:cNvPr id="1" name=""/>
        <p:cNvGrpSpPr/>
        <p:nvPr/>
      </p:nvGrpSpPr>
      <p:grpSpPr>
        <a:xfrm>
          <a:off x="0" y="0"/>
          <a:ext cx="0" cy="0"/>
          <a:chOff x="0" y="0"/>
          <a:chExt cx="0" cy="0"/>
        </a:xfrm>
      </p:grpSpPr>
      <p:sp>
        <p:nvSpPr>
          <p:cNvPr id="7" name="Picture">
            <a:extLst>
              <a:ext uri="{FF2B5EF4-FFF2-40B4-BE49-F238E27FC236}">
                <a16:creationId xmlns:a16="http://schemas.microsoft.com/office/drawing/2014/main" id="{07B777D4-0823-426C-BAA9-0A7603FF9D4D}"/>
              </a:ext>
            </a:extLst>
          </p:cNvPr>
          <p:cNvSpPr>
            <a:spLocks noGrp="1"/>
          </p:cNvSpPr>
          <p:nvPr>
            <p:ph type="pic" sz="quarter" idx="13"/>
          </p:nvPr>
        </p:nvSpPr>
        <p:spPr>
          <a:xfrm>
            <a:off x="4297200" y="0"/>
            <a:ext cx="7894800" cy="4968000"/>
          </a:xfrm>
          <a:solidFill>
            <a:schemeClr val="bg2">
              <a:lumMod val="20000"/>
              <a:lumOff val="80000"/>
            </a:schemeClr>
          </a:solidFill>
        </p:spPr>
        <p:txBody>
          <a:bodyPr/>
          <a:lstStyle>
            <a:lvl1pPr marL="0" indent="0">
              <a:buNone/>
              <a:defRPr/>
            </a:lvl1pPr>
          </a:lstStyle>
          <a:p>
            <a:endParaRPr lang="de-DE" dirty="0"/>
          </a:p>
        </p:txBody>
      </p:sp>
      <p:sp>
        <p:nvSpPr>
          <p:cNvPr id="3" name="Logo Allianz Global Investors">
            <a:extLst>
              <a:ext uri="{FF2B5EF4-FFF2-40B4-BE49-F238E27FC236}">
                <a16:creationId xmlns:a16="http://schemas.microsoft.com/office/drawing/2014/main" id="{E7E2B0B0-E835-B362-FFC1-FC19093BA6EB}"/>
              </a:ext>
              <a:ext uri="{C183D7F6-B498-43B3-948B-1728B52AA6E4}">
                <adec:decorative xmlns:adec="http://schemas.microsoft.com/office/drawing/2017/decorative" val="1"/>
              </a:ext>
            </a:extLst>
          </p:cNvPr>
          <p:cNvSpPr>
            <a:spLocks noGrp="1" noChangeAspect="1"/>
          </p:cNvSpPr>
          <p:nvPr>
            <p:ph type="pic" sz="quarter" idx="15"/>
          </p:nvPr>
        </p:nvSpPr>
        <p:spPr>
          <a:xfrm>
            <a:off x="10749323" y="261274"/>
            <a:ext cx="1018800" cy="3744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rgbClr val="DADADA"/>
                </a:solidFill>
              </a:defRPr>
            </a:lvl1pPr>
          </a:lstStyle>
          <a:p>
            <a:endParaRPr lang="de-DE"/>
          </a:p>
        </p:txBody>
      </p:sp>
      <p:sp>
        <p:nvSpPr>
          <p:cNvPr id="6" name="Title"/>
          <p:cNvSpPr>
            <a:spLocks noGrp="1"/>
          </p:cNvSpPr>
          <p:nvPr>
            <p:ph type="title" hasCustomPrompt="1"/>
          </p:nvPr>
        </p:nvSpPr>
        <p:spPr bwMode="gray">
          <a:xfrm>
            <a:off x="395926" y="628650"/>
            <a:ext cx="3610466" cy="1495264"/>
          </a:xfrm>
          <a:noFill/>
          <a:ln w="9525">
            <a:noFill/>
            <a:miter lim="800000"/>
            <a:headEnd/>
            <a:tailEnd/>
          </a:ln>
          <a:effectLst/>
        </p:spPr>
        <p:txBody>
          <a:bodyPr vert="horz" wrap="square" lIns="0" tIns="0" rIns="0" bIns="0" numCol="1" anchor="t" anchorCtr="0" compatLnSpc="1">
            <a:prstTxWarp prst="textNoShape">
              <a:avLst/>
            </a:prstTxWarp>
          </a:bodyPr>
          <a:lstStyle>
            <a:lvl1pPr>
              <a:defRPr lang="en-GB" sz="2800" b="0" noProof="0" dirty="0">
                <a:solidFill>
                  <a:schemeClr val="tx2"/>
                </a:solidFill>
                <a:ea typeface="+mn-ea"/>
                <a:cs typeface="+mn-cs"/>
              </a:defRPr>
            </a:lvl1pPr>
          </a:lstStyle>
          <a:p>
            <a:pPr marL="0" marR="0" lvl="0" indent="0" defTabSz="1038977" latinLnBrk="0">
              <a:lnSpc>
                <a:spcPct val="100000"/>
              </a:lnSpc>
              <a:spcBef>
                <a:spcPts val="480"/>
              </a:spcBef>
              <a:spcAft>
                <a:spcPts val="480"/>
              </a:spcAft>
              <a:buClr>
                <a:schemeClr val="tx2"/>
              </a:buClr>
              <a:buSzTx/>
              <a:buFont typeface="Wingdings" panose="05000000000000000000" pitchFamily="2" charset="2"/>
              <a:buNone/>
              <a:tabLst/>
            </a:pPr>
            <a:r>
              <a:rPr lang="en-GB" noProof="0" dirty="0"/>
              <a:t>Main slide heading appears here (28 </a:t>
            </a:r>
            <a:r>
              <a:rPr lang="en-GB" noProof="0" dirty="0" err="1"/>
              <a:t>pt</a:t>
            </a:r>
            <a:r>
              <a:rPr lang="en-GB" noProof="0" dirty="0"/>
              <a:t>)</a:t>
            </a:r>
          </a:p>
        </p:txBody>
      </p:sp>
      <p:sp>
        <p:nvSpPr>
          <p:cNvPr id="18" name="Subtitle">
            <a:extLst>
              <a:ext uri="{FF2B5EF4-FFF2-40B4-BE49-F238E27FC236}">
                <a16:creationId xmlns:a16="http://schemas.microsoft.com/office/drawing/2014/main" id="{B35C9DB6-6AB3-451C-A3A4-ACDF47A8045B}"/>
              </a:ext>
            </a:extLst>
          </p:cNvPr>
          <p:cNvSpPr>
            <a:spLocks noGrp="1"/>
          </p:cNvSpPr>
          <p:nvPr>
            <p:ph type="body" sz="quarter" idx="14" hasCustomPrompt="1"/>
          </p:nvPr>
        </p:nvSpPr>
        <p:spPr bwMode="gray">
          <a:xfrm>
            <a:off x="395926" y="4752556"/>
            <a:ext cx="3610466" cy="215444"/>
          </a:xfrm>
          <a:noFill/>
          <a:ln w="9525">
            <a:noFill/>
            <a:miter lim="800000"/>
            <a:headEnd/>
            <a:tailEnd/>
          </a:ln>
          <a:effectLst/>
        </p:spPr>
        <p:txBody>
          <a:bodyPr vert="horz" wrap="square" lIns="0" tIns="0" rIns="0" bIns="0" numCol="1" anchor="b" anchorCtr="0" compatLnSpc="1">
            <a:prstTxWarp prst="textNoShape">
              <a:avLst/>
            </a:prstTxWarp>
          </a:bodyPr>
          <a:lstStyle>
            <a:lvl1pPr marL="0" indent="0">
              <a:buNone/>
              <a:defRPr lang="en-GB" sz="1400" b="0" noProof="0" dirty="0">
                <a:solidFill>
                  <a:schemeClr val="tx2"/>
                </a:solidFill>
              </a:defRPr>
            </a:lvl1pPr>
          </a:lstStyle>
          <a:p>
            <a:pPr marL="194808" lvl="0" indent="-194808">
              <a:spcBef>
                <a:spcPts val="0"/>
              </a:spcBef>
              <a:spcAft>
                <a:spcPts val="0"/>
              </a:spcAft>
            </a:pPr>
            <a:r>
              <a:rPr lang="en-GB" noProof="0" dirty="0"/>
              <a:t>Subtitle</a:t>
            </a:r>
          </a:p>
        </p:txBody>
      </p:sp>
    </p:spTree>
    <p:extLst>
      <p:ext uri="{BB962C8B-B14F-4D97-AF65-F5344CB8AC3E}">
        <p14:creationId xmlns:p14="http://schemas.microsoft.com/office/powerpoint/2010/main" val="21465551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 picture 4 (Disclaimer)">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471CCCD8-A409-BCB2-D41C-BECB4E9B385F}"/>
              </a:ext>
            </a:extLst>
          </p:cNvPr>
          <p:cNvSpPr>
            <a:spLocks noGrp="1"/>
          </p:cNvSpPr>
          <p:nvPr>
            <p:ph type="title" hasCustomPrompt="1"/>
          </p:nvPr>
        </p:nvSpPr>
        <p:spPr bwMode="gray">
          <a:xfrm>
            <a:off x="401229" y="628651"/>
            <a:ext cx="5249556" cy="430887"/>
          </a:xfrm>
          <a:noFill/>
          <a:ln w="9525">
            <a:noFill/>
            <a:miter lim="800000"/>
            <a:headEnd/>
            <a:tailEnd/>
          </a:ln>
          <a:effectLst/>
        </p:spPr>
        <p:txBody>
          <a:bodyPr vert="horz" wrap="square" lIns="0" tIns="0" rIns="0" bIns="0" numCol="1" anchor="t" anchorCtr="0" compatLnSpc="1">
            <a:prstTxWarp prst="textNoShape">
              <a:avLst/>
            </a:prstTxWarp>
          </a:bodyPr>
          <a:lstStyle>
            <a:lvl1pPr>
              <a:defRPr lang="en-GB" sz="2800" b="0" noProof="0" dirty="0">
                <a:solidFill>
                  <a:schemeClr val="tx2"/>
                </a:solidFill>
                <a:ea typeface="+mn-ea"/>
                <a:cs typeface="+mn-cs"/>
              </a:defRPr>
            </a:lvl1pPr>
          </a:lstStyle>
          <a:p>
            <a:pPr marL="0" marR="0" lvl="0" indent="0" defTabSz="844169" latinLnBrk="0">
              <a:lnSpc>
                <a:spcPct val="100000"/>
              </a:lnSpc>
              <a:spcBef>
                <a:spcPts val="390"/>
              </a:spcBef>
              <a:spcAft>
                <a:spcPts val="390"/>
              </a:spcAft>
              <a:buClr>
                <a:schemeClr val="tx2"/>
              </a:buClr>
              <a:buSzTx/>
              <a:buFont typeface="Wingdings" panose="05000000000000000000" pitchFamily="2" charset="2"/>
              <a:buNone/>
              <a:tabLst/>
            </a:pPr>
            <a:r>
              <a:rPr lang="en-GB" noProof="0" dirty="0"/>
              <a:t>Main slide heading appears here</a:t>
            </a:r>
            <a:br>
              <a:rPr lang="en-GB" noProof="0" dirty="0"/>
            </a:br>
            <a:r>
              <a:rPr lang="en-GB" noProof="0" dirty="0"/>
              <a:t>Second line if required (28 </a:t>
            </a:r>
            <a:r>
              <a:rPr lang="en-GB" noProof="0" dirty="0" err="1"/>
              <a:t>pt</a:t>
            </a:r>
            <a:r>
              <a:rPr lang="en-GB" noProof="0" dirty="0"/>
              <a:t>)</a:t>
            </a:r>
          </a:p>
        </p:txBody>
      </p:sp>
      <p:sp>
        <p:nvSpPr>
          <p:cNvPr id="9" name="Content"/>
          <p:cNvSpPr>
            <a:spLocks noGrp="1"/>
          </p:cNvSpPr>
          <p:nvPr>
            <p:ph sz="quarter" idx="26" hasCustomPrompt="1"/>
          </p:nvPr>
        </p:nvSpPr>
        <p:spPr bwMode="gray">
          <a:xfrm>
            <a:off x="401228" y="2374449"/>
            <a:ext cx="5249556" cy="3805691"/>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 name="Picture">
            <a:extLst>
              <a:ext uri="{FF2B5EF4-FFF2-40B4-BE49-F238E27FC236}">
                <a16:creationId xmlns:a16="http://schemas.microsoft.com/office/drawing/2014/main" id="{1C72E3D5-3F9A-FB52-17ED-1D029BD5B760}"/>
              </a:ext>
            </a:extLst>
          </p:cNvPr>
          <p:cNvSpPr>
            <a:spLocks noGrp="1"/>
          </p:cNvSpPr>
          <p:nvPr>
            <p:ph type="pic" sz="quarter" idx="29"/>
          </p:nvPr>
        </p:nvSpPr>
        <p:spPr>
          <a:xfrm>
            <a:off x="5989201" y="1008000"/>
            <a:ext cx="6202800" cy="5850000"/>
          </a:xfrm>
          <a:solidFill>
            <a:schemeClr val="bg2">
              <a:lumMod val="20000"/>
              <a:lumOff val="80000"/>
            </a:schemeClr>
          </a:solidFill>
        </p:spPr>
        <p:txBody>
          <a:bodyPr/>
          <a:lstStyle>
            <a:lvl1pPr marL="0" indent="0">
              <a:buNone/>
              <a:defRPr/>
            </a:lvl1pPr>
          </a:lstStyle>
          <a:p>
            <a:endParaRPr lang="de-DE" dirty="0"/>
          </a:p>
        </p:txBody>
      </p:sp>
      <p:sp>
        <p:nvSpPr>
          <p:cNvPr id="3" name="Disclaimer">
            <a:extLst>
              <a:ext uri="{FF2B5EF4-FFF2-40B4-BE49-F238E27FC236}">
                <a16:creationId xmlns:a16="http://schemas.microsoft.com/office/drawing/2014/main" id="{0A1FE4CB-AEC9-C99E-1DFB-1C6DF49C7829}"/>
              </a:ext>
            </a:extLst>
          </p:cNvPr>
          <p:cNvSpPr>
            <a:spLocks noGrp="1"/>
          </p:cNvSpPr>
          <p:nvPr>
            <p:ph type="body" sz="quarter" idx="30" hasCustomPrompt="1"/>
          </p:nvPr>
        </p:nvSpPr>
        <p:spPr bwMode="gray">
          <a:xfrm>
            <a:off x="398770" y="6235200"/>
            <a:ext cx="5252016" cy="374400"/>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2903079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headline, two pictures/content">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471CCCD8-A409-BCB2-D41C-BECB4E9B385F}"/>
              </a:ext>
            </a:extLst>
          </p:cNvPr>
          <p:cNvSpPr>
            <a:spLocks noGrp="1"/>
          </p:cNvSpPr>
          <p:nvPr>
            <p:ph type="title" hasCustomPrompt="1"/>
          </p:nvPr>
        </p:nvSpPr>
        <p:spPr bwMode="gray">
          <a:xfrm>
            <a:off x="401228" y="628651"/>
            <a:ext cx="5567771" cy="2492990"/>
          </a:xfrm>
          <a:noFill/>
          <a:ln w="9525">
            <a:noFill/>
            <a:miter lim="800000"/>
            <a:headEnd/>
            <a:tailEnd/>
          </a:ln>
          <a:effectLst/>
        </p:spPr>
        <p:txBody>
          <a:bodyPr vert="horz" wrap="square" lIns="0" tIns="0" rIns="0" bIns="0" numCol="1" anchor="t" anchorCtr="0" compatLnSpc="1">
            <a:prstTxWarp prst="textNoShape">
              <a:avLst/>
            </a:prstTxWarp>
            <a:spAutoFit/>
          </a:bodyPr>
          <a:lstStyle>
            <a:lvl1pPr>
              <a:defRPr lang="en-GB" sz="5400" b="0" noProof="0" dirty="0">
                <a:solidFill>
                  <a:schemeClr val="tx2"/>
                </a:solidFill>
                <a:ea typeface="+mn-ea"/>
                <a:cs typeface="+mn-cs"/>
              </a:defRPr>
            </a:lvl1pPr>
          </a:lstStyle>
          <a:p>
            <a:pPr marL="0" marR="0" lvl="0" indent="0" defTabSz="844169" latinLnBrk="0">
              <a:lnSpc>
                <a:spcPct val="100000"/>
              </a:lnSpc>
              <a:spcBef>
                <a:spcPts val="390"/>
              </a:spcBef>
              <a:spcAft>
                <a:spcPts val="390"/>
              </a:spcAft>
              <a:buClr>
                <a:schemeClr val="tx2"/>
              </a:buClr>
              <a:buSzTx/>
              <a:buFont typeface="Wingdings" panose="05000000000000000000" pitchFamily="2" charset="2"/>
              <a:buNone/>
              <a:tabLst/>
            </a:pPr>
            <a:r>
              <a:rPr lang="en-GB" noProof="0" dirty="0"/>
              <a:t>Main slide heading appears here</a:t>
            </a:r>
          </a:p>
        </p:txBody>
      </p:sp>
      <p:sp>
        <p:nvSpPr>
          <p:cNvPr id="7" name="Content">
            <a:extLst>
              <a:ext uri="{FF2B5EF4-FFF2-40B4-BE49-F238E27FC236}">
                <a16:creationId xmlns:a16="http://schemas.microsoft.com/office/drawing/2014/main" id="{17AEE689-F9FE-B267-116D-ACA513D38BD0}"/>
              </a:ext>
            </a:extLst>
          </p:cNvPr>
          <p:cNvSpPr>
            <a:spLocks noGrp="1"/>
          </p:cNvSpPr>
          <p:nvPr>
            <p:ph sz="quarter" idx="32" hasCustomPrompt="1"/>
          </p:nvPr>
        </p:nvSpPr>
        <p:spPr bwMode="gray">
          <a:xfrm>
            <a:off x="8525380" y="3481301"/>
            <a:ext cx="2376000" cy="22320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 name="Picture right 1">
            <a:extLst>
              <a:ext uri="{FF2B5EF4-FFF2-40B4-BE49-F238E27FC236}">
                <a16:creationId xmlns:a16="http://schemas.microsoft.com/office/drawing/2014/main" id="{1C72E3D5-3F9A-FB52-17ED-1D029BD5B760}"/>
              </a:ext>
            </a:extLst>
          </p:cNvPr>
          <p:cNvSpPr>
            <a:spLocks noGrp="1"/>
          </p:cNvSpPr>
          <p:nvPr>
            <p:ph type="pic" sz="quarter" idx="29"/>
          </p:nvPr>
        </p:nvSpPr>
        <p:spPr>
          <a:xfrm>
            <a:off x="6184900" y="1008001"/>
            <a:ext cx="2088000" cy="2232000"/>
          </a:xfrm>
          <a:solidFill>
            <a:schemeClr val="bg2">
              <a:lumMod val="20000"/>
              <a:lumOff val="80000"/>
            </a:schemeClr>
          </a:solidFill>
        </p:spPr>
        <p:txBody>
          <a:bodyPr/>
          <a:lstStyle>
            <a:lvl1pPr marL="0" indent="0">
              <a:buNone/>
              <a:defRPr/>
            </a:lvl1pPr>
          </a:lstStyle>
          <a:p>
            <a:endParaRPr lang="de-DE" dirty="0"/>
          </a:p>
        </p:txBody>
      </p:sp>
      <p:sp>
        <p:nvSpPr>
          <p:cNvPr id="3" name="Content right 1">
            <a:extLst>
              <a:ext uri="{FF2B5EF4-FFF2-40B4-BE49-F238E27FC236}">
                <a16:creationId xmlns:a16="http://schemas.microsoft.com/office/drawing/2014/main" id="{A78174F1-00C4-DBF6-1554-B85B3BA9C9D7}"/>
              </a:ext>
            </a:extLst>
          </p:cNvPr>
          <p:cNvSpPr>
            <a:spLocks noGrp="1"/>
          </p:cNvSpPr>
          <p:nvPr>
            <p:ph sz="quarter" idx="30" hasCustomPrompt="1"/>
          </p:nvPr>
        </p:nvSpPr>
        <p:spPr bwMode="gray">
          <a:xfrm>
            <a:off x="8525380" y="1008001"/>
            <a:ext cx="2376000" cy="22320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6" name="Picture right 2">
            <a:extLst>
              <a:ext uri="{FF2B5EF4-FFF2-40B4-BE49-F238E27FC236}">
                <a16:creationId xmlns:a16="http://schemas.microsoft.com/office/drawing/2014/main" id="{D7E497D0-5790-C150-4296-68C3FBFB9CEA}"/>
              </a:ext>
            </a:extLst>
          </p:cNvPr>
          <p:cNvSpPr>
            <a:spLocks noGrp="1"/>
          </p:cNvSpPr>
          <p:nvPr>
            <p:ph type="pic" sz="quarter" idx="31"/>
          </p:nvPr>
        </p:nvSpPr>
        <p:spPr>
          <a:xfrm>
            <a:off x="6184900" y="3481300"/>
            <a:ext cx="2088000" cy="2232000"/>
          </a:xfrm>
          <a:solidFill>
            <a:schemeClr val="bg2">
              <a:lumMod val="20000"/>
              <a:lumOff val="80000"/>
            </a:schemeClr>
          </a:solidFill>
        </p:spPr>
        <p:txBody>
          <a:bodyPr/>
          <a:lstStyle>
            <a:lvl1pPr marL="0" indent="0">
              <a:buNone/>
              <a:defRPr/>
            </a:lvl1pPr>
          </a:lstStyle>
          <a:p>
            <a:endParaRPr lang="de-DE" dirty="0"/>
          </a:p>
        </p:txBody>
      </p:sp>
      <p:sp>
        <p:nvSpPr>
          <p:cNvPr id="9" name="Content right 2"/>
          <p:cNvSpPr>
            <a:spLocks noGrp="1"/>
          </p:cNvSpPr>
          <p:nvPr>
            <p:ph sz="quarter" idx="26" hasCustomPrompt="1"/>
          </p:nvPr>
        </p:nvSpPr>
        <p:spPr bwMode="gray">
          <a:xfrm>
            <a:off x="401229" y="4176002"/>
            <a:ext cx="5567772" cy="1333698"/>
          </a:xfrm>
        </p:spPr>
        <p:txBody>
          <a:bodyPr>
            <a:spAutoFit/>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5" name="Disclaimer">
            <a:extLst>
              <a:ext uri="{FF2B5EF4-FFF2-40B4-BE49-F238E27FC236}">
                <a16:creationId xmlns:a16="http://schemas.microsoft.com/office/drawing/2014/main" id="{CDAD92EA-6BCF-D061-4FAF-C47C509283EE}"/>
              </a:ext>
            </a:extLst>
          </p:cNvPr>
          <p:cNvSpPr>
            <a:spLocks noGrp="1"/>
          </p:cNvSpPr>
          <p:nvPr>
            <p:ph type="body" sz="quarter" idx="33" hasCustomPrompt="1"/>
          </p:nvPr>
        </p:nvSpPr>
        <p:spPr bwMode="gray">
          <a:xfrm>
            <a:off x="398770" y="6235200"/>
            <a:ext cx="5578047" cy="374400"/>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21726260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g headline, text">
    <p:spTree>
      <p:nvGrpSpPr>
        <p:cNvPr id="1" name=""/>
        <p:cNvGrpSpPr/>
        <p:nvPr/>
      </p:nvGrpSpPr>
      <p:grpSpPr>
        <a:xfrm>
          <a:off x="0" y="0"/>
          <a:ext cx="0" cy="0"/>
          <a:chOff x="0" y="0"/>
          <a:chExt cx="0" cy="0"/>
        </a:xfrm>
      </p:grpSpPr>
      <p:sp>
        <p:nvSpPr>
          <p:cNvPr id="5" name="Background shape">
            <a:extLst>
              <a:ext uri="{FF2B5EF4-FFF2-40B4-BE49-F238E27FC236}">
                <a16:creationId xmlns:a16="http://schemas.microsoft.com/office/drawing/2014/main" id="{70C44C75-C8D7-BF97-77CF-61AE17A7FBEC}"/>
              </a:ext>
              <a:ext uri="{C183D7F6-B498-43B3-948B-1728B52AA6E4}">
                <adec:decorative xmlns:adec="http://schemas.microsoft.com/office/drawing/2017/decorative" val="1"/>
              </a:ext>
            </a:extLst>
          </p:cNvPr>
          <p:cNvSpPr/>
          <p:nvPr userDrawn="1"/>
        </p:nvSpPr>
        <p:spPr>
          <a:xfrm>
            <a:off x="0" y="0"/>
            <a:ext cx="8112126"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75" dirty="0"/>
          </a:p>
        </p:txBody>
      </p:sp>
      <p:sp>
        <p:nvSpPr>
          <p:cNvPr id="2" name="Headline">
            <a:extLst>
              <a:ext uri="{FF2B5EF4-FFF2-40B4-BE49-F238E27FC236}">
                <a16:creationId xmlns:a16="http://schemas.microsoft.com/office/drawing/2014/main" id="{471CCCD8-A409-BCB2-D41C-BECB4E9B385F}"/>
              </a:ext>
            </a:extLst>
          </p:cNvPr>
          <p:cNvSpPr>
            <a:spLocks noGrp="1"/>
          </p:cNvSpPr>
          <p:nvPr>
            <p:ph type="title" hasCustomPrompt="1"/>
          </p:nvPr>
        </p:nvSpPr>
        <p:spPr bwMode="gray">
          <a:xfrm>
            <a:off x="401229" y="1584325"/>
            <a:ext cx="7460727" cy="830997"/>
          </a:xfrm>
          <a:noFill/>
          <a:ln w="9525">
            <a:noFill/>
            <a:miter lim="800000"/>
            <a:headEnd/>
            <a:tailEnd/>
          </a:ln>
          <a:effectLst/>
        </p:spPr>
        <p:txBody>
          <a:bodyPr vert="horz" wrap="square" lIns="0" tIns="0" rIns="0" bIns="0" numCol="1" anchor="t" anchorCtr="0" compatLnSpc="1">
            <a:prstTxWarp prst="textNoShape">
              <a:avLst/>
            </a:prstTxWarp>
          </a:bodyPr>
          <a:lstStyle>
            <a:lvl1pPr>
              <a:defRPr lang="en-GB" sz="5400" b="0" noProof="0" dirty="0">
                <a:solidFill>
                  <a:schemeClr val="accent1"/>
                </a:solidFill>
                <a:ea typeface="+mn-ea"/>
                <a:cs typeface="+mn-cs"/>
              </a:defRPr>
            </a:lvl1pPr>
          </a:lstStyle>
          <a:p>
            <a:pPr marL="0" marR="0" lvl="0" indent="0" defTabSz="844169" latinLnBrk="0">
              <a:lnSpc>
                <a:spcPct val="100000"/>
              </a:lnSpc>
              <a:spcBef>
                <a:spcPts val="390"/>
              </a:spcBef>
              <a:spcAft>
                <a:spcPts val="390"/>
              </a:spcAft>
              <a:buClr>
                <a:schemeClr val="tx2"/>
              </a:buClr>
              <a:buSzTx/>
              <a:buFont typeface="Wingdings" panose="05000000000000000000" pitchFamily="2" charset="2"/>
              <a:buNone/>
              <a:tabLst/>
            </a:pPr>
            <a:r>
              <a:rPr lang="en-GB" noProof="0" dirty="0"/>
              <a:t>Main slide heading appears here</a:t>
            </a:r>
          </a:p>
        </p:txBody>
      </p:sp>
      <p:sp>
        <p:nvSpPr>
          <p:cNvPr id="3" name="Content">
            <a:extLst>
              <a:ext uri="{FF2B5EF4-FFF2-40B4-BE49-F238E27FC236}">
                <a16:creationId xmlns:a16="http://schemas.microsoft.com/office/drawing/2014/main" id="{A78174F1-00C4-DBF6-1554-B85B3BA9C9D7}"/>
              </a:ext>
            </a:extLst>
          </p:cNvPr>
          <p:cNvSpPr>
            <a:spLocks noGrp="1"/>
          </p:cNvSpPr>
          <p:nvPr>
            <p:ph sz="quarter" idx="30" hasCustomPrompt="1"/>
          </p:nvPr>
        </p:nvSpPr>
        <p:spPr bwMode="gray">
          <a:xfrm>
            <a:off x="8864600" y="1584326"/>
            <a:ext cx="2905369" cy="4595813"/>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6" name="Disclaimer">
            <a:extLst>
              <a:ext uri="{FF2B5EF4-FFF2-40B4-BE49-F238E27FC236}">
                <a16:creationId xmlns:a16="http://schemas.microsoft.com/office/drawing/2014/main" id="{DA12BC6E-617D-A999-ADC8-26AE93F4B38F}"/>
              </a:ext>
            </a:extLst>
          </p:cNvPr>
          <p:cNvSpPr>
            <a:spLocks noGrp="1"/>
          </p:cNvSpPr>
          <p:nvPr>
            <p:ph type="body" sz="quarter" idx="26" hasCustomPrompt="1"/>
          </p:nvPr>
        </p:nvSpPr>
        <p:spPr bwMode="gray">
          <a:xfrm>
            <a:off x="398770" y="6235200"/>
            <a:ext cx="7463186" cy="374400"/>
          </a:xfrm>
        </p:spPr>
        <p:txBody>
          <a:bodyPr anchor="b"/>
          <a:lstStyle>
            <a:lvl1pPr marL="0" indent="0">
              <a:lnSpc>
                <a:spcPct val="100000"/>
              </a:lnSpc>
              <a:spcBef>
                <a:spcPts val="0"/>
              </a:spcBef>
              <a:spcAft>
                <a:spcPts val="0"/>
              </a:spcAft>
              <a:buNone/>
              <a:defRPr sz="800">
                <a:solidFill>
                  <a:schemeClr val="bg1"/>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3204692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full slide, text">
    <p:spTree>
      <p:nvGrpSpPr>
        <p:cNvPr id="1" name=""/>
        <p:cNvGrpSpPr/>
        <p:nvPr/>
      </p:nvGrpSpPr>
      <p:grpSpPr>
        <a:xfrm>
          <a:off x="0" y="0"/>
          <a:ext cx="0" cy="0"/>
          <a:chOff x="0" y="0"/>
          <a:chExt cx="0" cy="0"/>
        </a:xfrm>
      </p:grpSpPr>
      <p:sp>
        <p:nvSpPr>
          <p:cNvPr id="7" name="Picture">
            <a:extLst>
              <a:ext uri="{FF2B5EF4-FFF2-40B4-BE49-F238E27FC236}">
                <a16:creationId xmlns:a16="http://schemas.microsoft.com/office/drawing/2014/main" id="{9C19B5B8-5399-A807-684D-D3313DDE82AF}"/>
              </a:ext>
            </a:extLst>
          </p:cNvPr>
          <p:cNvSpPr>
            <a:spLocks noGrp="1"/>
          </p:cNvSpPr>
          <p:nvPr>
            <p:ph type="pic" sz="quarter" idx="13"/>
          </p:nvPr>
        </p:nvSpPr>
        <p:spPr>
          <a:xfrm>
            <a:off x="0" y="0"/>
            <a:ext cx="12192000" cy="6858000"/>
          </a:xfrm>
          <a:solidFill>
            <a:schemeClr val="bg2">
              <a:lumMod val="20000"/>
              <a:lumOff val="80000"/>
            </a:schemeClr>
          </a:solidFill>
        </p:spPr>
        <p:txBody>
          <a:bodyPr/>
          <a:lstStyle>
            <a:lvl1pPr marL="0" indent="0">
              <a:buNone/>
              <a:defRPr/>
            </a:lvl1pPr>
          </a:lstStyle>
          <a:p>
            <a:endParaRPr lang="de-DE" dirty="0"/>
          </a:p>
        </p:txBody>
      </p:sp>
      <p:sp>
        <p:nvSpPr>
          <p:cNvPr id="9" name="Headline">
            <a:extLst>
              <a:ext uri="{FF2B5EF4-FFF2-40B4-BE49-F238E27FC236}">
                <a16:creationId xmlns:a16="http://schemas.microsoft.com/office/drawing/2014/main" id="{D0A670FE-ADCD-A86A-F534-D87652562B63}"/>
              </a:ext>
            </a:extLst>
          </p:cNvPr>
          <p:cNvSpPr>
            <a:spLocks noGrp="1"/>
          </p:cNvSpPr>
          <p:nvPr>
            <p:ph type="title" hasCustomPrompt="1"/>
          </p:nvPr>
        </p:nvSpPr>
        <p:spPr bwMode="gray">
          <a:xfrm>
            <a:off x="3126000" y="2961000"/>
            <a:ext cx="5940000" cy="430887"/>
          </a:xfrm>
          <a:noFill/>
          <a:ln w="9525">
            <a:noFill/>
            <a:miter lim="800000"/>
            <a:headEnd/>
            <a:tailEnd/>
          </a:ln>
          <a:effectLst/>
        </p:spPr>
        <p:txBody>
          <a:bodyPr vert="horz" wrap="square" lIns="0" tIns="0" rIns="0" bIns="0" numCol="1" anchor="t" anchorCtr="0" compatLnSpc="1">
            <a:prstTxWarp prst="textNoShape">
              <a:avLst/>
            </a:prstTxWarp>
            <a:spAutoFit/>
          </a:bodyPr>
          <a:lstStyle>
            <a:lvl1pPr algn="ctr">
              <a:defRPr lang="en-GB" sz="2800" b="0" noProof="0" dirty="0">
                <a:solidFill>
                  <a:schemeClr val="bg1"/>
                </a:solidFill>
                <a:ea typeface="+mn-ea"/>
                <a:cs typeface="+mn-cs"/>
              </a:defRPr>
            </a:lvl1pPr>
          </a:lstStyle>
          <a:p>
            <a:pPr marL="0" marR="0" lvl="0" indent="0" defTabSz="1038977" latinLnBrk="0">
              <a:lnSpc>
                <a:spcPct val="100000"/>
              </a:lnSpc>
              <a:spcBef>
                <a:spcPts val="480"/>
              </a:spcBef>
              <a:spcAft>
                <a:spcPts val="480"/>
              </a:spcAft>
              <a:buClr>
                <a:schemeClr val="tx2"/>
              </a:buClr>
              <a:buSzTx/>
              <a:buFont typeface="Wingdings" panose="05000000000000000000" pitchFamily="2" charset="2"/>
              <a:buNone/>
              <a:tabLst/>
            </a:pPr>
            <a:r>
              <a:rPr lang="en-GB" noProof="0" dirty="0"/>
              <a:t>Main slide heading appears here</a:t>
            </a:r>
          </a:p>
        </p:txBody>
      </p:sp>
      <p:sp>
        <p:nvSpPr>
          <p:cNvPr id="8" name="Logo Allianz Global Investors">
            <a:extLst>
              <a:ext uri="{FF2B5EF4-FFF2-40B4-BE49-F238E27FC236}">
                <a16:creationId xmlns:a16="http://schemas.microsoft.com/office/drawing/2014/main" id="{F7D0A2D3-D9A7-5AAC-233F-63DA6919F455}"/>
              </a:ext>
              <a:ext uri="{C183D7F6-B498-43B3-948B-1728B52AA6E4}">
                <adec:decorative xmlns:adec="http://schemas.microsoft.com/office/drawing/2017/decorative" val="1"/>
              </a:ext>
            </a:extLst>
          </p:cNvPr>
          <p:cNvSpPr>
            <a:spLocks noGrp="1" noChangeAspect="1"/>
          </p:cNvSpPr>
          <p:nvPr>
            <p:ph type="pic" sz="quarter" idx="15"/>
          </p:nvPr>
        </p:nvSpPr>
        <p:spPr>
          <a:xfrm>
            <a:off x="10749323" y="261274"/>
            <a:ext cx="1018800" cy="3744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solidFill>
                  <a:srgbClr val="DADADA"/>
                </a:solidFill>
              </a:defRPr>
            </a:lvl1pPr>
          </a:lstStyle>
          <a:p>
            <a:endParaRPr lang="de-DE"/>
          </a:p>
        </p:txBody>
      </p:sp>
    </p:spTree>
    <p:extLst>
      <p:ext uri="{BB962C8B-B14F-4D97-AF65-F5344CB8AC3E}">
        <p14:creationId xmlns:p14="http://schemas.microsoft.com/office/powerpoint/2010/main" val="10973441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video">
    <p:spTree>
      <p:nvGrpSpPr>
        <p:cNvPr id="1" name=""/>
        <p:cNvGrpSpPr/>
        <p:nvPr/>
      </p:nvGrpSpPr>
      <p:grpSpPr>
        <a:xfrm>
          <a:off x="0" y="0"/>
          <a:ext cx="0" cy="0"/>
          <a:chOff x="0" y="0"/>
          <a:chExt cx="0" cy="0"/>
        </a:xfrm>
      </p:grpSpPr>
      <p:sp>
        <p:nvSpPr>
          <p:cNvPr id="2" name="Headline"/>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p>
        </p:txBody>
      </p:sp>
      <p:sp>
        <p:nvSpPr>
          <p:cNvPr id="8" name="Subheadline"/>
          <p:cNvSpPr>
            <a:spLocks noGrp="1"/>
          </p:cNvSpPr>
          <p:nvPr>
            <p:ph type="body" sz="quarter" idx="26" hasCustomPrompt="1"/>
          </p:nvPr>
        </p:nvSpPr>
        <p:spPr bwMode="gray">
          <a:xfrm>
            <a:off x="398770" y="1591200"/>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10" name="Second subheadline"/>
          <p:cNvSpPr>
            <a:spLocks noGrp="1"/>
          </p:cNvSpPr>
          <p:nvPr>
            <p:ph type="body" sz="quarter" idx="24" hasCustomPrompt="1"/>
          </p:nvPr>
        </p:nvSpPr>
        <p:spPr bwMode="gray">
          <a:xfrm>
            <a:off x="398770" y="1842087"/>
            <a:ext cx="11368800"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21" name="Content"/>
          <p:cNvSpPr>
            <a:spLocks noGrp="1"/>
          </p:cNvSpPr>
          <p:nvPr>
            <p:ph sz="quarter" idx="25" hasCustomPrompt="1"/>
          </p:nvPr>
        </p:nvSpPr>
        <p:spPr bwMode="gray">
          <a:xfrm>
            <a:off x="398770" y="2368800"/>
            <a:ext cx="2671753" cy="3794400"/>
          </a:xfrm>
        </p:spPr>
        <p:txBody>
          <a:bodyPr/>
          <a:lstStyle>
            <a:lvl1pPr>
              <a:defRPr/>
            </a:lvl1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9" name="Video"/>
          <p:cNvSpPr>
            <a:spLocks noGrp="1"/>
          </p:cNvSpPr>
          <p:nvPr>
            <p:ph type="media" sz="quarter" idx="23" hasCustomPrompt="1"/>
          </p:nvPr>
        </p:nvSpPr>
        <p:spPr bwMode="gray">
          <a:xfrm>
            <a:off x="3323078" y="2368800"/>
            <a:ext cx="8445047" cy="3794400"/>
          </a:xfrm>
        </p:spPr>
        <p:txBody>
          <a:bodyPr/>
          <a:lstStyle>
            <a:lvl1pPr marL="0" indent="0">
              <a:buNone/>
              <a:defRPr sz="933">
                <a:latin typeface="Arial" panose="020B0604020202020204" pitchFamily="34" charset="0"/>
              </a:defRPr>
            </a:lvl1pPr>
          </a:lstStyle>
          <a:p>
            <a:r>
              <a:rPr lang="en-GB" noProof="0" dirty="0"/>
              <a:t>Click the video button below to insert a video (only this action guarantees correct view)</a:t>
            </a:r>
            <a:br>
              <a:rPr lang="en-GB" noProof="0" dirty="0"/>
            </a:br>
            <a:r>
              <a:rPr lang="en-GB" noProof="0" dirty="0"/>
              <a:t>Note: All photography and video must comply with AllianzGI guidelines.</a:t>
            </a:r>
            <a:br>
              <a:rPr lang="en-GB" noProof="0" dirty="0"/>
            </a:br>
            <a:r>
              <a:rPr lang="en-GB" noProof="0" dirty="0"/>
              <a:t>Imagery is an expression of our brand personality and needs to reflect</a:t>
            </a:r>
            <a:br>
              <a:rPr lang="en-GB" noProof="0" dirty="0"/>
            </a:br>
            <a:r>
              <a:rPr lang="en-GB" noProof="0" dirty="0"/>
              <a:t>the business we are in. Our imagery needs to be thoughtful and serious,</a:t>
            </a:r>
            <a:br>
              <a:rPr lang="en-GB" noProof="0" dirty="0"/>
            </a:br>
            <a:r>
              <a:rPr lang="en-GB" noProof="0" dirty="0"/>
              <a:t>and must convey professionalism that inspires confidence and trust.</a:t>
            </a:r>
          </a:p>
          <a:p>
            <a:endParaRPr lang="en-GB" noProof="0" dirty="0"/>
          </a:p>
        </p:txBody>
      </p:sp>
      <p:sp>
        <p:nvSpPr>
          <p:cNvPr id="18"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32451253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bination of elements">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FBC9B296-B671-04F6-8F41-07A7890C678C}"/>
              </a:ext>
              <a:ext uri="{C183D7F6-B498-43B3-948B-1728B52AA6E4}">
                <adec:decorative xmlns:adec="http://schemas.microsoft.com/office/drawing/2017/decorative" val="1"/>
              </a:ext>
            </a:extLst>
          </p:cNvPr>
          <p:cNvSpPr/>
          <p:nvPr userDrawn="1"/>
        </p:nvSpPr>
        <p:spPr bwMode="gray">
          <a:xfrm>
            <a:off x="2231838" y="5335200"/>
            <a:ext cx="9541062" cy="828000"/>
          </a:xfrm>
          <a:prstGeom prst="rect">
            <a:avLst/>
          </a:prstGeom>
          <a:solidFill>
            <a:schemeClr val="accent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16" name="Arrow 4">
            <a:extLst>
              <a:ext uri="{FF2B5EF4-FFF2-40B4-BE49-F238E27FC236}">
                <a16:creationId xmlns:a16="http://schemas.microsoft.com/office/drawing/2014/main" id="{53CADFC9-548F-1E33-A48D-BB0EF73BEA33}"/>
              </a:ext>
              <a:ext uri="{C183D7F6-B498-43B3-948B-1728B52AA6E4}">
                <adec:decorative xmlns:adec="http://schemas.microsoft.com/office/drawing/2017/decorative" val="1"/>
              </a:ext>
            </a:extLst>
          </p:cNvPr>
          <p:cNvSpPr/>
          <p:nvPr userDrawn="1"/>
        </p:nvSpPr>
        <p:spPr bwMode="gray">
          <a:xfrm>
            <a:off x="1922326" y="5335200"/>
            <a:ext cx="3114595"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chemeClr val="accent4"/>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10" name="Rectangle 3">
            <a:extLst>
              <a:ext uri="{FF2B5EF4-FFF2-40B4-BE49-F238E27FC236}">
                <a16:creationId xmlns:a16="http://schemas.microsoft.com/office/drawing/2014/main" id="{7F9AD149-79F4-4B0F-3772-C440A42CC36D}"/>
              </a:ext>
              <a:ext uri="{C183D7F6-B498-43B3-948B-1728B52AA6E4}">
                <adec:decorative xmlns:adec="http://schemas.microsoft.com/office/drawing/2017/decorative" val="1"/>
              </a:ext>
            </a:extLst>
          </p:cNvPr>
          <p:cNvSpPr/>
          <p:nvPr userDrawn="1"/>
        </p:nvSpPr>
        <p:spPr bwMode="gray">
          <a:xfrm>
            <a:off x="2231838" y="4345200"/>
            <a:ext cx="9541062" cy="828000"/>
          </a:xfrm>
          <a:prstGeom prst="rect">
            <a:avLst/>
          </a:prstGeom>
          <a:solidFill>
            <a:schemeClr val="accent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12" name="Arrow 3">
            <a:extLst>
              <a:ext uri="{FF2B5EF4-FFF2-40B4-BE49-F238E27FC236}">
                <a16:creationId xmlns:a16="http://schemas.microsoft.com/office/drawing/2014/main" id="{83976D7F-98B9-359F-6AD9-7E738BAD0F20}"/>
              </a:ext>
              <a:ext uri="{C183D7F6-B498-43B3-948B-1728B52AA6E4}">
                <adec:decorative xmlns:adec="http://schemas.microsoft.com/office/drawing/2017/decorative" val="1"/>
              </a:ext>
            </a:extLst>
          </p:cNvPr>
          <p:cNvSpPr/>
          <p:nvPr userDrawn="1"/>
        </p:nvSpPr>
        <p:spPr bwMode="gray">
          <a:xfrm>
            <a:off x="1922326" y="4345200"/>
            <a:ext cx="3114595"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chemeClr val="accent3"/>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5" name="Rectangle 2">
            <a:extLst>
              <a:ext uri="{FF2B5EF4-FFF2-40B4-BE49-F238E27FC236}">
                <a16:creationId xmlns:a16="http://schemas.microsoft.com/office/drawing/2014/main" id="{F27A6DCD-9D1C-B002-0213-D78351BD47B2}"/>
              </a:ext>
              <a:ext uri="{C183D7F6-B498-43B3-948B-1728B52AA6E4}">
                <adec:decorative xmlns:adec="http://schemas.microsoft.com/office/drawing/2017/decorative" val="1"/>
              </a:ext>
            </a:extLst>
          </p:cNvPr>
          <p:cNvSpPr/>
          <p:nvPr userDrawn="1"/>
        </p:nvSpPr>
        <p:spPr bwMode="gray">
          <a:xfrm>
            <a:off x="2224638" y="3367113"/>
            <a:ext cx="9541062" cy="828000"/>
          </a:xfrm>
          <a:prstGeom prst="rect">
            <a:avLst/>
          </a:prstGeom>
          <a:solidFill>
            <a:schemeClr val="accent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9" name="Arrow 2">
            <a:extLst>
              <a:ext uri="{FF2B5EF4-FFF2-40B4-BE49-F238E27FC236}">
                <a16:creationId xmlns:a16="http://schemas.microsoft.com/office/drawing/2014/main" id="{59C2A769-F613-ED64-6A0E-FDE59DBB6E0D}"/>
              </a:ext>
              <a:ext uri="{C183D7F6-B498-43B3-948B-1728B52AA6E4}">
                <adec:decorative xmlns:adec="http://schemas.microsoft.com/office/drawing/2017/decorative" val="1"/>
              </a:ext>
            </a:extLst>
          </p:cNvPr>
          <p:cNvSpPr/>
          <p:nvPr userDrawn="1"/>
        </p:nvSpPr>
        <p:spPr bwMode="gray">
          <a:xfrm>
            <a:off x="1922326" y="3367113"/>
            <a:ext cx="3114595"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chemeClr val="accent4"/>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 name="Rectangle 1">
            <a:extLst>
              <a:ext uri="{FF2B5EF4-FFF2-40B4-BE49-F238E27FC236}">
                <a16:creationId xmlns:a16="http://schemas.microsoft.com/office/drawing/2014/main" id="{9844A778-3337-4022-60F3-07E39E0A99E6}"/>
              </a:ext>
              <a:ext uri="{C183D7F6-B498-43B3-948B-1728B52AA6E4}">
                <adec:decorative xmlns:adec="http://schemas.microsoft.com/office/drawing/2017/decorative" val="1"/>
              </a:ext>
            </a:extLst>
          </p:cNvPr>
          <p:cNvSpPr/>
          <p:nvPr userDrawn="1"/>
        </p:nvSpPr>
        <p:spPr bwMode="gray">
          <a:xfrm>
            <a:off x="2224639" y="2373043"/>
            <a:ext cx="9549944" cy="828000"/>
          </a:xfrm>
          <a:prstGeom prst="rect">
            <a:avLst/>
          </a:prstGeom>
          <a:solidFill>
            <a:schemeClr val="accent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 name="Arrow 1">
            <a:extLst>
              <a:ext uri="{FF2B5EF4-FFF2-40B4-BE49-F238E27FC236}">
                <a16:creationId xmlns:a16="http://schemas.microsoft.com/office/drawing/2014/main" id="{4B0028E8-A216-3A53-49A4-AE2F946A6FCB}"/>
              </a:ext>
              <a:ext uri="{C183D7F6-B498-43B3-948B-1728B52AA6E4}">
                <adec:decorative xmlns:adec="http://schemas.microsoft.com/office/drawing/2017/decorative" val="1"/>
              </a:ext>
            </a:extLst>
          </p:cNvPr>
          <p:cNvSpPr/>
          <p:nvPr userDrawn="1"/>
        </p:nvSpPr>
        <p:spPr bwMode="gray">
          <a:xfrm>
            <a:off x="1922325" y="2373043"/>
            <a:ext cx="3114595"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chemeClr val="accent3"/>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2" name="Headline"/>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p>
        </p:txBody>
      </p:sp>
      <p:sp>
        <p:nvSpPr>
          <p:cNvPr id="26" name="Subheadline"/>
          <p:cNvSpPr>
            <a:spLocks noGrp="1"/>
          </p:cNvSpPr>
          <p:nvPr>
            <p:ph type="body" sz="quarter" idx="23" hasCustomPrompt="1"/>
          </p:nvPr>
        </p:nvSpPr>
        <p:spPr bwMode="gray">
          <a:xfrm>
            <a:off x="398770" y="1591200"/>
            <a:ext cx="11369353"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30" name="Second subheadline"/>
          <p:cNvSpPr>
            <a:spLocks noGrp="1"/>
          </p:cNvSpPr>
          <p:nvPr>
            <p:ph type="body" sz="quarter" idx="24" hasCustomPrompt="1"/>
          </p:nvPr>
        </p:nvSpPr>
        <p:spPr bwMode="gray">
          <a:xfrm>
            <a:off x="398770" y="1842087"/>
            <a:ext cx="11369353"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6" name="Picture 1"/>
          <p:cNvSpPr>
            <a:spLocks noGrp="1"/>
          </p:cNvSpPr>
          <p:nvPr>
            <p:ph type="pic" sz="quarter" idx="21" hasCustomPrompt="1"/>
          </p:nvPr>
        </p:nvSpPr>
        <p:spPr bwMode="gray">
          <a:xfrm>
            <a:off x="398769" y="2378076"/>
            <a:ext cx="1284923" cy="828896"/>
          </a:xfrm>
        </p:spPr>
        <p:txBody>
          <a:bodyPr/>
          <a:lstStyle>
            <a:lvl1pPr marL="0" indent="0">
              <a:buNone/>
              <a:defRPr sz="933">
                <a:latin typeface="Arial" panose="020B0604020202020204" pitchFamily="34" charset="0"/>
              </a:defRPr>
            </a:lvl1pPr>
          </a:lstStyle>
          <a:p>
            <a:r>
              <a:rPr lang="en-GB" noProof="0" dirty="0"/>
              <a:t>Click the image button below to insert an image (only this action guarantees a correct view)</a:t>
            </a:r>
          </a:p>
        </p:txBody>
      </p:sp>
      <p:sp>
        <p:nvSpPr>
          <p:cNvPr id="18" name="Text arrow 1">
            <a:extLst>
              <a:ext uri="{FF2B5EF4-FFF2-40B4-BE49-F238E27FC236}">
                <a16:creationId xmlns:a16="http://schemas.microsoft.com/office/drawing/2014/main" id="{4D025C38-51AB-A0AF-CF65-3BC984BE7543}"/>
              </a:ext>
            </a:extLst>
          </p:cNvPr>
          <p:cNvSpPr>
            <a:spLocks noGrp="1"/>
          </p:cNvSpPr>
          <p:nvPr>
            <p:ph type="body" sz="quarter" idx="47" hasCustomPrompt="1"/>
          </p:nvPr>
        </p:nvSpPr>
        <p:spPr bwMode="gray">
          <a:xfrm>
            <a:off x="1922326" y="2368800"/>
            <a:ext cx="2592000"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 </a:t>
            </a:r>
            <a:r>
              <a:rPr lang="en-GB" noProof="0" dirty="0" err="1"/>
              <a:t>pt</a:t>
            </a:r>
            <a:r>
              <a:rPr lang="en-GB" noProof="0" dirty="0"/>
              <a:t>)</a:t>
            </a:r>
          </a:p>
        </p:txBody>
      </p:sp>
      <p:sp>
        <p:nvSpPr>
          <p:cNvPr id="20" name="Text rectangle 1">
            <a:extLst>
              <a:ext uri="{FF2B5EF4-FFF2-40B4-BE49-F238E27FC236}">
                <a16:creationId xmlns:a16="http://schemas.microsoft.com/office/drawing/2014/main" id="{9C896B8C-9BAA-EC73-97CF-59BD90D642DA}"/>
              </a:ext>
            </a:extLst>
          </p:cNvPr>
          <p:cNvSpPr>
            <a:spLocks noGrp="1"/>
          </p:cNvSpPr>
          <p:nvPr>
            <p:ph type="body" sz="quarter" idx="48" hasCustomPrompt="1"/>
          </p:nvPr>
        </p:nvSpPr>
        <p:spPr bwMode="gray">
          <a:xfrm>
            <a:off x="5223520" y="2368800"/>
            <a:ext cx="6542180" cy="828000"/>
          </a:xfrm>
        </p:spPr>
        <p:txBody>
          <a:bodyPr lIns="72000" tIns="72000" rIns="72000" bIns="72000" anchor="ctr"/>
          <a:lstStyle>
            <a:lvl1pPr marL="0" indent="0">
              <a:spcBef>
                <a:spcPts val="100"/>
              </a:spcBef>
              <a:spcAft>
                <a:spcPts val="100"/>
              </a:spcAft>
              <a:buNone/>
              <a:defRPr sz="1400">
                <a:solidFill>
                  <a:schemeClr val="tx2"/>
                </a:solidFill>
              </a:defRPr>
            </a:lvl1pPr>
          </a:lstStyle>
          <a:p>
            <a:pPr lvl="0"/>
            <a:r>
              <a:rPr lang="en-GB" noProof="0" dirty="0"/>
              <a:t>Long description</a:t>
            </a:r>
            <a:br>
              <a:rPr lang="en-GB" noProof="0" dirty="0"/>
            </a:br>
            <a:r>
              <a:rPr lang="en-GB" noProof="0" dirty="0"/>
              <a:t>(14 </a:t>
            </a:r>
            <a:r>
              <a:rPr lang="en-GB" noProof="0" dirty="0" err="1"/>
              <a:t>pt</a:t>
            </a:r>
            <a:r>
              <a:rPr lang="en-GB" noProof="0" dirty="0"/>
              <a:t>)</a:t>
            </a:r>
          </a:p>
        </p:txBody>
      </p:sp>
      <p:sp>
        <p:nvSpPr>
          <p:cNvPr id="27" name="Picture 2"/>
          <p:cNvSpPr>
            <a:spLocks noGrp="1"/>
          </p:cNvSpPr>
          <p:nvPr>
            <p:ph type="pic" sz="quarter" idx="29" hasCustomPrompt="1"/>
          </p:nvPr>
        </p:nvSpPr>
        <p:spPr bwMode="gray">
          <a:xfrm>
            <a:off x="398769" y="3366000"/>
            <a:ext cx="1284923" cy="828896"/>
          </a:xfrm>
        </p:spPr>
        <p:txBody>
          <a:bodyPr/>
          <a:lstStyle>
            <a:lvl1pPr marL="0" indent="0">
              <a:buNone/>
              <a:defRPr sz="933">
                <a:latin typeface="Arial" panose="020B0604020202020204" pitchFamily="34" charset="0"/>
              </a:defRPr>
            </a:lvl1pPr>
          </a:lstStyle>
          <a:p>
            <a:r>
              <a:rPr lang="en-GB" noProof="0" dirty="0"/>
              <a:t>Click the image button below to insert an image (only this action guarantees a correct view)</a:t>
            </a:r>
          </a:p>
        </p:txBody>
      </p:sp>
      <p:sp>
        <p:nvSpPr>
          <p:cNvPr id="22" name="Text arrow 2">
            <a:extLst>
              <a:ext uri="{FF2B5EF4-FFF2-40B4-BE49-F238E27FC236}">
                <a16:creationId xmlns:a16="http://schemas.microsoft.com/office/drawing/2014/main" id="{B847115C-0D93-38F7-1255-96FD0C73FCE8}"/>
              </a:ext>
            </a:extLst>
          </p:cNvPr>
          <p:cNvSpPr>
            <a:spLocks noGrp="1"/>
          </p:cNvSpPr>
          <p:nvPr>
            <p:ph type="body" sz="quarter" idx="49" hasCustomPrompt="1"/>
          </p:nvPr>
        </p:nvSpPr>
        <p:spPr bwMode="gray">
          <a:xfrm>
            <a:off x="1922326" y="3358800"/>
            <a:ext cx="2592000"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 </a:t>
            </a:r>
            <a:r>
              <a:rPr lang="en-GB" noProof="0" dirty="0" err="1"/>
              <a:t>pt</a:t>
            </a:r>
            <a:r>
              <a:rPr lang="en-GB" noProof="0" dirty="0"/>
              <a:t>)</a:t>
            </a:r>
          </a:p>
        </p:txBody>
      </p:sp>
      <p:sp>
        <p:nvSpPr>
          <p:cNvPr id="24" name="Text rectangle 2">
            <a:extLst>
              <a:ext uri="{FF2B5EF4-FFF2-40B4-BE49-F238E27FC236}">
                <a16:creationId xmlns:a16="http://schemas.microsoft.com/office/drawing/2014/main" id="{6760324A-98C6-6D8F-9C83-FB336E48F19E}"/>
              </a:ext>
            </a:extLst>
          </p:cNvPr>
          <p:cNvSpPr>
            <a:spLocks noGrp="1"/>
          </p:cNvSpPr>
          <p:nvPr>
            <p:ph type="body" sz="quarter" idx="50" hasCustomPrompt="1"/>
          </p:nvPr>
        </p:nvSpPr>
        <p:spPr bwMode="gray">
          <a:xfrm>
            <a:off x="5223520" y="3358800"/>
            <a:ext cx="6542180" cy="828000"/>
          </a:xfrm>
        </p:spPr>
        <p:txBody>
          <a:bodyPr lIns="72000" tIns="72000" rIns="72000" bIns="72000" anchor="ctr"/>
          <a:lstStyle>
            <a:lvl1pPr marL="0" indent="0">
              <a:spcBef>
                <a:spcPts val="100"/>
              </a:spcBef>
              <a:spcAft>
                <a:spcPts val="100"/>
              </a:spcAft>
              <a:buNone/>
              <a:defRPr sz="1400">
                <a:solidFill>
                  <a:schemeClr val="tx2"/>
                </a:solidFill>
              </a:defRPr>
            </a:lvl1pPr>
          </a:lstStyle>
          <a:p>
            <a:pPr lvl="0"/>
            <a:r>
              <a:rPr lang="en-GB" noProof="0" dirty="0"/>
              <a:t>Long description</a:t>
            </a:r>
            <a:br>
              <a:rPr lang="en-GB" noProof="0" dirty="0"/>
            </a:br>
            <a:r>
              <a:rPr lang="en-GB" noProof="0" dirty="0"/>
              <a:t>(14 </a:t>
            </a:r>
            <a:r>
              <a:rPr lang="en-GB" noProof="0" dirty="0" err="1"/>
              <a:t>pt</a:t>
            </a:r>
            <a:r>
              <a:rPr lang="en-GB" noProof="0" dirty="0"/>
              <a:t>)</a:t>
            </a:r>
          </a:p>
        </p:txBody>
      </p:sp>
      <p:sp>
        <p:nvSpPr>
          <p:cNvPr id="32" name="Picture 3"/>
          <p:cNvSpPr>
            <a:spLocks noGrp="1"/>
          </p:cNvSpPr>
          <p:nvPr>
            <p:ph type="pic" sz="quarter" idx="32" hasCustomPrompt="1"/>
          </p:nvPr>
        </p:nvSpPr>
        <p:spPr bwMode="gray">
          <a:xfrm>
            <a:off x="398769" y="4345853"/>
            <a:ext cx="1284923" cy="828896"/>
          </a:xfrm>
        </p:spPr>
        <p:txBody>
          <a:bodyPr/>
          <a:lstStyle>
            <a:lvl1pPr marL="0" indent="0">
              <a:buNone/>
              <a:defRPr sz="933">
                <a:latin typeface="Arial" panose="020B0604020202020204" pitchFamily="34" charset="0"/>
              </a:defRPr>
            </a:lvl1pPr>
          </a:lstStyle>
          <a:p>
            <a:r>
              <a:rPr lang="en-GB" noProof="0" dirty="0"/>
              <a:t>Click the image button below to insert an image (only this action guarantees a correct view)</a:t>
            </a:r>
          </a:p>
        </p:txBody>
      </p:sp>
      <p:sp>
        <p:nvSpPr>
          <p:cNvPr id="31" name="Text arrow 3">
            <a:extLst>
              <a:ext uri="{FF2B5EF4-FFF2-40B4-BE49-F238E27FC236}">
                <a16:creationId xmlns:a16="http://schemas.microsoft.com/office/drawing/2014/main" id="{6B2C5604-4520-6368-4464-1199CBDDFC75}"/>
              </a:ext>
            </a:extLst>
          </p:cNvPr>
          <p:cNvSpPr>
            <a:spLocks noGrp="1"/>
          </p:cNvSpPr>
          <p:nvPr>
            <p:ph type="body" sz="quarter" idx="51" hasCustomPrompt="1"/>
          </p:nvPr>
        </p:nvSpPr>
        <p:spPr bwMode="gray">
          <a:xfrm>
            <a:off x="1922326" y="4345200"/>
            <a:ext cx="2592000"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 </a:t>
            </a:r>
            <a:r>
              <a:rPr lang="en-GB" noProof="0" dirty="0" err="1"/>
              <a:t>pt</a:t>
            </a:r>
            <a:r>
              <a:rPr lang="en-GB" noProof="0" dirty="0"/>
              <a:t>)</a:t>
            </a:r>
          </a:p>
        </p:txBody>
      </p:sp>
      <p:sp>
        <p:nvSpPr>
          <p:cNvPr id="35" name="Text rectangle 3">
            <a:extLst>
              <a:ext uri="{FF2B5EF4-FFF2-40B4-BE49-F238E27FC236}">
                <a16:creationId xmlns:a16="http://schemas.microsoft.com/office/drawing/2014/main" id="{141EC5A6-6C05-7236-380E-0A9849D3B85B}"/>
              </a:ext>
            </a:extLst>
          </p:cNvPr>
          <p:cNvSpPr>
            <a:spLocks noGrp="1"/>
          </p:cNvSpPr>
          <p:nvPr>
            <p:ph type="body" sz="quarter" idx="52" hasCustomPrompt="1"/>
          </p:nvPr>
        </p:nvSpPr>
        <p:spPr bwMode="gray">
          <a:xfrm>
            <a:off x="5223520" y="4345200"/>
            <a:ext cx="6542180" cy="828000"/>
          </a:xfrm>
        </p:spPr>
        <p:txBody>
          <a:bodyPr lIns="72000" tIns="72000" rIns="72000" bIns="72000" anchor="ctr"/>
          <a:lstStyle>
            <a:lvl1pPr marL="0" indent="0">
              <a:spcBef>
                <a:spcPts val="100"/>
              </a:spcBef>
              <a:spcAft>
                <a:spcPts val="100"/>
              </a:spcAft>
              <a:buNone/>
              <a:defRPr sz="1400">
                <a:solidFill>
                  <a:schemeClr val="tx2"/>
                </a:solidFill>
              </a:defRPr>
            </a:lvl1pPr>
          </a:lstStyle>
          <a:p>
            <a:pPr lvl="0"/>
            <a:r>
              <a:rPr lang="en-GB" noProof="0" dirty="0"/>
              <a:t>Long description</a:t>
            </a:r>
            <a:br>
              <a:rPr lang="en-GB" noProof="0" dirty="0"/>
            </a:br>
            <a:r>
              <a:rPr lang="en-GB" noProof="0" dirty="0"/>
              <a:t>(14 </a:t>
            </a:r>
            <a:r>
              <a:rPr lang="en-GB" noProof="0" dirty="0" err="1"/>
              <a:t>pt</a:t>
            </a:r>
            <a:r>
              <a:rPr lang="en-GB" noProof="0" dirty="0"/>
              <a:t>)</a:t>
            </a:r>
          </a:p>
        </p:txBody>
      </p:sp>
      <p:sp>
        <p:nvSpPr>
          <p:cNvPr id="37" name="Picture 4"/>
          <p:cNvSpPr>
            <a:spLocks noGrp="1"/>
          </p:cNvSpPr>
          <p:nvPr>
            <p:ph type="pic" sz="quarter" idx="35" hasCustomPrompt="1"/>
          </p:nvPr>
        </p:nvSpPr>
        <p:spPr bwMode="gray">
          <a:xfrm>
            <a:off x="398769" y="5334505"/>
            <a:ext cx="1284923" cy="828896"/>
          </a:xfrm>
        </p:spPr>
        <p:txBody>
          <a:bodyPr/>
          <a:lstStyle>
            <a:lvl1pPr marL="0" indent="0">
              <a:buNone/>
              <a:defRPr sz="933">
                <a:latin typeface="Arial" panose="020B0604020202020204" pitchFamily="34" charset="0"/>
              </a:defRPr>
            </a:lvl1pPr>
          </a:lstStyle>
          <a:p>
            <a:r>
              <a:rPr lang="en-GB" noProof="0" dirty="0"/>
              <a:t>Click the image button below to insert an image (only this action guarantees a correct view)</a:t>
            </a:r>
          </a:p>
        </p:txBody>
      </p:sp>
      <p:sp>
        <p:nvSpPr>
          <p:cNvPr id="36" name="Text arrow 4">
            <a:extLst>
              <a:ext uri="{FF2B5EF4-FFF2-40B4-BE49-F238E27FC236}">
                <a16:creationId xmlns:a16="http://schemas.microsoft.com/office/drawing/2014/main" id="{4C64474B-1EEF-E574-0646-24A3DE6ECEE6}"/>
              </a:ext>
            </a:extLst>
          </p:cNvPr>
          <p:cNvSpPr>
            <a:spLocks noGrp="1"/>
          </p:cNvSpPr>
          <p:nvPr>
            <p:ph type="body" sz="quarter" idx="53" hasCustomPrompt="1"/>
          </p:nvPr>
        </p:nvSpPr>
        <p:spPr bwMode="gray">
          <a:xfrm>
            <a:off x="1922326" y="5335200"/>
            <a:ext cx="2592000"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 </a:t>
            </a:r>
            <a:r>
              <a:rPr lang="en-GB" noProof="0" dirty="0" err="1"/>
              <a:t>pt</a:t>
            </a:r>
            <a:r>
              <a:rPr lang="en-GB" noProof="0" dirty="0"/>
              <a:t>)</a:t>
            </a:r>
          </a:p>
        </p:txBody>
      </p:sp>
      <p:sp>
        <p:nvSpPr>
          <p:cNvPr id="40" name="Text rectangle 4">
            <a:extLst>
              <a:ext uri="{FF2B5EF4-FFF2-40B4-BE49-F238E27FC236}">
                <a16:creationId xmlns:a16="http://schemas.microsoft.com/office/drawing/2014/main" id="{0A29EF65-12DC-DBF6-502C-02061E3C0B03}"/>
              </a:ext>
            </a:extLst>
          </p:cNvPr>
          <p:cNvSpPr>
            <a:spLocks noGrp="1"/>
          </p:cNvSpPr>
          <p:nvPr>
            <p:ph type="body" sz="quarter" idx="54" hasCustomPrompt="1"/>
          </p:nvPr>
        </p:nvSpPr>
        <p:spPr bwMode="gray">
          <a:xfrm>
            <a:off x="5223520" y="5335200"/>
            <a:ext cx="6542180" cy="828000"/>
          </a:xfrm>
        </p:spPr>
        <p:txBody>
          <a:bodyPr lIns="72000" tIns="72000" rIns="72000" bIns="72000" anchor="ctr"/>
          <a:lstStyle>
            <a:lvl1pPr marL="0" indent="0">
              <a:spcBef>
                <a:spcPts val="100"/>
              </a:spcBef>
              <a:spcAft>
                <a:spcPts val="100"/>
              </a:spcAft>
              <a:buNone/>
              <a:defRPr sz="1400">
                <a:solidFill>
                  <a:schemeClr val="tx2"/>
                </a:solidFill>
              </a:defRPr>
            </a:lvl1pPr>
          </a:lstStyle>
          <a:p>
            <a:pPr lvl="0"/>
            <a:r>
              <a:rPr lang="en-GB" noProof="0" dirty="0"/>
              <a:t>Long description</a:t>
            </a:r>
            <a:br>
              <a:rPr lang="en-GB" noProof="0" dirty="0"/>
            </a:br>
            <a:r>
              <a:rPr lang="en-GB" noProof="0" dirty="0"/>
              <a:t>(14 </a:t>
            </a:r>
            <a:r>
              <a:rPr lang="en-GB" noProof="0" dirty="0" err="1"/>
              <a:t>pt</a:t>
            </a:r>
            <a:r>
              <a:rPr lang="en-GB" noProof="0" dirty="0"/>
              <a:t>)</a:t>
            </a:r>
          </a:p>
        </p:txBody>
      </p:sp>
      <p:sp>
        <p:nvSpPr>
          <p:cNvPr id="48"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Tree>
    <p:extLst>
      <p:ext uri="{BB962C8B-B14F-4D97-AF65-F5344CB8AC3E}">
        <p14:creationId xmlns:p14="http://schemas.microsoft.com/office/powerpoint/2010/main" val="13959835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ckground Visual with Content">
    <p:bg>
      <p:bgRef idx="1001">
        <a:schemeClr val="bg1"/>
      </p:bgRef>
    </p:bg>
    <p:spTree>
      <p:nvGrpSpPr>
        <p:cNvPr id="1" name=""/>
        <p:cNvGrpSpPr/>
        <p:nvPr/>
      </p:nvGrpSpPr>
      <p:grpSpPr>
        <a:xfrm>
          <a:off x="0" y="0"/>
          <a:ext cx="0" cy="0"/>
          <a:chOff x="0" y="0"/>
          <a:chExt cx="0" cy="0"/>
        </a:xfrm>
      </p:grpSpPr>
      <p:sp>
        <p:nvSpPr>
          <p:cNvPr id="11" name="Information picture"/>
          <p:cNvSpPr>
            <a:spLocks noGrp="1"/>
          </p:cNvSpPr>
          <p:nvPr>
            <p:ph type="body" sz="quarter" idx="30" hasCustomPrompt="1"/>
          </p:nvPr>
        </p:nvSpPr>
        <p:spPr bwMode="gray">
          <a:xfrm>
            <a:off x="5268990" y="162124"/>
            <a:ext cx="4696051" cy="1380201"/>
          </a:xfrm>
        </p:spPr>
        <p:txBody>
          <a:bodyPr/>
          <a:lstStyle>
            <a:lvl1pPr marL="0" marR="0" indent="0" algn="l" defTabSz="1219170" rtl="0" eaLnBrk="1" fontAlgn="base" latinLnBrk="0" hangingPunct="1">
              <a:lnSpc>
                <a:spcPct val="120000"/>
              </a:lnSpc>
              <a:spcBef>
                <a:spcPts val="480"/>
              </a:spcBef>
              <a:spcAft>
                <a:spcPts val="480"/>
              </a:spcAft>
              <a:buClr>
                <a:schemeClr val="tx2"/>
              </a:buClr>
              <a:buSzTx/>
              <a:buFont typeface="Wingdings" panose="05000000000000000000" pitchFamily="2" charset="2"/>
              <a:buNone/>
              <a:tabLst>
                <a:tab pos="239178" algn="l"/>
              </a:tabLst>
              <a:defRPr sz="933" i="1" baseline="0"/>
            </a:lvl1pPr>
          </a:lstStyle>
          <a:p>
            <a:pPr marL="0" marR="0" lvl="0" indent="0" algn="l" defTabSz="1219170" rtl="0" eaLnBrk="1" fontAlgn="base" latinLnBrk="0" hangingPunct="1">
              <a:lnSpc>
                <a:spcPct val="120000"/>
              </a:lnSpc>
              <a:spcBef>
                <a:spcPts val="480"/>
              </a:spcBef>
              <a:spcAft>
                <a:spcPts val="480"/>
              </a:spcAft>
              <a:buClr>
                <a:schemeClr val="tx2"/>
              </a:buClr>
              <a:buSzTx/>
              <a:buFont typeface="Wingdings" panose="05000000000000000000" pitchFamily="2" charset="2"/>
              <a:buNone/>
              <a:tabLst>
                <a:tab pos="23917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2" name="Headline"/>
          <p:cNvSpPr>
            <a:spLocks noGrp="1"/>
          </p:cNvSpPr>
          <p:nvPr>
            <p:ph type="title" hasCustomPrompt="1"/>
          </p:nvPr>
        </p:nvSpPr>
        <p:spPr bwMode="gray"/>
        <p:txBody>
          <a:bodyPr/>
          <a:lstStyle>
            <a:lvl1pPr>
              <a:defRPr>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8 </a:t>
            </a:r>
            <a:r>
              <a:rPr lang="en-GB" noProof="0" dirty="0" err="1"/>
              <a:t>pt</a:t>
            </a:r>
            <a:r>
              <a:rPr lang="en-GB" noProof="0" dirty="0"/>
              <a:t>)</a:t>
            </a:r>
          </a:p>
        </p:txBody>
      </p:sp>
      <p:sp>
        <p:nvSpPr>
          <p:cNvPr id="9" name="Subheadline"/>
          <p:cNvSpPr>
            <a:spLocks noGrp="1"/>
          </p:cNvSpPr>
          <p:nvPr>
            <p:ph type="body" sz="quarter" idx="23" hasCustomPrompt="1"/>
          </p:nvPr>
        </p:nvSpPr>
        <p:spPr bwMode="gray">
          <a:xfrm>
            <a:off x="398770" y="1591200"/>
            <a:ext cx="11369353"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sz="1400" b="1" noProof="0" dirty="0"/>
            </a:lvl1pPr>
          </a:lstStyle>
          <a:p>
            <a:pPr marL="180000" lvl="0" indent="-180000">
              <a:spcBef>
                <a:spcPts val="0"/>
              </a:spcBef>
              <a:spcAft>
                <a:spcPts val="0"/>
              </a:spcAft>
              <a:tabLst/>
            </a:pPr>
            <a:r>
              <a:rPr lang="en-GB" noProof="0" dirty="0" err="1"/>
              <a:t>Subheadline</a:t>
            </a:r>
            <a:r>
              <a:rPr lang="en-GB" noProof="0" dirty="0"/>
              <a:t> (12–16 </a:t>
            </a:r>
            <a:r>
              <a:rPr lang="en-GB" noProof="0" dirty="0" err="1"/>
              <a:t>pt</a:t>
            </a:r>
            <a:r>
              <a:rPr lang="en-GB" noProof="0" dirty="0"/>
              <a:t>)</a:t>
            </a:r>
          </a:p>
        </p:txBody>
      </p:sp>
      <p:sp>
        <p:nvSpPr>
          <p:cNvPr id="10" name="Second subheadline"/>
          <p:cNvSpPr>
            <a:spLocks noGrp="1"/>
          </p:cNvSpPr>
          <p:nvPr>
            <p:ph type="body" sz="quarter" idx="24" hasCustomPrompt="1"/>
          </p:nvPr>
        </p:nvSpPr>
        <p:spPr bwMode="gray">
          <a:xfrm>
            <a:off x="398770" y="1842087"/>
            <a:ext cx="11369353" cy="244800"/>
          </a:xfrm>
          <a:noFill/>
          <a:ln w="9525">
            <a:noFill/>
            <a:miter lim="800000"/>
            <a:headEnd/>
            <a:tailEnd/>
          </a:ln>
          <a:effectLst/>
        </p:spPr>
        <p:txBody>
          <a:bodyPr vert="horz" wrap="square" lIns="0" tIns="0" rIns="0" bIns="0" numCol="1" anchor="t" anchorCtr="0" compatLnSpc="1">
            <a:prstTxWarp prst="textNoShape">
              <a:avLst/>
            </a:prstTxWarp>
          </a:bodyPr>
          <a:lstStyle>
            <a:lvl1pPr marL="0" indent="0">
              <a:buNone/>
              <a:defRPr lang="en-GB" noProof="0" dirty="0"/>
            </a:lvl1pPr>
          </a:lstStyle>
          <a:p>
            <a:pPr marL="180000" lvl="0" indent="-180000">
              <a:spcBef>
                <a:spcPts val="0"/>
              </a:spcBef>
              <a:spcAft>
                <a:spcPts val="0"/>
              </a:spcAft>
            </a:pPr>
            <a:r>
              <a:rPr lang="en-GB" noProof="0"/>
              <a:t>Second subheadline, if required (12 pt)</a:t>
            </a:r>
            <a:endParaRPr lang="en-GB" noProof="0" dirty="0"/>
          </a:p>
        </p:txBody>
      </p:sp>
      <p:sp>
        <p:nvSpPr>
          <p:cNvPr id="4" name="Picture background"/>
          <p:cNvSpPr>
            <a:spLocks noGrp="1"/>
          </p:cNvSpPr>
          <p:nvPr>
            <p:ph type="pic" sz="quarter" idx="31" hasCustomPrompt="1"/>
          </p:nvPr>
        </p:nvSpPr>
        <p:spPr>
          <a:xfrm>
            <a:off x="0" y="2097618"/>
            <a:ext cx="12192000" cy="4760383"/>
          </a:xfrm>
        </p:spPr>
        <p:txBody>
          <a:bodyPr/>
          <a:lstStyle>
            <a:lvl1pPr marL="0" marR="0" indent="0" algn="l" defTabSz="1038977" rtl="0" eaLnBrk="1" fontAlgn="base" latinLnBrk="0" hangingPunct="1">
              <a:lnSpc>
                <a:spcPct val="100000"/>
              </a:lnSpc>
              <a:spcBef>
                <a:spcPts val="480"/>
              </a:spcBef>
              <a:spcAft>
                <a:spcPts val="480"/>
              </a:spcAft>
              <a:buClr>
                <a:schemeClr val="tx2"/>
              </a:buClr>
              <a:buSzTx/>
              <a:buFont typeface="Wingdings" panose="05000000000000000000" pitchFamily="2" charset="2"/>
              <a:buNone/>
              <a:tabLst>
                <a:tab pos="203827" algn="l"/>
              </a:tabLst>
              <a:defRPr>
                <a:solidFill>
                  <a:schemeClr val="tx2"/>
                </a:solidFill>
              </a:defRPr>
            </a:lvl1pPr>
          </a:lstStyle>
          <a:p>
            <a:r>
              <a:rPr lang="en-GB" noProof="0" dirty="0"/>
              <a:t>New picture – send to back</a:t>
            </a:r>
          </a:p>
        </p:txBody>
      </p:sp>
      <p:sp>
        <p:nvSpPr>
          <p:cNvPr id="23" name="Content"/>
          <p:cNvSpPr>
            <a:spLocks noGrp="1"/>
          </p:cNvSpPr>
          <p:nvPr>
            <p:ph sz="quarter" idx="25" hasCustomPrompt="1"/>
          </p:nvPr>
        </p:nvSpPr>
        <p:spPr bwMode="gray">
          <a:xfrm>
            <a:off x="398770" y="2368800"/>
            <a:ext cx="11369353" cy="3794400"/>
          </a:xfrm>
        </p:spPr>
        <p:txBody>
          <a:bodyPr/>
          <a:lstStyle>
            <a:lvl1pPr>
              <a:defRPr/>
            </a:lvl1pPr>
            <a:lvl5pPr>
              <a:defRPr/>
            </a:lvl5pPr>
          </a:lstStyle>
          <a:p>
            <a:pPr lvl="0"/>
            <a:r>
              <a:rPr lang="en-GB" noProof="0" dirty="0"/>
              <a:t>1st Level (12 </a:t>
            </a:r>
            <a:r>
              <a:rPr lang="en-GB" noProof="0" dirty="0" err="1"/>
              <a:t>pt</a:t>
            </a:r>
            <a:r>
              <a:rPr lang="en-GB" noProof="0" dirty="0"/>
              <a: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3"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
        <p:nvSpPr>
          <p:cNvPr id="15" name="Slide number"/>
          <p:cNvSpPr txBox="1"/>
          <p:nvPr userDrawn="1"/>
        </p:nvSpPr>
        <p:spPr>
          <a:xfrm>
            <a:off x="10271640" y="6526800"/>
            <a:ext cx="1496483" cy="84139"/>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a:t>
            </a:fld>
            <a:endParaRPr lang="en-GB" sz="800" baseline="0" noProof="0" dirty="0">
              <a:solidFill>
                <a:schemeClr val="tx2"/>
              </a:solidFill>
              <a:latin typeface="Arial" panose="020B0604020202020204" pitchFamily="34" charset="0"/>
            </a:endParaRPr>
          </a:p>
        </p:txBody>
      </p:sp>
    </p:spTree>
    <p:extLst>
      <p:ext uri="{BB962C8B-B14F-4D97-AF65-F5344CB8AC3E}">
        <p14:creationId xmlns:p14="http://schemas.microsoft.com/office/powerpoint/2010/main" val="42725993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ackground Visual">
    <p:bg>
      <p:bgRef idx="1001">
        <a:schemeClr val="bg1"/>
      </p:bgRef>
    </p:bg>
    <p:spTree>
      <p:nvGrpSpPr>
        <p:cNvPr id="1" name=""/>
        <p:cNvGrpSpPr/>
        <p:nvPr/>
      </p:nvGrpSpPr>
      <p:grpSpPr>
        <a:xfrm>
          <a:off x="0" y="0"/>
          <a:ext cx="0" cy="0"/>
          <a:chOff x="0" y="0"/>
          <a:chExt cx="0" cy="0"/>
        </a:xfrm>
      </p:grpSpPr>
      <p:sp>
        <p:nvSpPr>
          <p:cNvPr id="8" name="Information picture"/>
          <p:cNvSpPr>
            <a:spLocks noGrp="1"/>
          </p:cNvSpPr>
          <p:nvPr>
            <p:ph type="body" sz="quarter" idx="30" hasCustomPrompt="1"/>
          </p:nvPr>
        </p:nvSpPr>
        <p:spPr bwMode="gray">
          <a:xfrm>
            <a:off x="5268990" y="162124"/>
            <a:ext cx="4696051" cy="1380201"/>
          </a:xfrm>
        </p:spPr>
        <p:txBody>
          <a:bodyPr/>
          <a:lstStyle>
            <a:lvl1pPr marL="0" marR="0" indent="0" algn="l" defTabSz="1219170" rtl="0" eaLnBrk="1" fontAlgn="base" latinLnBrk="0" hangingPunct="1">
              <a:lnSpc>
                <a:spcPct val="120000"/>
              </a:lnSpc>
              <a:spcBef>
                <a:spcPts val="480"/>
              </a:spcBef>
              <a:spcAft>
                <a:spcPts val="480"/>
              </a:spcAft>
              <a:buClr>
                <a:schemeClr val="tx2"/>
              </a:buClr>
              <a:buSzTx/>
              <a:buFont typeface="Wingdings" panose="05000000000000000000" pitchFamily="2" charset="2"/>
              <a:buNone/>
              <a:tabLst>
                <a:tab pos="239178" algn="l"/>
              </a:tabLst>
              <a:defRPr sz="933" i="1" baseline="0"/>
            </a:lvl1pPr>
          </a:lstStyle>
          <a:p>
            <a:pPr marL="0" marR="0" lvl="0" indent="0" algn="l" defTabSz="1219170" rtl="0" eaLnBrk="1" fontAlgn="base" latinLnBrk="0" hangingPunct="1">
              <a:lnSpc>
                <a:spcPct val="120000"/>
              </a:lnSpc>
              <a:spcBef>
                <a:spcPts val="480"/>
              </a:spcBef>
              <a:spcAft>
                <a:spcPts val="480"/>
              </a:spcAft>
              <a:buClr>
                <a:schemeClr val="tx2"/>
              </a:buClr>
              <a:buSzTx/>
              <a:buFont typeface="Wingdings" panose="05000000000000000000" pitchFamily="2" charset="2"/>
              <a:buNone/>
              <a:tabLst>
                <a:tab pos="23917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3" name="Picture"/>
          <p:cNvSpPr>
            <a:spLocks noGrp="1"/>
          </p:cNvSpPr>
          <p:nvPr>
            <p:ph type="pic" sz="quarter" idx="31" hasCustomPrompt="1"/>
          </p:nvPr>
        </p:nvSpPr>
        <p:spPr>
          <a:xfrm>
            <a:off x="0" y="2097618"/>
            <a:ext cx="12192000" cy="4760383"/>
          </a:xfrm>
        </p:spPr>
        <p:txBody>
          <a:bodyPr/>
          <a:lstStyle>
            <a:lvl1pPr marL="0" marR="0" indent="0" algn="l" defTabSz="1038977" rtl="0" eaLnBrk="1" fontAlgn="base" latinLnBrk="0" hangingPunct="1">
              <a:lnSpc>
                <a:spcPct val="100000"/>
              </a:lnSpc>
              <a:spcBef>
                <a:spcPts val="480"/>
              </a:spcBef>
              <a:spcAft>
                <a:spcPts val="480"/>
              </a:spcAft>
              <a:buClr>
                <a:schemeClr val="tx2"/>
              </a:buClr>
              <a:buSzTx/>
              <a:buFont typeface="Wingdings" panose="05000000000000000000" pitchFamily="2" charset="2"/>
              <a:buNone/>
              <a:tabLst>
                <a:tab pos="203827" algn="l"/>
              </a:tabLst>
              <a:defRPr/>
            </a:lvl1pPr>
          </a:lstStyle>
          <a:p>
            <a:r>
              <a:rPr lang="en-GB" noProof="0" dirty="0"/>
              <a:t>New picture – send to back</a:t>
            </a:r>
          </a:p>
        </p:txBody>
      </p:sp>
      <p:sp>
        <p:nvSpPr>
          <p:cNvPr id="13" name="Disclaimer"/>
          <p:cNvSpPr>
            <a:spLocks noGrp="1"/>
          </p:cNvSpPr>
          <p:nvPr>
            <p:ph type="body" sz="quarter" idx="22" hasCustomPrompt="1"/>
          </p:nvPr>
        </p:nvSpPr>
        <p:spPr bwMode="gray">
          <a:xfrm>
            <a:off x="398770" y="6235338"/>
            <a:ext cx="10633847"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 </a:t>
            </a:r>
            <a:r>
              <a:rPr lang="en-GB" noProof="0" dirty="0" err="1"/>
              <a:t>pt</a:t>
            </a:r>
            <a:r>
              <a:rPr lang="en-GB" noProof="0" dirty="0"/>
              <a:t>)</a:t>
            </a:r>
          </a:p>
        </p:txBody>
      </p:sp>
      <p:sp>
        <p:nvSpPr>
          <p:cNvPr id="9" name="Slide number"/>
          <p:cNvSpPr txBox="1"/>
          <p:nvPr userDrawn="1"/>
        </p:nvSpPr>
        <p:spPr>
          <a:xfrm>
            <a:off x="10271640" y="6526800"/>
            <a:ext cx="1496483" cy="84139"/>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a:t>
            </a:fld>
            <a:endParaRPr lang="en-GB" sz="800" baseline="0" noProof="0" dirty="0">
              <a:solidFill>
                <a:schemeClr val="tx2"/>
              </a:solidFill>
              <a:latin typeface="Arial" panose="020B0604020202020204" pitchFamily="34" charset="0"/>
            </a:endParaRPr>
          </a:p>
        </p:txBody>
      </p:sp>
    </p:spTree>
    <p:extLst>
      <p:ext uri="{BB962C8B-B14F-4D97-AF65-F5344CB8AC3E}">
        <p14:creationId xmlns:p14="http://schemas.microsoft.com/office/powerpoint/2010/main" val="161850829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ey Point_Dark Blue">
    <p:bg>
      <p:bgPr>
        <a:solidFill>
          <a:schemeClr val="accent1"/>
        </a:solidFill>
        <a:effectLst/>
      </p:bgPr>
    </p:bg>
    <p:spTree>
      <p:nvGrpSpPr>
        <p:cNvPr id="1" name=""/>
        <p:cNvGrpSpPr/>
        <p:nvPr/>
      </p:nvGrpSpPr>
      <p:grpSpPr>
        <a:xfrm>
          <a:off x="0" y="0"/>
          <a:ext cx="0" cy="0"/>
          <a:chOff x="0" y="0"/>
          <a:chExt cx="0" cy="0"/>
        </a:xfrm>
      </p:grpSpPr>
      <p:sp>
        <p:nvSpPr>
          <p:cNvPr id="6" name="Quote"/>
          <p:cNvSpPr>
            <a:spLocks noGrp="1"/>
          </p:cNvSpPr>
          <p:nvPr>
            <p:ph type="body" sz="quarter" idx="23" hasCustomPrompt="1"/>
          </p:nvPr>
        </p:nvSpPr>
        <p:spPr bwMode="gray">
          <a:xfrm>
            <a:off x="398771" y="1584325"/>
            <a:ext cx="11369353" cy="2581200"/>
          </a:xfrm>
        </p:spPr>
        <p:txBody>
          <a:bodyPr/>
          <a:lstStyle>
            <a:lvl1pPr marL="0" indent="0">
              <a:spcBef>
                <a:spcPts val="0"/>
              </a:spcBef>
              <a:spcAft>
                <a:spcPts val="0"/>
              </a:spcAft>
              <a:buNone/>
              <a:defRPr sz="4000">
                <a:solidFill>
                  <a:schemeClr val="bg1"/>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a:t>
            </a:r>
            <a:br>
              <a:rPr lang="en-GB" noProof="0" dirty="0"/>
            </a:br>
            <a:r>
              <a:rPr lang="en-GB" noProof="0" dirty="0"/>
              <a:t>(40 </a:t>
            </a:r>
            <a:r>
              <a:rPr lang="en-GB" noProof="0" dirty="0" err="1"/>
              <a:t>pt</a:t>
            </a:r>
            <a:r>
              <a:rPr lang="en-GB" noProof="0" dirty="0"/>
              <a:t>)</a:t>
            </a:r>
          </a:p>
        </p:txBody>
      </p:sp>
      <p:sp>
        <p:nvSpPr>
          <p:cNvPr id="12" name="Name of speaker"/>
          <p:cNvSpPr>
            <a:spLocks noGrp="1"/>
          </p:cNvSpPr>
          <p:nvPr>
            <p:ph type="body" sz="quarter" idx="24" hasCustomPrompt="1"/>
          </p:nvPr>
        </p:nvSpPr>
        <p:spPr bwMode="gray">
          <a:xfrm>
            <a:off x="398771" y="4172726"/>
            <a:ext cx="11369353" cy="276999"/>
          </a:xfrm>
        </p:spPr>
        <p:txBody>
          <a:bodyPr anchor="t">
            <a:spAutoFit/>
          </a:bodyPr>
          <a:lstStyle>
            <a:lvl1pPr marL="0" indent="0">
              <a:spcBef>
                <a:spcPts val="0"/>
              </a:spcBef>
              <a:spcAft>
                <a:spcPts val="0"/>
              </a:spcAft>
              <a:buNone/>
              <a:defRPr sz="1800">
                <a:solidFill>
                  <a:schemeClr val="bg1"/>
                </a:solidFill>
              </a:defRPr>
            </a:lvl1pPr>
          </a:lstStyle>
          <a:p>
            <a:pPr lvl="0"/>
            <a:r>
              <a:rPr lang="en-GB" noProof="0" dirty="0"/>
              <a:t>Name of speaker (18 </a:t>
            </a:r>
            <a:r>
              <a:rPr lang="en-GB" noProof="0" dirty="0" err="1"/>
              <a:t>pt</a:t>
            </a:r>
            <a:r>
              <a:rPr lang="en-GB" noProof="0" dirty="0"/>
              <a:t>)</a:t>
            </a:r>
          </a:p>
        </p:txBody>
      </p:sp>
      <p:sp>
        <p:nvSpPr>
          <p:cNvPr id="5" name="Disclaimer">
            <a:extLst>
              <a:ext uri="{FF2B5EF4-FFF2-40B4-BE49-F238E27FC236}">
                <a16:creationId xmlns:a16="http://schemas.microsoft.com/office/drawing/2014/main" id="{794CE249-EEF7-5D44-4F81-14A635CC5829}"/>
              </a:ext>
            </a:extLst>
          </p:cNvPr>
          <p:cNvSpPr>
            <a:spLocks noGrp="1"/>
          </p:cNvSpPr>
          <p:nvPr>
            <p:ph type="body" sz="quarter" idx="26" hasCustomPrompt="1"/>
          </p:nvPr>
        </p:nvSpPr>
        <p:spPr bwMode="gray">
          <a:xfrm>
            <a:off x="398769" y="6235200"/>
            <a:ext cx="10633846" cy="374400"/>
          </a:xfrm>
        </p:spPr>
        <p:txBody>
          <a:bodyPr anchor="b"/>
          <a:lstStyle>
            <a:lvl1pPr marL="0" indent="0">
              <a:lnSpc>
                <a:spcPct val="100000"/>
              </a:lnSpc>
              <a:spcBef>
                <a:spcPts val="0"/>
              </a:spcBef>
              <a:spcAft>
                <a:spcPts val="0"/>
              </a:spcAft>
              <a:buNone/>
              <a:defRPr sz="800">
                <a:solidFill>
                  <a:schemeClr val="bg1"/>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 </a:t>
            </a:r>
            <a:r>
              <a:rPr lang="en-GB" noProof="0" dirty="0" err="1"/>
              <a:t>pt</a:t>
            </a:r>
            <a:r>
              <a:rPr lang="en-GB" noProof="0" dirty="0"/>
              <a:t>)</a:t>
            </a:r>
          </a:p>
        </p:txBody>
      </p:sp>
      <p:sp>
        <p:nvSpPr>
          <p:cNvPr id="7" name="Slide number">
            <a:extLst>
              <a:ext uri="{FF2B5EF4-FFF2-40B4-BE49-F238E27FC236}">
                <a16:creationId xmlns:a16="http://schemas.microsoft.com/office/drawing/2014/main" id="{AB0CDE94-AC8B-8AB3-6EC1-18BA528E5C38}"/>
              </a:ext>
            </a:extLst>
          </p:cNvPr>
          <p:cNvSpPr txBox="1"/>
          <p:nvPr userDrawn="1"/>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bg1"/>
                </a:solidFill>
                <a:latin typeface="Arial" panose="020B0604020202020204" pitchFamily="34" charset="0"/>
              </a:rPr>
              <a:pPr lvl="0"/>
              <a:t>‹#›</a:t>
            </a:fld>
            <a:endParaRPr lang="en-GB" sz="800" baseline="0" noProof="0" dirty="0">
              <a:solidFill>
                <a:schemeClr val="bg1"/>
              </a:solidFill>
              <a:latin typeface="Arial" panose="020B0604020202020204" pitchFamily="34" charset="0"/>
            </a:endParaRPr>
          </a:p>
        </p:txBody>
      </p:sp>
      <p:sp>
        <p:nvSpPr>
          <p:cNvPr id="4" name="Logo Allianz Global Investors">
            <a:extLst>
              <a:ext uri="{FF2B5EF4-FFF2-40B4-BE49-F238E27FC236}">
                <a16:creationId xmlns:a16="http://schemas.microsoft.com/office/drawing/2014/main" id="{5167B6A1-2844-88B3-7F50-95EF9D927437}"/>
              </a:ext>
              <a:ext uri="{C183D7F6-B498-43B3-948B-1728B52AA6E4}">
                <adec:decorative xmlns:adec="http://schemas.microsoft.com/office/drawing/2017/decorative" val="1"/>
              </a:ext>
            </a:extLst>
          </p:cNvPr>
          <p:cNvSpPr>
            <a:spLocks noChangeAspect="1" noEditPoints="1"/>
          </p:cNvSpPr>
          <p:nvPr userDrawn="1"/>
        </p:nvSpPr>
        <p:spPr bwMode="gray">
          <a:xfrm>
            <a:off x="10750524" y="261274"/>
            <a:ext cx="1017600" cy="375911"/>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bg1"/>
          </a:solidFill>
          <a:ln w="9525">
            <a:noFill/>
            <a:round/>
            <a:headEnd/>
            <a:tailEnd/>
          </a:ln>
        </p:spPr>
        <p:txBody>
          <a:bodyPr/>
          <a:lstStyle/>
          <a:p>
            <a:endParaRPr lang="en-GB" sz="1777" noProof="0" dirty="0">
              <a:latin typeface="Arial" panose="020B0604020202020204" pitchFamily="34" charset="0"/>
            </a:endParaRPr>
          </a:p>
        </p:txBody>
      </p:sp>
      <p:pic>
        <p:nvPicPr>
          <p:cNvPr id="2" name="Graphic quotation mark">
            <a:extLst>
              <a:ext uri="{FF2B5EF4-FFF2-40B4-BE49-F238E27FC236}">
                <a16:creationId xmlns:a16="http://schemas.microsoft.com/office/drawing/2014/main" id="{AB62213E-2705-3EB4-0D9D-9EFB5CE3349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2126" y="-152396"/>
            <a:ext cx="1104853" cy="937345"/>
          </a:xfrm>
          <a:prstGeom prst="rect">
            <a:avLst/>
          </a:prstGeom>
        </p:spPr>
      </p:pic>
    </p:spTree>
    <p:extLst>
      <p:ext uri="{BB962C8B-B14F-4D97-AF65-F5344CB8AC3E}">
        <p14:creationId xmlns:p14="http://schemas.microsoft.com/office/powerpoint/2010/main" val="3054335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accent1"/>
        </a:solidFill>
        <a:effectLst/>
      </p:bgPr>
    </p:bg>
    <p:spTree>
      <p:nvGrpSpPr>
        <p:cNvPr id="1" name=""/>
        <p:cNvGrpSpPr/>
        <p:nvPr/>
      </p:nvGrpSpPr>
      <p:grpSpPr>
        <a:xfrm>
          <a:off x="0" y="0"/>
          <a:ext cx="0" cy="0"/>
          <a:chOff x="0" y="0"/>
          <a:chExt cx="0" cy="0"/>
        </a:xfrm>
      </p:grpSpPr>
      <p:sp>
        <p:nvSpPr>
          <p:cNvPr id="46" name="Logo Allianz Global Investors">
            <a:extLst>
              <a:ext uri="{C183D7F6-B498-43B3-948B-1728B52AA6E4}">
                <adec:decorative xmlns:adec="http://schemas.microsoft.com/office/drawing/2017/decorative" val="1"/>
              </a:ext>
            </a:extLst>
          </p:cNvPr>
          <p:cNvSpPr>
            <a:spLocks noChangeAspect="1" noEditPoints="1"/>
          </p:cNvSpPr>
          <p:nvPr userDrawn="1"/>
        </p:nvSpPr>
        <p:spPr bwMode="gray">
          <a:xfrm>
            <a:off x="402173" y="475753"/>
            <a:ext cx="2059200" cy="76068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bg1"/>
          </a:solidFill>
          <a:ln w="9525">
            <a:noFill/>
            <a:round/>
            <a:headEnd/>
            <a:tailEnd/>
          </a:ln>
        </p:spPr>
        <p:txBody>
          <a:bodyPr/>
          <a:lstStyle/>
          <a:p>
            <a:endParaRPr lang="en-GB" sz="1777" noProof="0" dirty="0">
              <a:solidFill>
                <a:schemeClr val="bg1"/>
              </a:solidFill>
              <a:latin typeface="Arial" panose="020B0604020202020204" pitchFamily="34" charset="0"/>
            </a:endParaRPr>
          </a:p>
        </p:txBody>
      </p:sp>
      <p:sp>
        <p:nvSpPr>
          <p:cNvPr id="10" name="Title">
            <a:extLst>
              <a:ext uri="{FF2B5EF4-FFF2-40B4-BE49-F238E27FC236}">
                <a16:creationId xmlns:a16="http://schemas.microsoft.com/office/drawing/2014/main" id="{E0648E12-7530-83E9-C7B5-C1574FFBA256}"/>
              </a:ext>
            </a:extLst>
          </p:cNvPr>
          <p:cNvSpPr>
            <a:spLocks noGrp="1"/>
          </p:cNvSpPr>
          <p:nvPr>
            <p:ph type="body" sz="quarter" idx="15" hasCustomPrompt="1"/>
          </p:nvPr>
        </p:nvSpPr>
        <p:spPr>
          <a:xfrm>
            <a:off x="402173" y="1861138"/>
            <a:ext cx="11368800" cy="2354491"/>
          </a:xfrm>
        </p:spPr>
        <p:txBody>
          <a:bodyPr wrap="square" anchor="b">
            <a:spAutoFit/>
          </a:bodyPr>
          <a:lstStyle>
            <a:lvl1pPr marL="0" indent="0">
              <a:lnSpc>
                <a:spcPct val="90000"/>
              </a:lnSpc>
              <a:spcBef>
                <a:spcPts val="0"/>
              </a:spcBef>
              <a:spcAft>
                <a:spcPts val="0"/>
              </a:spcAft>
              <a:buNone/>
              <a:tabLst/>
              <a:defRPr sz="8500">
                <a:solidFill>
                  <a:schemeClr val="bg1"/>
                </a:solidFill>
              </a:defRPr>
            </a:lvl1pPr>
          </a:lstStyle>
          <a:p>
            <a:pPr lvl="0"/>
            <a:r>
              <a:rPr lang="en-GB"/>
              <a:t>Mastertextformat bearbeiten</a:t>
            </a:r>
            <a:endParaRPr lang="en-GB" dirty="0"/>
          </a:p>
        </p:txBody>
      </p:sp>
      <p:sp>
        <p:nvSpPr>
          <p:cNvPr id="3" name="Subtitle">
            <a:extLst>
              <a:ext uri="{FF2B5EF4-FFF2-40B4-BE49-F238E27FC236}">
                <a16:creationId xmlns:a16="http://schemas.microsoft.com/office/drawing/2014/main" id="{A91A9344-E032-168D-764E-7782CC320CF0}"/>
              </a:ext>
            </a:extLst>
          </p:cNvPr>
          <p:cNvSpPr>
            <a:spLocks noGrp="1"/>
          </p:cNvSpPr>
          <p:nvPr>
            <p:ph type="body" sz="quarter" idx="16" hasCustomPrompt="1"/>
          </p:nvPr>
        </p:nvSpPr>
        <p:spPr>
          <a:xfrm>
            <a:off x="402174" y="4345515"/>
            <a:ext cx="11368800" cy="387798"/>
          </a:xfrm>
          <a:noFill/>
          <a:ln w="9525">
            <a:noFill/>
            <a:miter lim="800000"/>
            <a:headEnd/>
            <a:tailEnd/>
          </a:ln>
          <a:effectLst/>
        </p:spPr>
        <p:txBody>
          <a:bodyPr vert="horz" wrap="square" lIns="0" tIns="0" rIns="0" bIns="0" numCol="1" anchor="t" anchorCtr="0" compatLnSpc="1">
            <a:prstTxWarp prst="textNoShape">
              <a:avLst/>
            </a:prstTxWarp>
            <a:spAutoFit/>
          </a:bodyPr>
          <a:lstStyle>
            <a:lvl1pPr marL="0" indent="0">
              <a:buNone/>
              <a:tabLst/>
              <a:defRPr lang="de-DE" sz="2800" dirty="0">
                <a:solidFill>
                  <a:schemeClr val="bg1"/>
                </a:solidFill>
              </a:defRPr>
            </a:lvl1pPr>
          </a:lstStyle>
          <a:p>
            <a:pPr marL="180000" lvl="0" indent="-180000">
              <a:lnSpc>
                <a:spcPct val="90000"/>
              </a:lnSpc>
              <a:spcBef>
                <a:spcPts val="0"/>
              </a:spcBef>
              <a:spcAft>
                <a:spcPts val="0"/>
              </a:spcAft>
            </a:pPr>
            <a:r>
              <a:rPr lang="en-GB"/>
              <a:t>Subtitle</a:t>
            </a:r>
            <a:endParaRPr lang="en-GB" dirty="0"/>
          </a:p>
        </p:txBody>
      </p:sp>
      <p:sp>
        <p:nvSpPr>
          <p:cNvPr id="5" name="Author">
            <a:extLst>
              <a:ext uri="{FF2B5EF4-FFF2-40B4-BE49-F238E27FC236}">
                <a16:creationId xmlns:a16="http://schemas.microsoft.com/office/drawing/2014/main" id="{366EE4C0-C3CA-3724-D606-BC4570A3DE95}"/>
              </a:ext>
            </a:extLst>
          </p:cNvPr>
          <p:cNvSpPr>
            <a:spLocks noGrp="1"/>
          </p:cNvSpPr>
          <p:nvPr>
            <p:ph type="body" sz="quarter" idx="11" hasCustomPrompt="1"/>
          </p:nvPr>
        </p:nvSpPr>
        <p:spPr bwMode="gray">
          <a:xfrm>
            <a:off x="402173" y="6451095"/>
            <a:ext cx="2268755" cy="169277"/>
          </a:xfrm>
        </p:spPr>
        <p:txBody>
          <a:bodyPr wrap="square" anchor="b" anchorCtr="0">
            <a:spAutoFit/>
          </a:bodyPr>
          <a:lstStyle>
            <a:lvl1pPr marL="0" marR="0" indent="0" algn="l" defTabSz="1038977" rtl="0" eaLnBrk="1" fontAlgn="base" latinLnBrk="0" hangingPunct="1">
              <a:lnSpc>
                <a:spcPct val="100000"/>
              </a:lnSpc>
              <a:spcBef>
                <a:spcPts val="0"/>
              </a:spcBef>
              <a:spcAft>
                <a:spcPts val="0"/>
              </a:spcAft>
              <a:buClr>
                <a:schemeClr val="tx2"/>
              </a:buClr>
              <a:buSzTx/>
              <a:buFont typeface="Wingdings" pitchFamily="2" charset="2"/>
              <a:buNone/>
              <a:tabLst>
                <a:tab pos="207435" algn="l"/>
              </a:tabLst>
              <a:defRPr sz="1100" b="0" baseline="0">
                <a:solidFill>
                  <a:schemeClr val="bg1"/>
                </a:solidFill>
                <a:latin typeface="Arial" panose="020B0604020202020204" pitchFamily="34" charset="0"/>
              </a:defRPr>
            </a:lvl1pPr>
            <a:lvl2pPr marL="209239" indent="0">
              <a:buNone/>
              <a:defRPr/>
            </a:lvl2pPr>
            <a:lvl3pPr marL="364363" indent="0">
              <a:buNone/>
              <a:defRPr/>
            </a:lvl3pPr>
            <a:lvl4pPr marL="517684" indent="0">
              <a:buNone/>
              <a:defRPr/>
            </a:lvl4pPr>
            <a:lvl5pPr marL="624107" indent="0">
              <a:buNone/>
              <a:defRPr/>
            </a:lvl5pPr>
          </a:lstStyle>
          <a:p>
            <a:pPr lvl="0"/>
            <a:r>
              <a:rPr lang="en-GB" noProof="0" dirty="0"/>
              <a:t>Author</a:t>
            </a:r>
          </a:p>
        </p:txBody>
      </p:sp>
      <p:sp>
        <p:nvSpPr>
          <p:cNvPr id="2" name="Date">
            <a:extLst>
              <a:ext uri="{FF2B5EF4-FFF2-40B4-BE49-F238E27FC236}">
                <a16:creationId xmlns:a16="http://schemas.microsoft.com/office/drawing/2014/main" id="{EB1B268D-3305-0233-2A3E-A3C9E4345756}"/>
              </a:ext>
            </a:extLst>
          </p:cNvPr>
          <p:cNvSpPr>
            <a:spLocks noGrp="1"/>
          </p:cNvSpPr>
          <p:nvPr>
            <p:ph type="body" sz="quarter" idx="13" hasCustomPrompt="1"/>
          </p:nvPr>
        </p:nvSpPr>
        <p:spPr bwMode="gray">
          <a:xfrm>
            <a:off x="2818536" y="6451095"/>
            <a:ext cx="2340000" cy="169277"/>
          </a:xfrm>
        </p:spPr>
        <p:txBody>
          <a:bodyPr wrap="square" lIns="0" rIns="0" anchor="b">
            <a:spAutoFit/>
          </a:bodyPr>
          <a:lstStyle>
            <a:lvl1pPr marL="0" indent="0">
              <a:spcBef>
                <a:spcPts val="0"/>
              </a:spcBef>
              <a:spcAft>
                <a:spcPts val="0"/>
              </a:spcAft>
              <a:buNone/>
              <a:defRPr sz="1100">
                <a:solidFill>
                  <a:schemeClr val="bg1"/>
                </a:solidFill>
              </a:defRPr>
            </a:lvl1pPr>
          </a:lstStyle>
          <a:p>
            <a:pPr lvl="0"/>
            <a:r>
              <a:rPr lang="en-GB" noProof="0" dirty="0"/>
              <a:t>Date of the presentation</a:t>
            </a:r>
          </a:p>
        </p:txBody>
      </p:sp>
    </p:spTree>
    <p:extLst>
      <p:ext uri="{BB962C8B-B14F-4D97-AF65-F5344CB8AC3E}">
        <p14:creationId xmlns:p14="http://schemas.microsoft.com/office/powerpoint/2010/main" val="5623002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ey Point_White">
    <p:spTree>
      <p:nvGrpSpPr>
        <p:cNvPr id="1" name=""/>
        <p:cNvGrpSpPr/>
        <p:nvPr/>
      </p:nvGrpSpPr>
      <p:grpSpPr>
        <a:xfrm>
          <a:off x="0" y="0"/>
          <a:ext cx="0" cy="0"/>
          <a:chOff x="0" y="0"/>
          <a:chExt cx="0" cy="0"/>
        </a:xfrm>
      </p:grpSpPr>
      <p:sp>
        <p:nvSpPr>
          <p:cNvPr id="6" name="Quote"/>
          <p:cNvSpPr>
            <a:spLocks noGrp="1"/>
          </p:cNvSpPr>
          <p:nvPr>
            <p:ph type="body" sz="quarter" idx="23" hasCustomPrompt="1"/>
          </p:nvPr>
        </p:nvSpPr>
        <p:spPr bwMode="gray">
          <a:xfrm>
            <a:off x="398771" y="1584325"/>
            <a:ext cx="11369353" cy="2581200"/>
          </a:xfrm>
        </p:spPr>
        <p:txBody>
          <a:bodyPr/>
          <a:lstStyle>
            <a:lvl1pPr marL="0" indent="0">
              <a:buNone/>
              <a:defRPr sz="4000">
                <a:solidFill>
                  <a:schemeClr val="tx2"/>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a:t>
            </a:r>
            <a:br>
              <a:rPr lang="en-GB" noProof="0" dirty="0"/>
            </a:br>
            <a:r>
              <a:rPr lang="en-GB" noProof="0" dirty="0"/>
              <a:t>(40 </a:t>
            </a:r>
            <a:r>
              <a:rPr lang="en-GB" noProof="0" dirty="0" err="1"/>
              <a:t>pt</a:t>
            </a:r>
            <a:r>
              <a:rPr lang="en-GB" noProof="0" dirty="0"/>
              <a:t>)</a:t>
            </a:r>
          </a:p>
        </p:txBody>
      </p:sp>
      <p:sp>
        <p:nvSpPr>
          <p:cNvPr id="12" name="Name of speaker"/>
          <p:cNvSpPr>
            <a:spLocks noGrp="1"/>
          </p:cNvSpPr>
          <p:nvPr>
            <p:ph type="body" sz="quarter" idx="24" hasCustomPrompt="1"/>
          </p:nvPr>
        </p:nvSpPr>
        <p:spPr bwMode="gray">
          <a:xfrm>
            <a:off x="398771" y="4172726"/>
            <a:ext cx="11369353" cy="276999"/>
          </a:xfrm>
        </p:spPr>
        <p:txBody>
          <a:bodyPr anchor="t" anchorCtr="0">
            <a:spAutoFit/>
          </a:bodyPr>
          <a:lstStyle>
            <a:lvl1pPr marL="0" indent="0">
              <a:spcBef>
                <a:spcPts val="0"/>
              </a:spcBef>
              <a:spcAft>
                <a:spcPts val="0"/>
              </a:spcAft>
              <a:buNone/>
              <a:defRPr sz="1800">
                <a:solidFill>
                  <a:schemeClr val="tx2"/>
                </a:solidFill>
              </a:defRPr>
            </a:lvl1pPr>
          </a:lstStyle>
          <a:p>
            <a:pPr lvl="0"/>
            <a:r>
              <a:rPr lang="en-GB" noProof="0" dirty="0"/>
              <a:t>Name of speaker (18 </a:t>
            </a:r>
            <a:r>
              <a:rPr lang="en-GB" noProof="0" dirty="0" err="1"/>
              <a:t>pt</a:t>
            </a:r>
            <a:r>
              <a:rPr lang="en-GB" noProof="0" dirty="0"/>
              <a:t>)</a:t>
            </a:r>
          </a:p>
        </p:txBody>
      </p:sp>
      <p:sp>
        <p:nvSpPr>
          <p:cNvPr id="2" name="Disclaimer">
            <a:extLst>
              <a:ext uri="{FF2B5EF4-FFF2-40B4-BE49-F238E27FC236}">
                <a16:creationId xmlns:a16="http://schemas.microsoft.com/office/drawing/2014/main" id="{505F0218-E3C2-0FD1-B5FC-8CB714DB8249}"/>
              </a:ext>
            </a:extLst>
          </p:cNvPr>
          <p:cNvSpPr>
            <a:spLocks noGrp="1"/>
          </p:cNvSpPr>
          <p:nvPr>
            <p:ph type="body" sz="quarter" idx="26" hasCustomPrompt="1"/>
          </p:nvPr>
        </p:nvSpPr>
        <p:spPr bwMode="gray">
          <a:xfrm>
            <a:off x="398769" y="6235200"/>
            <a:ext cx="10633846" cy="374400"/>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 </a:t>
            </a:r>
            <a:r>
              <a:rPr lang="en-GB" noProof="0" dirty="0" err="1"/>
              <a:t>pt</a:t>
            </a:r>
            <a:r>
              <a:rPr lang="en-GB" noProof="0" dirty="0"/>
              <a:t>)</a:t>
            </a:r>
          </a:p>
        </p:txBody>
      </p:sp>
      <p:pic>
        <p:nvPicPr>
          <p:cNvPr id="4" name="Graphic quotation mark">
            <a:extLst>
              <a:ext uri="{FF2B5EF4-FFF2-40B4-BE49-F238E27FC236}">
                <a16:creationId xmlns:a16="http://schemas.microsoft.com/office/drawing/2014/main" id="{7AC70270-3F53-4525-575E-AE3A99E2AB2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8771" y="-152396"/>
            <a:ext cx="1104853" cy="937345"/>
          </a:xfrm>
          <a:prstGeom prst="rect">
            <a:avLst/>
          </a:prstGeom>
        </p:spPr>
      </p:pic>
    </p:spTree>
    <p:extLst>
      <p:ext uri="{BB962C8B-B14F-4D97-AF65-F5344CB8AC3E}">
        <p14:creationId xmlns:p14="http://schemas.microsoft.com/office/powerpoint/2010/main" val="29839848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ey Point_White_Portrait">
    <p:spTree>
      <p:nvGrpSpPr>
        <p:cNvPr id="1" name=""/>
        <p:cNvGrpSpPr/>
        <p:nvPr/>
      </p:nvGrpSpPr>
      <p:grpSpPr>
        <a:xfrm>
          <a:off x="0" y="0"/>
          <a:ext cx="0" cy="0"/>
          <a:chOff x="0" y="0"/>
          <a:chExt cx="0" cy="0"/>
        </a:xfrm>
      </p:grpSpPr>
      <p:sp>
        <p:nvSpPr>
          <p:cNvPr id="6" name="Quote"/>
          <p:cNvSpPr>
            <a:spLocks noGrp="1"/>
          </p:cNvSpPr>
          <p:nvPr>
            <p:ph type="body" sz="quarter" idx="23" hasCustomPrompt="1"/>
          </p:nvPr>
        </p:nvSpPr>
        <p:spPr bwMode="gray">
          <a:xfrm>
            <a:off x="398771" y="2093372"/>
            <a:ext cx="9263703" cy="2581200"/>
          </a:xfrm>
        </p:spPr>
        <p:txBody>
          <a:bodyPr/>
          <a:lstStyle>
            <a:lvl1pPr marL="0" indent="0">
              <a:buNone/>
              <a:defRPr sz="4000">
                <a:solidFill>
                  <a:schemeClr val="tx2"/>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 (40 </a:t>
            </a:r>
            <a:r>
              <a:rPr lang="en-GB" noProof="0" dirty="0" err="1"/>
              <a:t>pt</a:t>
            </a:r>
            <a:r>
              <a:rPr lang="en-GB" noProof="0" dirty="0"/>
              <a:t>)</a:t>
            </a:r>
          </a:p>
        </p:txBody>
      </p:sp>
      <p:sp>
        <p:nvSpPr>
          <p:cNvPr id="12" name="Name of speaker"/>
          <p:cNvSpPr>
            <a:spLocks noGrp="1"/>
          </p:cNvSpPr>
          <p:nvPr>
            <p:ph type="body" sz="quarter" idx="24" hasCustomPrompt="1"/>
          </p:nvPr>
        </p:nvSpPr>
        <p:spPr bwMode="gray">
          <a:xfrm>
            <a:off x="398771" y="4681773"/>
            <a:ext cx="9263703" cy="276999"/>
          </a:xfrm>
        </p:spPr>
        <p:txBody>
          <a:bodyPr wrap="square" anchor="t" anchorCtr="0">
            <a:spAutoFit/>
          </a:bodyPr>
          <a:lstStyle>
            <a:lvl1pPr marL="0" indent="0">
              <a:spcBef>
                <a:spcPts val="0"/>
              </a:spcBef>
              <a:spcAft>
                <a:spcPts val="0"/>
              </a:spcAft>
              <a:buNone/>
              <a:defRPr sz="1800">
                <a:solidFill>
                  <a:schemeClr val="tx2"/>
                </a:solidFill>
              </a:defRPr>
            </a:lvl1pPr>
          </a:lstStyle>
          <a:p>
            <a:pPr lvl="0"/>
            <a:r>
              <a:rPr lang="en-GB" noProof="0" dirty="0"/>
              <a:t>Name of speaker (18 </a:t>
            </a:r>
            <a:r>
              <a:rPr lang="en-GB" noProof="0" dirty="0" err="1"/>
              <a:t>pt</a:t>
            </a:r>
            <a:r>
              <a:rPr lang="en-GB" noProof="0" dirty="0"/>
              <a:t>)</a:t>
            </a:r>
          </a:p>
        </p:txBody>
      </p:sp>
      <p:sp>
        <p:nvSpPr>
          <p:cNvPr id="5" name="Picture speaker">
            <a:extLst>
              <a:ext uri="{FF2B5EF4-FFF2-40B4-BE49-F238E27FC236}">
                <a16:creationId xmlns:a16="http://schemas.microsoft.com/office/drawing/2014/main" id="{EB2E3674-C140-B855-B83C-F10A1AFE9B49}"/>
              </a:ext>
            </a:extLst>
          </p:cNvPr>
          <p:cNvSpPr>
            <a:spLocks noGrp="1" noChangeAspect="1"/>
          </p:cNvSpPr>
          <p:nvPr>
            <p:ph type="pic" sz="quarter" idx="27"/>
          </p:nvPr>
        </p:nvSpPr>
        <p:spPr>
          <a:xfrm>
            <a:off x="9882604" y="1812257"/>
            <a:ext cx="2309396" cy="2736000"/>
          </a:xfrm>
          <a:custGeom>
            <a:avLst/>
            <a:gdLst>
              <a:gd name="connsiteX0" fmla="*/ 1368000 w 2309396"/>
              <a:gd name="connsiteY0" fmla="*/ 0 h 2736000"/>
              <a:gd name="connsiteX1" fmla="*/ 2238175 w 2309396"/>
              <a:gd name="connsiteY1" fmla="*/ 312385 h 2736000"/>
              <a:gd name="connsiteX2" fmla="*/ 2309396 w 2309396"/>
              <a:gd name="connsiteY2" fmla="*/ 377115 h 2736000"/>
              <a:gd name="connsiteX3" fmla="*/ 2309396 w 2309396"/>
              <a:gd name="connsiteY3" fmla="*/ 2358886 h 2736000"/>
              <a:gd name="connsiteX4" fmla="*/ 2238175 w 2309396"/>
              <a:gd name="connsiteY4" fmla="*/ 2423616 h 2736000"/>
              <a:gd name="connsiteX5" fmla="*/ 1368000 w 2309396"/>
              <a:gd name="connsiteY5" fmla="*/ 2736000 h 2736000"/>
              <a:gd name="connsiteX6" fmla="*/ 0 w 2309396"/>
              <a:gd name="connsiteY6" fmla="*/ 1368000 h 2736000"/>
              <a:gd name="connsiteX7" fmla="*/ 1368000 w 2309396"/>
              <a:gd name="connsiteY7" fmla="*/ 0 h 273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9396" h="2736000">
                <a:moveTo>
                  <a:pt x="1368000" y="0"/>
                </a:moveTo>
                <a:cubicBezTo>
                  <a:pt x="1698543" y="0"/>
                  <a:pt x="2001704" y="117231"/>
                  <a:pt x="2238175" y="312385"/>
                </a:cubicBezTo>
                <a:lnTo>
                  <a:pt x="2309396" y="377115"/>
                </a:lnTo>
                <a:lnTo>
                  <a:pt x="2309396" y="2358886"/>
                </a:lnTo>
                <a:lnTo>
                  <a:pt x="2238175" y="2423616"/>
                </a:lnTo>
                <a:cubicBezTo>
                  <a:pt x="2001704" y="2618769"/>
                  <a:pt x="1698543" y="2736000"/>
                  <a:pt x="1368000" y="2736000"/>
                </a:cubicBezTo>
                <a:cubicBezTo>
                  <a:pt x="612474" y="2736000"/>
                  <a:pt x="0" y="2123526"/>
                  <a:pt x="0" y="1368000"/>
                </a:cubicBezTo>
                <a:cubicBezTo>
                  <a:pt x="0" y="612474"/>
                  <a:pt x="612474" y="0"/>
                  <a:pt x="1368000" y="0"/>
                </a:cubicBezTo>
                <a:close/>
              </a:path>
            </a:pathLst>
          </a:custGeom>
        </p:spPr>
        <p:txBody>
          <a:bodyPr wrap="square" anchor="ctr">
            <a:noAutofit/>
          </a:bodyPr>
          <a:lstStyle>
            <a:lvl1pPr marL="0" indent="0" algn="ctr">
              <a:buNone/>
              <a:defRPr/>
            </a:lvl1pPr>
          </a:lstStyle>
          <a:p>
            <a:endParaRPr lang="en-US" dirty="0"/>
          </a:p>
        </p:txBody>
      </p:sp>
      <p:sp>
        <p:nvSpPr>
          <p:cNvPr id="2" name="Disclaimer">
            <a:extLst>
              <a:ext uri="{FF2B5EF4-FFF2-40B4-BE49-F238E27FC236}">
                <a16:creationId xmlns:a16="http://schemas.microsoft.com/office/drawing/2014/main" id="{505F0218-E3C2-0FD1-B5FC-8CB714DB8249}"/>
              </a:ext>
            </a:extLst>
          </p:cNvPr>
          <p:cNvSpPr>
            <a:spLocks noGrp="1"/>
          </p:cNvSpPr>
          <p:nvPr>
            <p:ph type="body" sz="quarter" idx="26" hasCustomPrompt="1"/>
          </p:nvPr>
        </p:nvSpPr>
        <p:spPr bwMode="gray">
          <a:xfrm>
            <a:off x="398769" y="6235200"/>
            <a:ext cx="10633846" cy="374400"/>
          </a:xfrm>
        </p:spPr>
        <p:txBody>
          <a:bodyPr anchor="b"/>
          <a:lstStyle>
            <a:lvl1pPr marL="0" indent="0">
              <a:lnSpc>
                <a:spcPct val="100000"/>
              </a:lnSpc>
              <a:spcBef>
                <a:spcPts val="0"/>
              </a:spcBef>
              <a:spcAft>
                <a:spcPts val="0"/>
              </a:spcAft>
              <a:buNone/>
              <a:defRPr sz="800">
                <a:solidFill>
                  <a:schemeClr val="tx2"/>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 </a:t>
            </a:r>
            <a:r>
              <a:rPr lang="en-GB" noProof="0" dirty="0" err="1"/>
              <a:t>pt</a:t>
            </a:r>
            <a:r>
              <a:rPr lang="en-GB" noProof="0" dirty="0"/>
              <a:t>)</a:t>
            </a:r>
          </a:p>
        </p:txBody>
      </p:sp>
      <p:pic>
        <p:nvPicPr>
          <p:cNvPr id="4" name="Graphic quotation mark">
            <a:extLst>
              <a:ext uri="{FF2B5EF4-FFF2-40B4-BE49-F238E27FC236}">
                <a16:creationId xmlns:a16="http://schemas.microsoft.com/office/drawing/2014/main" id="{7AC70270-3F53-4525-575E-AE3A99E2AB2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8771" y="-152396"/>
            <a:ext cx="1104853" cy="937345"/>
          </a:xfrm>
          <a:prstGeom prst="rect">
            <a:avLst/>
          </a:prstGeom>
        </p:spPr>
      </p:pic>
    </p:spTree>
    <p:extLst>
      <p:ext uri="{BB962C8B-B14F-4D97-AF65-F5344CB8AC3E}">
        <p14:creationId xmlns:p14="http://schemas.microsoft.com/office/powerpoint/2010/main" val="16406186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261402D0-E3AC-C79D-399C-A396C8FB4A9B}"/>
              </a:ext>
            </a:extLst>
          </p:cNvPr>
          <p:cNvSpPr>
            <a:spLocks noGrp="1"/>
          </p:cNvSpPr>
          <p:nvPr>
            <p:ph type="title" hasCustomPrompt="1"/>
          </p:nvPr>
        </p:nvSpPr>
        <p:spPr>
          <a:xfrm>
            <a:off x="395926" y="637185"/>
            <a:ext cx="9944006" cy="791565"/>
          </a:xfrm>
        </p:spPr>
        <p:txBody>
          <a:bodyPr/>
          <a:lstStyle>
            <a:lvl1pPr>
              <a:defRPr/>
            </a:lvl1pPr>
          </a:lstStyle>
          <a:p>
            <a:r>
              <a:rPr lang="en-GB" noProof="0" dirty="0"/>
              <a:t>Disclaimer</a:t>
            </a:r>
            <a:endParaRPr lang="en-US" dirty="0"/>
          </a:p>
        </p:txBody>
      </p:sp>
      <p:sp>
        <p:nvSpPr>
          <p:cNvPr id="9" name="Disclaimer Text"/>
          <p:cNvSpPr>
            <a:spLocks noGrp="1"/>
          </p:cNvSpPr>
          <p:nvPr>
            <p:ph sz="quarter" idx="21" hasCustomPrompt="1"/>
          </p:nvPr>
        </p:nvSpPr>
        <p:spPr bwMode="gray">
          <a:xfrm>
            <a:off x="395926" y="1593850"/>
            <a:ext cx="11368800" cy="4569350"/>
          </a:xfrm>
        </p:spPr>
        <p:txBody>
          <a:bodyPr/>
          <a:lstStyle>
            <a:lvl1pPr marL="0" indent="0">
              <a:spcBef>
                <a:spcPts val="0"/>
              </a:spcBef>
              <a:spcAft>
                <a:spcPts val="0"/>
              </a:spcAft>
              <a:buNone/>
              <a:defRPr sz="800">
                <a:latin typeface="Arial Narrow" panose="020B0606020202030204" pitchFamily="34" charset="0"/>
              </a:defRPr>
            </a:lvl1pPr>
          </a:lstStyle>
          <a:p>
            <a:pPr lvl="0"/>
            <a:r>
              <a:rPr lang="en-GB" noProof="0" dirty="0"/>
              <a:t>1st Level (8 </a:t>
            </a:r>
            <a:r>
              <a:rPr lang="en-GB" noProof="0" dirty="0" err="1"/>
              <a:t>pt</a:t>
            </a:r>
            <a:r>
              <a:rPr lang="en-GB" noProof="0" dirty="0"/>
              <a:t>)</a:t>
            </a:r>
          </a:p>
        </p:txBody>
      </p:sp>
    </p:spTree>
    <p:extLst>
      <p:ext uri="{BB962C8B-B14F-4D97-AF65-F5344CB8AC3E}">
        <p14:creationId xmlns:p14="http://schemas.microsoft.com/office/powerpoint/2010/main" val="18503077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ing Slide">
    <p:bg>
      <p:bgRef idx="1001">
        <a:schemeClr val="bg1"/>
      </p:bgRef>
    </p:bg>
    <p:spTree>
      <p:nvGrpSpPr>
        <p:cNvPr id="1" name=""/>
        <p:cNvGrpSpPr/>
        <p:nvPr/>
      </p:nvGrpSpPr>
      <p:grpSpPr>
        <a:xfrm>
          <a:off x="0" y="0"/>
          <a:ext cx="0" cy="0"/>
          <a:chOff x="0" y="0"/>
          <a:chExt cx="0" cy="0"/>
        </a:xfrm>
      </p:grpSpPr>
      <p:sp>
        <p:nvSpPr>
          <p:cNvPr id="27" name="Logo Allianz Global Investors"/>
          <p:cNvSpPr>
            <a:spLocks noChangeAspect="1" noEditPoints="1"/>
          </p:cNvSpPr>
          <p:nvPr userDrawn="1"/>
        </p:nvSpPr>
        <p:spPr bwMode="gray">
          <a:xfrm>
            <a:off x="2048005" y="1936751"/>
            <a:ext cx="8092800" cy="2989548"/>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tx2"/>
          </a:solidFill>
          <a:ln w="9525">
            <a:noFill/>
            <a:round/>
            <a:headEnd/>
            <a:tailEnd/>
          </a:ln>
        </p:spPr>
        <p:txBody>
          <a:bodyPr/>
          <a:lstStyle/>
          <a:p>
            <a:endParaRPr lang="en-GB" sz="1777" noProof="0" dirty="0">
              <a:latin typeface="Arial" panose="020B0604020202020204" pitchFamily="34" charset="0"/>
            </a:endParaRPr>
          </a:p>
        </p:txBody>
      </p:sp>
    </p:spTree>
    <p:extLst>
      <p:ext uri="{BB962C8B-B14F-4D97-AF65-F5344CB8AC3E}">
        <p14:creationId xmlns:p14="http://schemas.microsoft.com/office/powerpoint/2010/main" val="198188121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4" name="Rechteck 8">
            <a:extLst>
              <a:ext uri="{FF2B5EF4-FFF2-40B4-BE49-F238E27FC236}">
                <a16:creationId xmlns:a16="http://schemas.microsoft.com/office/drawing/2014/main" id="{20706891-0EB8-47F3-8B0F-A2BE16CADF24}"/>
              </a:ext>
            </a:extLst>
          </p:cNvPr>
          <p:cNvSpPr/>
          <p:nvPr userDrawn="1"/>
        </p:nvSpPr>
        <p:spPr bwMode="gray">
          <a:xfrm>
            <a:off x="5012161" y="4830635"/>
            <a:ext cx="1003775" cy="488719"/>
          </a:xfrm>
          <a:prstGeom prst="rect">
            <a:avLst/>
          </a:prstGeom>
          <a:solidFill>
            <a:srgbClr val="00908D"/>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00908D</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Dark Green</a:t>
            </a:r>
            <a:endParaRPr kumimoji="0" lang="en-GB" sz="1000" b="0" i="0" u="none" strike="noStrike" kern="0" cap="none" spc="0" normalizeH="0" baseline="0" noProof="0" dirty="0">
              <a:ln>
                <a:noFill/>
              </a:ln>
              <a:solidFill>
                <a:srgbClr val="FFFFFF"/>
              </a:solidFill>
              <a:effectLst/>
              <a:uLnTx/>
              <a:uFillTx/>
            </a:endParaRPr>
          </a:p>
        </p:txBody>
      </p:sp>
      <p:sp>
        <p:nvSpPr>
          <p:cNvPr id="22" name="Rechteck 14">
            <a:extLst>
              <a:ext uri="{FF2B5EF4-FFF2-40B4-BE49-F238E27FC236}">
                <a16:creationId xmlns:a16="http://schemas.microsoft.com/office/drawing/2014/main" id="{145E6914-8A65-DC95-F0BA-D2D5D07C6C23}"/>
              </a:ext>
            </a:extLst>
          </p:cNvPr>
          <p:cNvSpPr/>
          <p:nvPr userDrawn="1"/>
        </p:nvSpPr>
        <p:spPr bwMode="gray">
          <a:xfrm>
            <a:off x="6156438" y="4830635"/>
            <a:ext cx="1003775" cy="488719"/>
          </a:xfrm>
          <a:prstGeom prst="rect">
            <a:avLst/>
          </a:prstGeom>
          <a:solidFill>
            <a:srgbClr val="33A6A4"/>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33A6A4</a:t>
            </a:r>
            <a:endParaRPr lang="en-GB" sz="1000" dirty="0">
              <a:solidFill>
                <a:srgbClr val="FFFFFF"/>
              </a:solidFill>
            </a:endParaRP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80%</a:t>
            </a:r>
          </a:p>
        </p:txBody>
      </p:sp>
      <p:sp>
        <p:nvSpPr>
          <p:cNvPr id="23" name="Rechteck 20">
            <a:extLst>
              <a:ext uri="{FF2B5EF4-FFF2-40B4-BE49-F238E27FC236}">
                <a16:creationId xmlns:a16="http://schemas.microsoft.com/office/drawing/2014/main" id="{7A8AADC5-367C-D347-6A12-F53CEB1A3B14}"/>
              </a:ext>
            </a:extLst>
          </p:cNvPr>
          <p:cNvSpPr/>
          <p:nvPr userDrawn="1"/>
        </p:nvSpPr>
        <p:spPr bwMode="gray">
          <a:xfrm>
            <a:off x="7307971" y="4830635"/>
            <a:ext cx="1003775" cy="488719"/>
          </a:xfrm>
          <a:prstGeom prst="rect">
            <a:avLst/>
          </a:prstGeom>
          <a:solidFill>
            <a:srgbClr val="7FC7C6"/>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7FC7C6</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60%</a:t>
            </a:r>
            <a:endParaRPr kumimoji="0" lang="en-GB" sz="1000" b="0" i="0" u="none" strike="noStrike" kern="0" cap="none" spc="0" normalizeH="0" baseline="0" noProof="0" dirty="0">
              <a:ln>
                <a:noFill/>
              </a:ln>
              <a:solidFill>
                <a:schemeClr val="accent1"/>
              </a:solidFill>
              <a:effectLst/>
              <a:uLnTx/>
              <a:uFillTx/>
            </a:endParaRPr>
          </a:p>
        </p:txBody>
      </p:sp>
      <p:sp>
        <p:nvSpPr>
          <p:cNvPr id="24" name="Rechteck 26">
            <a:extLst>
              <a:ext uri="{FF2B5EF4-FFF2-40B4-BE49-F238E27FC236}">
                <a16:creationId xmlns:a16="http://schemas.microsoft.com/office/drawing/2014/main" id="{F08E38B7-5A31-F3A7-DDE4-BEA4715E5C63}"/>
              </a:ext>
            </a:extLst>
          </p:cNvPr>
          <p:cNvSpPr/>
          <p:nvPr userDrawn="1"/>
        </p:nvSpPr>
        <p:spPr bwMode="gray">
          <a:xfrm>
            <a:off x="8459504" y="4830635"/>
            <a:ext cx="1003775" cy="488719"/>
          </a:xfrm>
          <a:prstGeom prst="rect">
            <a:avLst/>
          </a:prstGeom>
          <a:solidFill>
            <a:srgbClr val="99D3D1"/>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99D3D1</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25" name="Rechteck 32">
            <a:extLst>
              <a:ext uri="{FF2B5EF4-FFF2-40B4-BE49-F238E27FC236}">
                <a16:creationId xmlns:a16="http://schemas.microsoft.com/office/drawing/2014/main" id="{643D810E-C61F-259D-C92D-2378AB776F38}"/>
              </a:ext>
            </a:extLst>
          </p:cNvPr>
          <p:cNvSpPr/>
          <p:nvPr userDrawn="1"/>
        </p:nvSpPr>
        <p:spPr bwMode="gray">
          <a:xfrm>
            <a:off x="9611038" y="4830635"/>
            <a:ext cx="1003775" cy="488719"/>
          </a:xfrm>
          <a:prstGeom prst="rect">
            <a:avLst/>
          </a:prstGeom>
          <a:solidFill>
            <a:srgbClr val="CCE9E8"/>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CCE9E8</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26" name="Rechteck 109">
            <a:extLst>
              <a:ext uri="{FF2B5EF4-FFF2-40B4-BE49-F238E27FC236}">
                <a16:creationId xmlns:a16="http://schemas.microsoft.com/office/drawing/2014/main" id="{1A4BB4E2-66C9-84B7-FD22-FB56A9E76798}"/>
              </a:ext>
            </a:extLst>
          </p:cNvPr>
          <p:cNvSpPr/>
          <p:nvPr userDrawn="1"/>
        </p:nvSpPr>
        <p:spPr bwMode="gray">
          <a:xfrm>
            <a:off x="9611364" y="2597929"/>
            <a:ext cx="1003449" cy="487832"/>
          </a:xfrm>
          <a:prstGeom prst="rect">
            <a:avLst/>
          </a:prstGeom>
          <a:solidFill>
            <a:srgbClr val="C4E1EB"/>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C4E1EB</a:t>
            </a:r>
          </a:p>
          <a:p>
            <a:pPr defTabSz="779252" fontAlgn="auto">
              <a:spcBef>
                <a:spcPts val="300"/>
              </a:spcBef>
              <a:spcAft>
                <a:spcPts val="0"/>
              </a:spcAft>
              <a:buClr>
                <a:srgbClr val="003781"/>
              </a:buClr>
              <a:tabLst/>
              <a:defRPr/>
            </a:pPr>
            <a:r>
              <a:rPr lang="en-GB" sz="1000">
                <a:solidFill>
                  <a:schemeClr val="accent1"/>
                </a:solidFill>
                <a:latin typeface="Arial" charset="0"/>
              </a:rPr>
              <a:t>80</a:t>
            </a:r>
            <a:r>
              <a:rPr lang="en-GB" sz="1000" dirty="0">
                <a:solidFill>
                  <a:schemeClr val="accent1"/>
                </a:solidFill>
                <a:latin typeface="Arial" charset="0"/>
              </a:rPr>
              <a:t>%</a:t>
            </a:r>
            <a:endParaRPr kumimoji="0" lang="en-US" sz="1000" b="0" i="0" u="none" strike="noStrike" cap="none" normalizeH="0" baseline="0" dirty="0">
              <a:ln>
                <a:noFill/>
              </a:ln>
              <a:solidFill>
                <a:schemeClr val="accent1"/>
              </a:solidFill>
              <a:effectLst/>
              <a:latin typeface="Arial" charset="0"/>
            </a:endParaRPr>
          </a:p>
        </p:txBody>
      </p:sp>
      <p:sp>
        <p:nvSpPr>
          <p:cNvPr id="27" name="Rechteck 113">
            <a:extLst>
              <a:ext uri="{FF2B5EF4-FFF2-40B4-BE49-F238E27FC236}">
                <a16:creationId xmlns:a16="http://schemas.microsoft.com/office/drawing/2014/main" id="{29168398-3CD9-5B56-E86E-4AFFD4B6BAB5}"/>
              </a:ext>
            </a:extLst>
          </p:cNvPr>
          <p:cNvSpPr/>
          <p:nvPr userDrawn="1"/>
        </p:nvSpPr>
        <p:spPr bwMode="gray">
          <a:xfrm>
            <a:off x="9611364" y="3153056"/>
            <a:ext cx="1003449" cy="487832"/>
          </a:xfrm>
          <a:prstGeom prst="rect">
            <a:avLst/>
          </a:prstGeom>
          <a:solidFill>
            <a:srgbClr val="D3E9F0"/>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D3E9F0</a:t>
            </a:r>
          </a:p>
          <a:p>
            <a:pPr defTabSz="779252" fontAlgn="auto">
              <a:spcBef>
                <a:spcPts val="300"/>
              </a:spcBef>
              <a:spcAft>
                <a:spcPts val="0"/>
              </a:spcAft>
              <a:buClr>
                <a:srgbClr val="003781"/>
              </a:buClr>
              <a:tabLst/>
              <a:defRPr/>
            </a:pPr>
            <a:r>
              <a:rPr lang="en-GB" sz="1000">
                <a:solidFill>
                  <a:schemeClr val="accent1"/>
                </a:solidFill>
                <a:latin typeface="Arial" charset="0"/>
              </a:rPr>
              <a:t>60%</a:t>
            </a:r>
            <a:endParaRPr kumimoji="0" lang="en-US" sz="1000" b="0" i="0" u="none" strike="noStrike" cap="none" normalizeH="0" baseline="0" dirty="0">
              <a:ln>
                <a:noFill/>
              </a:ln>
              <a:solidFill>
                <a:schemeClr val="accent1"/>
              </a:solidFill>
              <a:effectLst/>
              <a:latin typeface="Arial" charset="0"/>
            </a:endParaRPr>
          </a:p>
        </p:txBody>
      </p:sp>
      <p:sp>
        <p:nvSpPr>
          <p:cNvPr id="28" name="Rechteck 117">
            <a:extLst>
              <a:ext uri="{FF2B5EF4-FFF2-40B4-BE49-F238E27FC236}">
                <a16:creationId xmlns:a16="http://schemas.microsoft.com/office/drawing/2014/main" id="{318D0253-26A8-00ED-3892-C228AD23EA24}"/>
              </a:ext>
            </a:extLst>
          </p:cNvPr>
          <p:cNvSpPr/>
          <p:nvPr userDrawn="1"/>
        </p:nvSpPr>
        <p:spPr bwMode="gray">
          <a:xfrm>
            <a:off x="9611364" y="3706957"/>
            <a:ext cx="1003449" cy="487832"/>
          </a:xfrm>
          <a:prstGeom prst="rect">
            <a:avLst/>
          </a:prstGeom>
          <a:solidFill>
            <a:srgbClr val="E1F0F5"/>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E1F0F5</a:t>
            </a:r>
          </a:p>
          <a:p>
            <a:pPr defTabSz="779252" fontAlgn="auto">
              <a:spcBef>
                <a:spcPts val="300"/>
              </a:spcBef>
              <a:spcAft>
                <a:spcPts val="0"/>
              </a:spcAft>
              <a:buClr>
                <a:srgbClr val="003781"/>
              </a:buClr>
              <a:tabLst/>
              <a:defRPr/>
            </a:pPr>
            <a:r>
              <a:rPr lang="en-GB" sz="1000">
                <a:solidFill>
                  <a:schemeClr val="accent1"/>
                </a:solidFill>
                <a:latin typeface="Arial" charset="0"/>
              </a:rPr>
              <a:t>40%</a:t>
            </a:r>
            <a:endParaRPr kumimoji="0" lang="en-US" sz="1000" b="0" i="0" u="none" strike="noStrike" cap="none" normalizeH="0" baseline="0" dirty="0">
              <a:ln>
                <a:noFill/>
              </a:ln>
              <a:solidFill>
                <a:schemeClr val="accent1"/>
              </a:solidFill>
              <a:effectLst/>
              <a:latin typeface="Arial" charset="0"/>
            </a:endParaRPr>
          </a:p>
        </p:txBody>
      </p:sp>
      <p:sp>
        <p:nvSpPr>
          <p:cNvPr id="29" name="Rechteck 117">
            <a:extLst>
              <a:ext uri="{FF2B5EF4-FFF2-40B4-BE49-F238E27FC236}">
                <a16:creationId xmlns:a16="http://schemas.microsoft.com/office/drawing/2014/main" id="{57546BE6-40B9-B8D2-A4CF-C481E9FB2A0C}"/>
              </a:ext>
            </a:extLst>
          </p:cNvPr>
          <p:cNvSpPr/>
          <p:nvPr userDrawn="1"/>
        </p:nvSpPr>
        <p:spPr bwMode="gray">
          <a:xfrm>
            <a:off x="9611364" y="4272826"/>
            <a:ext cx="1003449" cy="487832"/>
          </a:xfrm>
          <a:prstGeom prst="rect">
            <a:avLst/>
          </a:prstGeom>
          <a:solidFill>
            <a:srgbClr val="F0F8FA"/>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0F8FA</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a:solidFill>
                  <a:schemeClr val="accent1"/>
                </a:solidFill>
                <a:latin typeface="Arial" charset="0"/>
              </a:rPr>
              <a:t>20%</a:t>
            </a:r>
            <a:endParaRPr kumimoji="0" lang="en-US" sz="1000" b="0" i="0" u="none" strike="noStrike" cap="none" normalizeH="0" baseline="0" dirty="0">
              <a:ln>
                <a:noFill/>
              </a:ln>
              <a:solidFill>
                <a:schemeClr val="accent1"/>
              </a:solidFill>
              <a:effectLst/>
              <a:latin typeface="Arial" charset="0"/>
            </a:endParaRPr>
          </a:p>
        </p:txBody>
      </p:sp>
      <p:sp>
        <p:nvSpPr>
          <p:cNvPr id="39" name="Rectangle 38">
            <a:extLst>
              <a:ext uri="{FF2B5EF4-FFF2-40B4-BE49-F238E27FC236}">
                <a16:creationId xmlns:a16="http://schemas.microsoft.com/office/drawing/2014/main" id="{79B405EA-9609-A336-75E5-9269DD9FAB4C}"/>
              </a:ext>
            </a:extLst>
          </p:cNvPr>
          <p:cNvSpPr/>
          <p:nvPr userDrawn="1"/>
        </p:nvSpPr>
        <p:spPr bwMode="auto">
          <a:xfrm>
            <a:off x="2701836" y="1800664"/>
            <a:ext cx="1003775" cy="499177"/>
          </a:xfrm>
          <a:prstGeom prst="rect">
            <a:avLst/>
          </a:prstGeom>
          <a:solidFill>
            <a:srgbClr val="41414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bg1"/>
                </a:solidFill>
                <a:effectLst/>
                <a:latin typeface="Arial" charset="0"/>
              </a:rPr>
              <a:t>#414141</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bg1"/>
                </a:solidFill>
                <a:latin typeface="Arial" charset="0"/>
              </a:rPr>
              <a:t>Grey </a:t>
            </a:r>
            <a:endParaRPr kumimoji="0" lang="en-GB" sz="1000" b="0" i="0" u="none" strike="noStrike" cap="none" normalizeH="0" baseline="0" dirty="0">
              <a:ln>
                <a:noFill/>
              </a:ln>
              <a:solidFill>
                <a:schemeClr val="bg1"/>
              </a:solidFill>
              <a:effectLst/>
              <a:latin typeface="Arial" charset="0"/>
            </a:endParaRPr>
          </a:p>
        </p:txBody>
      </p:sp>
      <p:sp>
        <p:nvSpPr>
          <p:cNvPr id="6" name="Textfeld 5"/>
          <p:cNvSpPr txBox="1"/>
          <p:nvPr userDrawn="1"/>
        </p:nvSpPr>
        <p:spPr bwMode="gray">
          <a:xfrm>
            <a:off x="3860914" y="5441594"/>
            <a:ext cx="3301008" cy="647554"/>
          </a:xfrm>
          <a:prstGeom prst="rect">
            <a:avLst/>
          </a:prstGeom>
        </p:spPr>
        <p:txBody>
          <a:bodyPr wrap="square" lIns="0" tIns="0" rIns="0" bIns="0">
            <a:noAutofit/>
          </a:bodyPr>
          <a:lstStyle>
            <a:defPPr>
              <a:defRPr lang="de-DE"/>
            </a:defPPr>
            <a:lvl1pPr defTabSz="1219170">
              <a:lnSpc>
                <a:spcPct val="120000"/>
              </a:lnSpc>
              <a:spcBef>
                <a:spcPts val="0"/>
              </a:spcBef>
              <a:spcAft>
                <a:spcPts val="0"/>
              </a:spcAft>
              <a:defRPr sz="900" kern="1200">
                <a:solidFill>
                  <a:schemeClr val="tx2"/>
                </a:solidFill>
                <a:ea typeface="Allianz Sans" pitchFamily="50" charset="0"/>
              </a:defRPr>
            </a:lvl1pPr>
          </a:lstStyle>
          <a:p>
            <a:pPr lvl="0"/>
            <a:r>
              <a:rPr lang="en-GB" noProof="0" dirty="0"/>
              <a:t>Headlines must always have the full tone; for boxes, tables and graphics all shades of colours can be used (see AllianzGI colour guidelines for WCAG standards).</a:t>
            </a:r>
            <a:br>
              <a:rPr lang="en-GB" noProof="0" dirty="0"/>
            </a:br>
            <a:endParaRPr lang="en-GB" noProof="0" dirty="0"/>
          </a:p>
        </p:txBody>
      </p:sp>
      <p:sp>
        <p:nvSpPr>
          <p:cNvPr id="7" name="Textfeld 6"/>
          <p:cNvSpPr txBox="1"/>
          <p:nvPr userDrawn="1"/>
        </p:nvSpPr>
        <p:spPr bwMode="gray">
          <a:xfrm>
            <a:off x="398770" y="1571419"/>
            <a:ext cx="8465830" cy="246221"/>
          </a:xfrm>
          <a:prstGeom prst="rect">
            <a:avLst/>
          </a:prstGeom>
          <a:noFill/>
        </p:spPr>
        <p:txBody>
          <a:bodyPr wrap="square" lIns="0" tIns="0" rIns="0" bIns="0" rtlCol="0">
            <a:noAutofit/>
          </a:bodyPr>
          <a:lstStyle/>
          <a:p>
            <a:r>
              <a:rPr lang="en-GB" sz="1200" b="0" noProof="0" dirty="0">
                <a:solidFill>
                  <a:srgbClr val="003781"/>
                </a:solidFill>
                <a:latin typeface="Arial" panose="020B0604020202020204" pitchFamily="34" charset="0"/>
                <a:ea typeface="Allianz Sans" pitchFamily="50" charset="0"/>
              </a:rPr>
              <a:t>Design/Theme </a:t>
            </a:r>
            <a:r>
              <a:rPr lang="en-GB" sz="1200" b="0" noProof="0">
                <a:solidFill>
                  <a:srgbClr val="003781"/>
                </a:solidFill>
                <a:latin typeface="Arial" panose="020B0604020202020204" pitchFamily="34" charset="0"/>
                <a:ea typeface="Allianz Sans" pitchFamily="50" charset="0"/>
              </a:rPr>
              <a:t>colours </a:t>
            </a:r>
            <a:r>
              <a:rPr lang="en-GB" sz="1000" b="0" noProof="0">
                <a:solidFill>
                  <a:srgbClr val="003781"/>
                </a:solidFill>
                <a:latin typeface="Arial" panose="020B0604020202020204" pitchFamily="34" charset="0"/>
                <a:ea typeface="Allianz Sans" pitchFamily="50" charset="0"/>
              </a:rPr>
              <a:t>(Alliance Blue is double, as Black and Blue were used as text colour in the previous master; only Blue in the new master)</a:t>
            </a:r>
            <a:endParaRPr lang="en-GB" sz="1200" b="0" noProof="0" dirty="0">
              <a:solidFill>
                <a:srgbClr val="003781"/>
              </a:solidFill>
              <a:latin typeface="Arial" panose="020B0604020202020204" pitchFamily="34" charset="0"/>
              <a:ea typeface="Allianz Sans" pitchFamily="50" charset="0"/>
            </a:endParaRPr>
          </a:p>
        </p:txBody>
      </p:sp>
      <p:sp>
        <p:nvSpPr>
          <p:cNvPr id="8" name="Textfeld 7"/>
          <p:cNvSpPr txBox="1"/>
          <p:nvPr userDrawn="1"/>
        </p:nvSpPr>
        <p:spPr bwMode="gray">
          <a:xfrm>
            <a:off x="398771" y="2379185"/>
            <a:ext cx="1874568" cy="246221"/>
          </a:xfrm>
          <a:prstGeom prst="rect">
            <a:avLst/>
          </a:prstGeom>
          <a:noFill/>
        </p:spPr>
        <p:txBody>
          <a:bodyPr wrap="square" lIns="0" tIns="0" rIns="0" bIns="0" rtlCol="0">
            <a:noAutofit/>
          </a:bodyPr>
          <a:lstStyle/>
          <a:p>
            <a:r>
              <a:rPr lang="en-GB" sz="1200" b="0" noProof="0" dirty="0">
                <a:solidFill>
                  <a:srgbClr val="003781"/>
                </a:solidFill>
                <a:latin typeface="Arial" panose="020B0604020202020204" pitchFamily="34" charset="0"/>
                <a:ea typeface="Allianz Sans" pitchFamily="50" charset="0"/>
              </a:rPr>
              <a:t>Custom colours</a:t>
            </a:r>
          </a:p>
        </p:txBody>
      </p:sp>
      <p:sp>
        <p:nvSpPr>
          <p:cNvPr id="152" name="Titel 1"/>
          <p:cNvSpPr txBox="1">
            <a:spLocks/>
          </p:cNvSpPr>
          <p:nvPr userDrawn="1"/>
        </p:nvSpPr>
        <p:spPr bwMode="gray">
          <a:xfrm>
            <a:off x="395926" y="637185"/>
            <a:ext cx="7490172" cy="60719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000" baseline="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charset="0"/>
              </a:defRPr>
            </a:lvl2pPr>
            <a:lvl3pPr algn="l" rtl="0" eaLnBrk="1" fontAlgn="base" hangingPunct="1">
              <a:spcBef>
                <a:spcPct val="0"/>
              </a:spcBef>
              <a:spcAft>
                <a:spcPct val="0"/>
              </a:spcAft>
              <a:defRPr sz="2000">
                <a:solidFill>
                  <a:schemeClr val="tx2"/>
                </a:solidFill>
                <a:latin typeface="Arial" charset="0"/>
              </a:defRPr>
            </a:lvl3pPr>
            <a:lvl4pPr algn="l" rtl="0" eaLnBrk="1" fontAlgn="base" hangingPunct="1">
              <a:spcBef>
                <a:spcPct val="0"/>
              </a:spcBef>
              <a:spcAft>
                <a:spcPct val="0"/>
              </a:spcAft>
              <a:defRPr sz="2000">
                <a:solidFill>
                  <a:schemeClr val="tx2"/>
                </a:solidFill>
                <a:latin typeface="Arial" charset="0"/>
              </a:defRPr>
            </a:lvl4pPr>
            <a:lvl5pPr algn="l" rtl="0" eaLnBrk="1" fontAlgn="base" hangingPunct="1">
              <a:spcBef>
                <a:spcPct val="0"/>
              </a:spcBef>
              <a:spcAft>
                <a:spcPct val="0"/>
              </a:spcAft>
              <a:defRPr sz="2000">
                <a:solidFill>
                  <a:schemeClr val="tx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a:lstStyle>
          <a:p>
            <a:r>
              <a:rPr lang="en-GB" sz="2800" kern="0" noProof="0" dirty="0">
                <a:latin typeface="Arial" panose="020B0604020202020204" pitchFamily="34" charset="0"/>
              </a:rPr>
              <a:t>PowerPoint colour </a:t>
            </a:r>
            <a:r>
              <a:rPr lang="en-GB" sz="2800" kern="0" baseline="0" noProof="0" dirty="0">
                <a:solidFill>
                  <a:schemeClr val="tx2"/>
                </a:solidFill>
                <a:latin typeface="Arial" panose="020B0604020202020204" pitchFamily="34" charset="0"/>
                <a:ea typeface="+mj-ea"/>
                <a:cs typeface="+mj-cs"/>
              </a:rPr>
              <a:t>palette (HEX)</a:t>
            </a:r>
          </a:p>
        </p:txBody>
      </p:sp>
      <p:sp>
        <p:nvSpPr>
          <p:cNvPr id="2" name="Rechteck 1"/>
          <p:cNvSpPr/>
          <p:nvPr userDrawn="1"/>
        </p:nvSpPr>
        <p:spPr bwMode="gray">
          <a:xfrm>
            <a:off x="714375" y="5441594"/>
            <a:ext cx="3025661" cy="505387"/>
          </a:xfrm>
          <a:prstGeom prst="rect">
            <a:avLst/>
          </a:prstGeom>
        </p:spPr>
        <p:txBody>
          <a:bodyPr wrap="square" lIns="0" tIns="0" rIns="0" bIns="0">
            <a:noAutofit/>
          </a:bodyPr>
          <a:lstStyle/>
          <a:p>
            <a:pPr marL="0" algn="l" defTabSz="1219170" rtl="0" eaLnBrk="1" latinLnBrk="0" hangingPunct="1">
              <a:lnSpc>
                <a:spcPct val="120000"/>
              </a:lnSpc>
              <a:spcBef>
                <a:spcPts val="0"/>
              </a:spcBef>
              <a:spcAft>
                <a:spcPts val="0"/>
              </a:spcAft>
            </a:pPr>
            <a:r>
              <a:rPr lang="en-GB" altLang="de-DE" sz="900" kern="1200" noProof="0">
                <a:solidFill>
                  <a:schemeClr val="tx2"/>
                </a:solidFill>
                <a:latin typeface="Arial" panose="020B0604020202020204" pitchFamily="34" charset="0"/>
                <a:ea typeface="Allianz Sans" pitchFamily="50" charset="0"/>
                <a:cs typeface="+mn-cs"/>
              </a:rPr>
              <a:t>Use the eyedropper to add one of the listed colours to your shape. Click on the desired shape, select the eyedropper under ShapeFill and click on the desired colour.
</a:t>
            </a:r>
            <a:endParaRPr lang="en-GB" altLang="de-DE" sz="900" kern="1200" noProof="0" dirty="0">
              <a:solidFill>
                <a:schemeClr val="tx2"/>
              </a:solidFill>
              <a:latin typeface="Arial" panose="020B0604020202020204" pitchFamily="34" charset="0"/>
              <a:ea typeface="Allianz Sans" pitchFamily="50" charset="0"/>
              <a:cs typeface="+mn-cs"/>
            </a:endParaRPr>
          </a:p>
        </p:txBody>
      </p:sp>
      <p:sp>
        <p:nvSpPr>
          <p:cNvPr id="159" name="Eckige Klammer links/rechts 1">
            <a:extLst>
              <a:ext uri="{FF2B5EF4-FFF2-40B4-BE49-F238E27FC236}">
                <a16:creationId xmlns:a16="http://schemas.microsoft.com/office/drawing/2014/main" id="{7E823049-289D-4411-8DB2-32013015AEC2}"/>
              </a:ext>
            </a:extLst>
          </p:cNvPr>
          <p:cNvSpPr/>
          <p:nvPr userDrawn="1"/>
        </p:nvSpPr>
        <p:spPr bwMode="gray">
          <a:xfrm rot="16200000">
            <a:off x="10537890" y="4935602"/>
            <a:ext cx="330072" cy="2143124"/>
          </a:xfrm>
          <a:prstGeom prst="bracketPair">
            <a:avLst>
              <a:gd name="adj" fmla="val 0"/>
            </a:avLst>
          </a:prstGeom>
          <a:noFill/>
          <a:ln w="28575" cap="flat" cmpd="sng" algn="ctr">
            <a:solidFill>
              <a:srgbClr val="F62459"/>
            </a:solidFill>
            <a:prstDash val="solid"/>
            <a:round/>
            <a:headEnd type="none" w="med" len="med"/>
            <a:tailEnd type="none" w="med" len="med"/>
          </a:ln>
          <a:effectLst/>
        </p:spPr>
        <p:txBody>
          <a:bodyPr vert="vert" wrap="square" lIns="72000" tIns="0" rIns="72000" bIns="0" rtlCol="0" anchor="ctr">
            <a:spAutoFit/>
          </a:bodyPr>
          <a:lstStyle/>
          <a:p>
            <a:pPr algn="ctr">
              <a:tabLst/>
            </a:pPr>
            <a:r>
              <a:rPr lang="en-GB" sz="1200" b="1" dirty="0">
                <a:solidFill>
                  <a:srgbClr val="F62459"/>
                </a:solidFill>
              </a:rPr>
              <a:t>Lorem ipsum </a:t>
            </a:r>
            <a:r>
              <a:rPr lang="en-GB" sz="1200" b="1" dirty="0" err="1">
                <a:solidFill>
                  <a:srgbClr val="F62459"/>
                </a:solidFill>
              </a:rPr>
              <a:t>dolor</a:t>
            </a:r>
            <a:endParaRPr lang="en-GB" sz="1200" b="1" dirty="0">
              <a:solidFill>
                <a:srgbClr val="F62459"/>
              </a:solidFill>
            </a:endParaRPr>
          </a:p>
        </p:txBody>
      </p:sp>
      <p:sp>
        <p:nvSpPr>
          <p:cNvPr id="160" name="Eckige Klammer links/rechts 11">
            <a:extLst>
              <a:ext uri="{FF2B5EF4-FFF2-40B4-BE49-F238E27FC236}">
                <a16:creationId xmlns:a16="http://schemas.microsoft.com/office/drawing/2014/main" id="{2B39D1BD-61C8-4EEC-A212-70D1218D853D}"/>
              </a:ext>
            </a:extLst>
          </p:cNvPr>
          <p:cNvSpPr/>
          <p:nvPr userDrawn="1"/>
        </p:nvSpPr>
        <p:spPr bwMode="gray">
          <a:xfrm rot="16200000">
            <a:off x="10537890" y="4535069"/>
            <a:ext cx="330072" cy="2143123"/>
          </a:xfrm>
          <a:prstGeom prst="bracketPair">
            <a:avLst>
              <a:gd name="adj" fmla="val 0"/>
            </a:avLst>
          </a:prstGeom>
          <a:noFill/>
          <a:ln w="28575" cap="flat" cmpd="sng" algn="ctr">
            <a:solidFill>
              <a:srgbClr val="00908D"/>
            </a:solidFill>
            <a:prstDash val="solid"/>
            <a:round/>
            <a:headEnd type="none" w="med" len="med"/>
            <a:tailEnd type="none" w="med" len="med"/>
          </a:ln>
          <a:effectLst/>
        </p:spPr>
        <p:txBody>
          <a:bodyPr vert="vert" wrap="square" lIns="72000" tIns="0" rIns="72000" bIns="0" rtlCol="0" anchor="ctr">
            <a:spAutoFit/>
          </a:bodyPr>
          <a:lstStyle/>
          <a:p>
            <a:pPr algn="ctr">
              <a:tabLst/>
            </a:pPr>
            <a:r>
              <a:rPr lang="en-GB" sz="1200" b="1" dirty="0">
                <a:solidFill>
                  <a:srgbClr val="00908D"/>
                </a:solidFill>
              </a:rPr>
              <a:t>Lorem ipsum </a:t>
            </a:r>
            <a:r>
              <a:rPr lang="en-GB" sz="1200" b="1" dirty="0" err="1">
                <a:solidFill>
                  <a:srgbClr val="00908D"/>
                </a:solidFill>
              </a:rPr>
              <a:t>dolor</a:t>
            </a:r>
            <a:endParaRPr lang="en-GB" sz="1200" b="1" dirty="0">
              <a:solidFill>
                <a:srgbClr val="00908D"/>
              </a:solidFill>
            </a:endParaRPr>
          </a:p>
        </p:txBody>
      </p:sp>
      <p:pic>
        <p:nvPicPr>
          <p:cNvPr id="5" name="Picture 4">
            <a:extLst>
              <a:ext uri="{FF2B5EF4-FFF2-40B4-BE49-F238E27FC236}">
                <a16:creationId xmlns:a16="http://schemas.microsoft.com/office/drawing/2014/main" id="{DC4A869A-1F9E-3313-1E54-379AE0FCB027}"/>
              </a:ext>
            </a:extLst>
          </p:cNvPr>
          <p:cNvPicPr>
            <a:picLocks noChangeAspect="1"/>
          </p:cNvPicPr>
          <p:nvPr userDrawn="1"/>
        </p:nvPicPr>
        <p:blipFill>
          <a:blip r:embed="rId2"/>
          <a:stretch>
            <a:fillRect/>
          </a:stretch>
        </p:blipFill>
        <p:spPr>
          <a:xfrm>
            <a:off x="407262" y="5441594"/>
            <a:ext cx="246674" cy="254897"/>
          </a:xfrm>
          <a:prstGeom prst="rect">
            <a:avLst/>
          </a:prstGeom>
        </p:spPr>
      </p:pic>
      <p:sp>
        <p:nvSpPr>
          <p:cNvPr id="9" name="Rechteck 3">
            <a:extLst>
              <a:ext uri="{FF2B5EF4-FFF2-40B4-BE49-F238E27FC236}">
                <a16:creationId xmlns:a16="http://schemas.microsoft.com/office/drawing/2014/main" id="{350C81E9-CA9F-B99D-FD1C-4C6F13EAE59B}"/>
              </a:ext>
            </a:extLst>
          </p:cNvPr>
          <p:cNvSpPr/>
          <p:nvPr userDrawn="1"/>
        </p:nvSpPr>
        <p:spPr bwMode="gray">
          <a:xfrm>
            <a:off x="2701838" y="2601500"/>
            <a:ext cx="1003775" cy="488719"/>
          </a:xfrm>
          <a:prstGeom prst="rect">
            <a:avLst/>
          </a:prstGeom>
          <a:solidFill>
            <a:srgbClr val="F86200"/>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F86200</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Orange</a:t>
            </a:r>
            <a:endParaRPr kumimoji="0" lang="en-GB" sz="1000" b="0" i="0" u="none" strike="noStrike" kern="0" cap="none" spc="0" normalizeH="0" baseline="0" noProof="0" dirty="0">
              <a:ln>
                <a:noFill/>
              </a:ln>
              <a:solidFill>
                <a:srgbClr val="FFFFFF"/>
              </a:solidFill>
              <a:effectLst/>
              <a:uLnTx/>
              <a:uFillTx/>
            </a:endParaRPr>
          </a:p>
        </p:txBody>
      </p:sp>
      <p:sp>
        <p:nvSpPr>
          <p:cNvPr id="10" name="Rechteck 4">
            <a:extLst>
              <a:ext uri="{FF2B5EF4-FFF2-40B4-BE49-F238E27FC236}">
                <a16:creationId xmlns:a16="http://schemas.microsoft.com/office/drawing/2014/main" id="{C7A4DDEA-7D28-6163-5EB2-7E94702BB563}"/>
              </a:ext>
            </a:extLst>
          </p:cNvPr>
          <p:cNvSpPr/>
          <p:nvPr userDrawn="1"/>
        </p:nvSpPr>
        <p:spPr bwMode="gray">
          <a:xfrm>
            <a:off x="3853371" y="2601500"/>
            <a:ext cx="1003775" cy="488719"/>
          </a:xfrm>
          <a:prstGeom prst="rect">
            <a:avLst/>
          </a:prstGeom>
          <a:solidFill>
            <a:srgbClr val="FAB600"/>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FAB600</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Yellow</a:t>
            </a:r>
            <a:endParaRPr kumimoji="0" lang="en-GB" sz="1000" b="0" i="0" u="none" strike="noStrike" kern="0" cap="none" spc="0" normalizeH="0" baseline="0" noProof="0" dirty="0">
              <a:ln>
                <a:noFill/>
              </a:ln>
              <a:solidFill>
                <a:srgbClr val="FFFFFF"/>
              </a:solidFill>
              <a:effectLst/>
              <a:uLnTx/>
              <a:uFillTx/>
            </a:endParaRPr>
          </a:p>
        </p:txBody>
      </p:sp>
      <p:sp>
        <p:nvSpPr>
          <p:cNvPr id="11" name="Rechteck 5">
            <a:extLst>
              <a:ext uri="{FF2B5EF4-FFF2-40B4-BE49-F238E27FC236}">
                <a16:creationId xmlns:a16="http://schemas.microsoft.com/office/drawing/2014/main" id="{1E328B35-BB51-DE6F-C1AB-3378BF60AF09}"/>
              </a:ext>
            </a:extLst>
          </p:cNvPr>
          <p:cNvSpPr/>
          <p:nvPr userDrawn="1"/>
        </p:nvSpPr>
        <p:spPr bwMode="gray">
          <a:xfrm>
            <a:off x="1550304" y="2601500"/>
            <a:ext cx="1003775" cy="488719"/>
          </a:xfrm>
          <a:prstGeom prst="rect">
            <a:avLst/>
          </a:prstGeom>
          <a:solidFill>
            <a:srgbClr val="F62459"/>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F62459</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Red</a:t>
            </a:r>
            <a:endParaRPr kumimoji="0" lang="en-GB" sz="1000" b="0" i="0" u="none" strike="noStrike" kern="0" cap="none" spc="0" normalizeH="0" baseline="0" noProof="0" dirty="0">
              <a:ln>
                <a:noFill/>
              </a:ln>
              <a:solidFill>
                <a:srgbClr val="FFFFFF"/>
              </a:solidFill>
              <a:effectLst/>
              <a:uLnTx/>
              <a:uFillTx/>
            </a:endParaRPr>
          </a:p>
        </p:txBody>
      </p:sp>
      <p:sp>
        <p:nvSpPr>
          <p:cNvPr id="12" name="Rechteck 6">
            <a:extLst>
              <a:ext uri="{FF2B5EF4-FFF2-40B4-BE49-F238E27FC236}">
                <a16:creationId xmlns:a16="http://schemas.microsoft.com/office/drawing/2014/main" id="{EB5AEF60-8A3E-CECA-B63A-40F056103F62}"/>
              </a:ext>
            </a:extLst>
          </p:cNvPr>
          <p:cNvSpPr/>
          <p:nvPr userDrawn="1"/>
        </p:nvSpPr>
        <p:spPr bwMode="gray">
          <a:xfrm>
            <a:off x="398771" y="2601500"/>
            <a:ext cx="1003775" cy="488719"/>
          </a:xfrm>
          <a:prstGeom prst="rect">
            <a:avLst/>
          </a:prstGeom>
          <a:solidFill>
            <a:srgbClr val="A6276F"/>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A6276F</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Purple</a:t>
            </a:r>
            <a:endParaRPr kumimoji="0" lang="en-GB" sz="1000" b="0" i="0" u="none" strike="noStrike" kern="0" cap="none" spc="0" normalizeH="0" baseline="0" noProof="0" dirty="0">
              <a:ln>
                <a:noFill/>
              </a:ln>
              <a:solidFill>
                <a:srgbClr val="FFFFFF"/>
              </a:solidFill>
              <a:effectLst/>
              <a:uLnTx/>
              <a:uFillTx/>
            </a:endParaRPr>
          </a:p>
        </p:txBody>
      </p:sp>
      <p:sp>
        <p:nvSpPr>
          <p:cNvPr id="13" name="Rechteck 7">
            <a:extLst>
              <a:ext uri="{FF2B5EF4-FFF2-40B4-BE49-F238E27FC236}">
                <a16:creationId xmlns:a16="http://schemas.microsoft.com/office/drawing/2014/main" id="{06030405-593C-EA0A-5E6A-3E2C41C78426}"/>
              </a:ext>
            </a:extLst>
          </p:cNvPr>
          <p:cNvSpPr/>
          <p:nvPr userDrawn="1"/>
        </p:nvSpPr>
        <p:spPr bwMode="gray">
          <a:xfrm>
            <a:off x="10762570" y="2601500"/>
            <a:ext cx="1003775" cy="488719"/>
          </a:xfrm>
          <a:prstGeom prst="rect">
            <a:avLst/>
          </a:prstGeom>
          <a:solidFill>
            <a:srgbClr val="5FCD8A"/>
          </a:solidFill>
          <a:ln w="6350" cap="flat" cmpd="sng" algn="ctr">
            <a:noFill/>
            <a:prstDash val="solid"/>
            <a:round/>
            <a:headEnd type="none" w="med" len="med"/>
            <a:tailEnd type="none" w="med" len="med"/>
          </a:ln>
          <a:effectLst/>
        </p:spPr>
        <p:txBody>
          <a:bodyPr vert="horz" wrap="square" lIns="61358" tIns="61358" rIns="0"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5FCD8A</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Bright green</a:t>
            </a:r>
            <a:endParaRPr kumimoji="0" lang="en-GB" sz="1000" b="0" i="0" u="none" strike="noStrike" kern="0" cap="none" spc="0" normalizeH="0" baseline="0" noProof="0" dirty="0">
              <a:ln>
                <a:noFill/>
              </a:ln>
              <a:solidFill>
                <a:srgbClr val="FFFFFF"/>
              </a:solidFill>
              <a:effectLst/>
              <a:uLnTx/>
              <a:uFillTx/>
            </a:endParaRPr>
          </a:p>
        </p:txBody>
      </p:sp>
      <p:sp>
        <p:nvSpPr>
          <p:cNvPr id="15" name="Rechteck 9">
            <a:extLst>
              <a:ext uri="{FF2B5EF4-FFF2-40B4-BE49-F238E27FC236}">
                <a16:creationId xmlns:a16="http://schemas.microsoft.com/office/drawing/2014/main" id="{25602B29-7FC2-DA5C-9D1F-ED528BB846F2}"/>
              </a:ext>
            </a:extLst>
          </p:cNvPr>
          <p:cNvSpPr/>
          <p:nvPr userDrawn="1"/>
        </p:nvSpPr>
        <p:spPr bwMode="gray">
          <a:xfrm>
            <a:off x="2701838" y="3156626"/>
            <a:ext cx="1003775" cy="488719"/>
          </a:xfrm>
          <a:prstGeom prst="rect">
            <a:avLst/>
          </a:prstGeom>
          <a:solidFill>
            <a:srgbClr val="F98133"/>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F98133</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80%</a:t>
            </a:r>
            <a:endParaRPr kumimoji="0" lang="en-GB" sz="1000" b="0" i="0" u="none" strike="noStrike" kern="0" cap="none" spc="0" normalizeH="0" baseline="0" noProof="0" dirty="0">
              <a:ln>
                <a:noFill/>
              </a:ln>
              <a:solidFill>
                <a:srgbClr val="FFFFFF"/>
              </a:solidFill>
              <a:effectLst/>
              <a:uLnTx/>
              <a:uFillTx/>
            </a:endParaRPr>
          </a:p>
        </p:txBody>
      </p:sp>
      <p:sp>
        <p:nvSpPr>
          <p:cNvPr id="16" name="Rechteck 10">
            <a:extLst>
              <a:ext uri="{FF2B5EF4-FFF2-40B4-BE49-F238E27FC236}">
                <a16:creationId xmlns:a16="http://schemas.microsoft.com/office/drawing/2014/main" id="{39BE6596-D497-822C-B4D6-366672D80788}"/>
              </a:ext>
            </a:extLst>
          </p:cNvPr>
          <p:cNvSpPr/>
          <p:nvPr userDrawn="1"/>
        </p:nvSpPr>
        <p:spPr bwMode="gray">
          <a:xfrm>
            <a:off x="3853371" y="3156626"/>
            <a:ext cx="1003775" cy="488719"/>
          </a:xfrm>
          <a:prstGeom prst="rect">
            <a:avLst/>
          </a:prstGeom>
          <a:solidFill>
            <a:srgbClr val="FBC533"/>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FBC533</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80%</a:t>
            </a:r>
            <a:endParaRPr kumimoji="0" lang="en-GB" sz="1000" b="0" i="0" u="none" strike="noStrike" kern="0" cap="none" spc="0" normalizeH="0" baseline="0" noProof="0" dirty="0">
              <a:ln>
                <a:noFill/>
              </a:ln>
              <a:solidFill>
                <a:srgbClr val="FFFFFF"/>
              </a:solidFill>
              <a:effectLst/>
              <a:uLnTx/>
              <a:uFillTx/>
            </a:endParaRPr>
          </a:p>
        </p:txBody>
      </p:sp>
      <p:sp>
        <p:nvSpPr>
          <p:cNvPr id="17" name="Rechteck 11">
            <a:extLst>
              <a:ext uri="{FF2B5EF4-FFF2-40B4-BE49-F238E27FC236}">
                <a16:creationId xmlns:a16="http://schemas.microsoft.com/office/drawing/2014/main" id="{A7ACFBF8-2140-5881-46F0-34D845BF9694}"/>
              </a:ext>
            </a:extLst>
          </p:cNvPr>
          <p:cNvSpPr/>
          <p:nvPr userDrawn="1"/>
        </p:nvSpPr>
        <p:spPr bwMode="gray">
          <a:xfrm>
            <a:off x="1550304" y="3156626"/>
            <a:ext cx="1003775" cy="488719"/>
          </a:xfrm>
          <a:prstGeom prst="rect">
            <a:avLst/>
          </a:prstGeom>
          <a:solidFill>
            <a:srgbClr val="F8507A"/>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F8507A</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80%</a:t>
            </a:r>
            <a:endParaRPr kumimoji="0" lang="en-GB" sz="1000" b="0" i="0" u="none" strike="noStrike" kern="0" cap="none" spc="0" normalizeH="0" baseline="0" noProof="0" dirty="0">
              <a:ln>
                <a:noFill/>
              </a:ln>
              <a:solidFill>
                <a:srgbClr val="FFFFFF"/>
              </a:solidFill>
              <a:effectLst/>
              <a:uLnTx/>
              <a:uFillTx/>
            </a:endParaRPr>
          </a:p>
        </p:txBody>
      </p:sp>
      <p:sp>
        <p:nvSpPr>
          <p:cNvPr id="18" name="Rechteck 12">
            <a:extLst>
              <a:ext uri="{FF2B5EF4-FFF2-40B4-BE49-F238E27FC236}">
                <a16:creationId xmlns:a16="http://schemas.microsoft.com/office/drawing/2014/main" id="{14B29B53-BA76-8D63-9B86-EA6B9401DB54}"/>
              </a:ext>
            </a:extLst>
          </p:cNvPr>
          <p:cNvSpPr/>
          <p:nvPr userDrawn="1"/>
        </p:nvSpPr>
        <p:spPr bwMode="gray">
          <a:xfrm>
            <a:off x="398771" y="3156626"/>
            <a:ext cx="1003775" cy="488719"/>
          </a:xfrm>
          <a:prstGeom prst="rect">
            <a:avLst/>
          </a:prstGeom>
          <a:solidFill>
            <a:srgbClr val="B8528C"/>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B8528C</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80%</a:t>
            </a:r>
            <a:endParaRPr kumimoji="0" lang="en-GB" sz="1000" b="0" i="0" u="none" strike="noStrike" kern="0" cap="none" spc="0" normalizeH="0" baseline="0" noProof="0" dirty="0">
              <a:ln>
                <a:noFill/>
              </a:ln>
              <a:solidFill>
                <a:srgbClr val="FFFFFF"/>
              </a:solidFill>
              <a:effectLst/>
              <a:uLnTx/>
              <a:uFillTx/>
            </a:endParaRPr>
          </a:p>
        </p:txBody>
      </p:sp>
      <p:sp>
        <p:nvSpPr>
          <p:cNvPr id="19" name="Rechteck 13">
            <a:extLst>
              <a:ext uri="{FF2B5EF4-FFF2-40B4-BE49-F238E27FC236}">
                <a16:creationId xmlns:a16="http://schemas.microsoft.com/office/drawing/2014/main" id="{BE3D3BBD-D530-F961-46E5-6BD1F2500CA0}"/>
              </a:ext>
            </a:extLst>
          </p:cNvPr>
          <p:cNvSpPr/>
          <p:nvPr userDrawn="1"/>
        </p:nvSpPr>
        <p:spPr bwMode="gray">
          <a:xfrm>
            <a:off x="10762570" y="3156626"/>
            <a:ext cx="1003775" cy="488719"/>
          </a:xfrm>
          <a:prstGeom prst="rect">
            <a:avLst/>
          </a:prstGeom>
          <a:solidFill>
            <a:srgbClr val="7FD7A1"/>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7FD7A1</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rgbClr val="FFFFFF"/>
                </a:solidFill>
              </a:rPr>
              <a:t>80%</a:t>
            </a:r>
            <a:endParaRPr kumimoji="0" lang="en-GB" sz="1000" b="0" i="0" u="none" strike="noStrike" kern="0" cap="none" spc="0" normalizeH="0" baseline="0" noProof="0" dirty="0">
              <a:ln>
                <a:noFill/>
              </a:ln>
              <a:solidFill>
                <a:srgbClr val="FFFFFF"/>
              </a:solidFill>
              <a:effectLst/>
              <a:uLnTx/>
              <a:uFillTx/>
            </a:endParaRPr>
          </a:p>
        </p:txBody>
      </p:sp>
      <p:sp>
        <p:nvSpPr>
          <p:cNvPr id="30" name="Rechteck 15">
            <a:extLst>
              <a:ext uri="{FF2B5EF4-FFF2-40B4-BE49-F238E27FC236}">
                <a16:creationId xmlns:a16="http://schemas.microsoft.com/office/drawing/2014/main" id="{6D0E4001-4354-B577-71E6-9FAB84291173}"/>
              </a:ext>
            </a:extLst>
          </p:cNvPr>
          <p:cNvSpPr/>
          <p:nvPr userDrawn="1"/>
        </p:nvSpPr>
        <p:spPr bwMode="gray">
          <a:xfrm>
            <a:off x="2701838" y="3711752"/>
            <a:ext cx="1003775" cy="488719"/>
          </a:xfrm>
          <a:prstGeom prst="rect">
            <a:avLst/>
          </a:prstGeom>
          <a:solidFill>
            <a:srgbClr val="FBA166"/>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BA166</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60%</a:t>
            </a:r>
            <a:endParaRPr kumimoji="0" lang="en-GB" sz="1000" b="0" i="0" u="none" strike="noStrike" kern="0" cap="none" spc="0" normalizeH="0" baseline="0" noProof="0" dirty="0">
              <a:ln>
                <a:noFill/>
              </a:ln>
              <a:solidFill>
                <a:schemeClr val="accent1"/>
              </a:solidFill>
              <a:effectLst/>
              <a:uLnTx/>
              <a:uFillTx/>
            </a:endParaRPr>
          </a:p>
        </p:txBody>
      </p:sp>
      <p:sp>
        <p:nvSpPr>
          <p:cNvPr id="31" name="Rechteck 16">
            <a:extLst>
              <a:ext uri="{FF2B5EF4-FFF2-40B4-BE49-F238E27FC236}">
                <a16:creationId xmlns:a16="http://schemas.microsoft.com/office/drawing/2014/main" id="{401F4208-14F5-62E4-8C18-E291C6F792AD}"/>
              </a:ext>
            </a:extLst>
          </p:cNvPr>
          <p:cNvSpPr/>
          <p:nvPr userDrawn="1"/>
        </p:nvSpPr>
        <p:spPr bwMode="gray">
          <a:xfrm>
            <a:off x="3853371" y="3711752"/>
            <a:ext cx="1003775" cy="488719"/>
          </a:xfrm>
          <a:prstGeom prst="rect">
            <a:avLst/>
          </a:prstGeom>
          <a:solidFill>
            <a:srgbClr val="FCD366"/>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CD366</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60%</a:t>
            </a:r>
            <a:endParaRPr kumimoji="0" lang="en-GB" sz="1000" b="0" i="0" u="none" strike="noStrike" kern="0" cap="none" spc="0" normalizeH="0" baseline="0" noProof="0" dirty="0">
              <a:ln>
                <a:noFill/>
              </a:ln>
              <a:solidFill>
                <a:schemeClr val="accent1"/>
              </a:solidFill>
              <a:effectLst/>
              <a:uLnTx/>
              <a:uFillTx/>
            </a:endParaRPr>
          </a:p>
        </p:txBody>
      </p:sp>
      <p:sp>
        <p:nvSpPr>
          <p:cNvPr id="32" name="Rechteck 17">
            <a:extLst>
              <a:ext uri="{FF2B5EF4-FFF2-40B4-BE49-F238E27FC236}">
                <a16:creationId xmlns:a16="http://schemas.microsoft.com/office/drawing/2014/main" id="{72DE032A-E24F-7628-ADC5-2803D0D78975}"/>
              </a:ext>
            </a:extLst>
          </p:cNvPr>
          <p:cNvSpPr/>
          <p:nvPr userDrawn="1"/>
        </p:nvSpPr>
        <p:spPr bwMode="gray">
          <a:xfrm>
            <a:off x="1550304" y="3711752"/>
            <a:ext cx="1003775" cy="488719"/>
          </a:xfrm>
          <a:prstGeom prst="rect">
            <a:avLst/>
          </a:prstGeom>
          <a:solidFill>
            <a:srgbClr val="FA7C9B"/>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A7C9B</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60%</a:t>
            </a:r>
            <a:endParaRPr kumimoji="0" lang="en-GB" sz="1000" b="0" i="0" u="none" strike="noStrike" kern="0" cap="none" spc="0" normalizeH="0" baseline="0" noProof="0" dirty="0">
              <a:ln>
                <a:noFill/>
              </a:ln>
              <a:solidFill>
                <a:schemeClr val="accent1"/>
              </a:solidFill>
              <a:effectLst/>
              <a:uLnTx/>
              <a:uFillTx/>
            </a:endParaRPr>
          </a:p>
        </p:txBody>
      </p:sp>
      <p:sp>
        <p:nvSpPr>
          <p:cNvPr id="33" name="Rechteck 18">
            <a:extLst>
              <a:ext uri="{FF2B5EF4-FFF2-40B4-BE49-F238E27FC236}">
                <a16:creationId xmlns:a16="http://schemas.microsoft.com/office/drawing/2014/main" id="{ADD39552-7CD3-4C62-23D1-E886DBD42818}"/>
              </a:ext>
            </a:extLst>
          </p:cNvPr>
          <p:cNvSpPr/>
          <p:nvPr userDrawn="1"/>
        </p:nvSpPr>
        <p:spPr bwMode="gray">
          <a:xfrm>
            <a:off x="398771" y="3711752"/>
            <a:ext cx="1003775" cy="488719"/>
          </a:xfrm>
          <a:prstGeom prst="rect">
            <a:avLst/>
          </a:prstGeom>
          <a:solidFill>
            <a:srgbClr val="CA7DA9"/>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CA7DA9</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60%</a:t>
            </a:r>
            <a:endParaRPr kumimoji="0" lang="en-GB" sz="1000" b="0" i="0" u="none" strike="noStrike" kern="0" cap="none" spc="0" normalizeH="0" baseline="0" noProof="0" dirty="0">
              <a:ln>
                <a:noFill/>
              </a:ln>
              <a:solidFill>
                <a:schemeClr val="accent1"/>
              </a:solidFill>
              <a:effectLst/>
              <a:uLnTx/>
              <a:uFillTx/>
            </a:endParaRPr>
          </a:p>
        </p:txBody>
      </p:sp>
      <p:sp>
        <p:nvSpPr>
          <p:cNvPr id="34" name="Rechteck 19">
            <a:extLst>
              <a:ext uri="{FF2B5EF4-FFF2-40B4-BE49-F238E27FC236}">
                <a16:creationId xmlns:a16="http://schemas.microsoft.com/office/drawing/2014/main" id="{296C0135-57A3-9207-E1C8-87DF4FD3B586}"/>
              </a:ext>
            </a:extLst>
          </p:cNvPr>
          <p:cNvSpPr/>
          <p:nvPr userDrawn="1"/>
        </p:nvSpPr>
        <p:spPr bwMode="gray">
          <a:xfrm>
            <a:off x="10762570" y="3711752"/>
            <a:ext cx="1003775" cy="488719"/>
          </a:xfrm>
          <a:prstGeom prst="rect">
            <a:avLst/>
          </a:prstGeom>
          <a:solidFill>
            <a:srgbClr val="9FE1B9"/>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9FE1B9</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60%</a:t>
            </a:r>
            <a:endParaRPr kumimoji="0" lang="en-GB" sz="1000" b="0" i="0" u="none" strike="noStrike" kern="0" cap="none" spc="0" normalizeH="0" baseline="0" noProof="0" dirty="0">
              <a:ln>
                <a:noFill/>
              </a:ln>
              <a:solidFill>
                <a:schemeClr val="accent1"/>
              </a:solidFill>
              <a:effectLst/>
              <a:uLnTx/>
              <a:uFillTx/>
            </a:endParaRPr>
          </a:p>
        </p:txBody>
      </p:sp>
      <p:sp>
        <p:nvSpPr>
          <p:cNvPr id="36" name="Rechteck 21">
            <a:extLst>
              <a:ext uri="{FF2B5EF4-FFF2-40B4-BE49-F238E27FC236}">
                <a16:creationId xmlns:a16="http://schemas.microsoft.com/office/drawing/2014/main" id="{B0797D06-71CF-0C5F-088E-611D9B03CCAB}"/>
              </a:ext>
            </a:extLst>
          </p:cNvPr>
          <p:cNvSpPr/>
          <p:nvPr userDrawn="1"/>
        </p:nvSpPr>
        <p:spPr bwMode="gray">
          <a:xfrm>
            <a:off x="2701838" y="4265653"/>
            <a:ext cx="1003775" cy="488719"/>
          </a:xfrm>
          <a:prstGeom prst="rect">
            <a:avLst/>
          </a:prstGeom>
          <a:solidFill>
            <a:srgbClr val="FCC099"/>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CC099</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37" name="Rechteck 22">
            <a:extLst>
              <a:ext uri="{FF2B5EF4-FFF2-40B4-BE49-F238E27FC236}">
                <a16:creationId xmlns:a16="http://schemas.microsoft.com/office/drawing/2014/main" id="{2C36C921-BD0D-388E-B9C9-823F30380BAA}"/>
              </a:ext>
            </a:extLst>
          </p:cNvPr>
          <p:cNvSpPr/>
          <p:nvPr userDrawn="1"/>
        </p:nvSpPr>
        <p:spPr bwMode="gray">
          <a:xfrm>
            <a:off x="3853371" y="4265653"/>
            <a:ext cx="1003775" cy="488719"/>
          </a:xfrm>
          <a:prstGeom prst="rect">
            <a:avLst/>
          </a:prstGeom>
          <a:solidFill>
            <a:srgbClr val="FDE299"/>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DE299</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38" name="Rechteck 23">
            <a:extLst>
              <a:ext uri="{FF2B5EF4-FFF2-40B4-BE49-F238E27FC236}">
                <a16:creationId xmlns:a16="http://schemas.microsoft.com/office/drawing/2014/main" id="{E593C54A-FC9B-87CB-8D67-22266AF5AF65}"/>
              </a:ext>
            </a:extLst>
          </p:cNvPr>
          <p:cNvSpPr/>
          <p:nvPr userDrawn="1"/>
        </p:nvSpPr>
        <p:spPr bwMode="gray">
          <a:xfrm>
            <a:off x="1550304" y="4265653"/>
            <a:ext cx="1003775" cy="488719"/>
          </a:xfrm>
          <a:prstGeom prst="rect">
            <a:avLst/>
          </a:prstGeom>
          <a:solidFill>
            <a:srgbClr val="FBA7BD"/>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BA7BD</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46" name="Rechteck 24">
            <a:extLst>
              <a:ext uri="{FF2B5EF4-FFF2-40B4-BE49-F238E27FC236}">
                <a16:creationId xmlns:a16="http://schemas.microsoft.com/office/drawing/2014/main" id="{56BA7FBE-9D6A-1C3C-496C-ADEEDF7FC18C}"/>
              </a:ext>
            </a:extLst>
          </p:cNvPr>
          <p:cNvSpPr/>
          <p:nvPr userDrawn="1"/>
        </p:nvSpPr>
        <p:spPr bwMode="gray">
          <a:xfrm>
            <a:off x="398771" y="4265653"/>
            <a:ext cx="1003775" cy="488719"/>
          </a:xfrm>
          <a:prstGeom prst="rect">
            <a:avLst/>
          </a:prstGeom>
          <a:solidFill>
            <a:srgbClr val="DBA9C5"/>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DBA9C5</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47" name="Rechteck 25">
            <a:extLst>
              <a:ext uri="{FF2B5EF4-FFF2-40B4-BE49-F238E27FC236}">
                <a16:creationId xmlns:a16="http://schemas.microsoft.com/office/drawing/2014/main" id="{16302ED5-5810-FDCC-D95E-98963FF2A386}"/>
              </a:ext>
            </a:extLst>
          </p:cNvPr>
          <p:cNvSpPr/>
          <p:nvPr userDrawn="1"/>
        </p:nvSpPr>
        <p:spPr bwMode="gray">
          <a:xfrm>
            <a:off x="10762570" y="4265653"/>
            <a:ext cx="1003775" cy="488719"/>
          </a:xfrm>
          <a:prstGeom prst="rect">
            <a:avLst/>
          </a:prstGeom>
          <a:solidFill>
            <a:srgbClr val="BFEBD0"/>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BFEBD0</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49" name="Rechteck 27">
            <a:extLst>
              <a:ext uri="{FF2B5EF4-FFF2-40B4-BE49-F238E27FC236}">
                <a16:creationId xmlns:a16="http://schemas.microsoft.com/office/drawing/2014/main" id="{37CC5497-A988-DEE0-1A26-C2F25F10C7F2}"/>
              </a:ext>
            </a:extLst>
          </p:cNvPr>
          <p:cNvSpPr/>
          <p:nvPr userDrawn="1"/>
        </p:nvSpPr>
        <p:spPr bwMode="gray">
          <a:xfrm>
            <a:off x="2701838" y="4830635"/>
            <a:ext cx="1003775" cy="488719"/>
          </a:xfrm>
          <a:prstGeom prst="rect">
            <a:avLst/>
          </a:prstGeom>
          <a:solidFill>
            <a:srgbClr val="FEE0CC"/>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EE0CC</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50" name="Rechteck 28">
            <a:extLst>
              <a:ext uri="{FF2B5EF4-FFF2-40B4-BE49-F238E27FC236}">
                <a16:creationId xmlns:a16="http://schemas.microsoft.com/office/drawing/2014/main" id="{35E82E75-3BDE-069F-40F4-21FC98E1BE49}"/>
              </a:ext>
            </a:extLst>
          </p:cNvPr>
          <p:cNvSpPr/>
          <p:nvPr userDrawn="1"/>
        </p:nvSpPr>
        <p:spPr bwMode="gray">
          <a:xfrm>
            <a:off x="3853371" y="4830635"/>
            <a:ext cx="1003775" cy="488719"/>
          </a:xfrm>
          <a:prstGeom prst="rect">
            <a:avLst/>
          </a:prstGeom>
          <a:solidFill>
            <a:srgbClr val="FEF0CC"/>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EF0CC</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51" name="Rechteck 29">
            <a:extLst>
              <a:ext uri="{FF2B5EF4-FFF2-40B4-BE49-F238E27FC236}">
                <a16:creationId xmlns:a16="http://schemas.microsoft.com/office/drawing/2014/main" id="{5CB07448-7397-3CD3-A5A8-1CE80106E96C}"/>
              </a:ext>
            </a:extLst>
          </p:cNvPr>
          <p:cNvSpPr/>
          <p:nvPr userDrawn="1"/>
        </p:nvSpPr>
        <p:spPr bwMode="gray">
          <a:xfrm>
            <a:off x="1550304" y="4830635"/>
            <a:ext cx="1003775" cy="488719"/>
          </a:xfrm>
          <a:prstGeom prst="rect">
            <a:avLst/>
          </a:prstGeom>
          <a:solidFill>
            <a:srgbClr val="FDD3DE"/>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FDD3DE</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52" name="Rechteck 30">
            <a:extLst>
              <a:ext uri="{FF2B5EF4-FFF2-40B4-BE49-F238E27FC236}">
                <a16:creationId xmlns:a16="http://schemas.microsoft.com/office/drawing/2014/main" id="{F710E6EC-B562-91F1-943C-C27D2CBE90C8}"/>
              </a:ext>
            </a:extLst>
          </p:cNvPr>
          <p:cNvSpPr/>
          <p:nvPr userDrawn="1"/>
        </p:nvSpPr>
        <p:spPr bwMode="gray">
          <a:xfrm>
            <a:off x="398771" y="4830635"/>
            <a:ext cx="1003775" cy="488719"/>
          </a:xfrm>
          <a:prstGeom prst="rect">
            <a:avLst/>
          </a:prstGeom>
          <a:solidFill>
            <a:srgbClr val="EDD4E2"/>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EDD4E2</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60" name="Rechteck 31">
            <a:extLst>
              <a:ext uri="{FF2B5EF4-FFF2-40B4-BE49-F238E27FC236}">
                <a16:creationId xmlns:a16="http://schemas.microsoft.com/office/drawing/2014/main" id="{F1F1519D-2291-BCB9-E9EF-21D8633FACAA}"/>
              </a:ext>
            </a:extLst>
          </p:cNvPr>
          <p:cNvSpPr/>
          <p:nvPr userDrawn="1"/>
        </p:nvSpPr>
        <p:spPr bwMode="gray">
          <a:xfrm>
            <a:off x="10762570" y="4830635"/>
            <a:ext cx="1003775" cy="488719"/>
          </a:xfrm>
          <a:prstGeom prst="rect">
            <a:avLst/>
          </a:prstGeom>
          <a:solidFill>
            <a:srgbClr val="DFF5E8"/>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DFF5E8</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62" name="Rechteck 37">
            <a:extLst>
              <a:ext uri="{FF2B5EF4-FFF2-40B4-BE49-F238E27FC236}">
                <a16:creationId xmlns:a16="http://schemas.microsoft.com/office/drawing/2014/main" id="{B8EE6A9C-E2CE-A790-3F6F-25A8D602E784}"/>
              </a:ext>
            </a:extLst>
          </p:cNvPr>
          <p:cNvSpPr/>
          <p:nvPr userDrawn="1"/>
        </p:nvSpPr>
        <p:spPr bwMode="gray">
          <a:xfrm>
            <a:off x="8459504" y="2597929"/>
            <a:ext cx="1003775" cy="488719"/>
          </a:xfrm>
          <a:prstGeom prst="rect">
            <a:avLst/>
          </a:prstGeom>
          <a:solidFill>
            <a:srgbClr val="42B3DC"/>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bg1"/>
                </a:solidFill>
                <a:effectLst/>
                <a:uLnTx/>
                <a:uFillTx/>
              </a:rPr>
              <a:t>#42B3DC</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bg1"/>
                </a:solidFill>
              </a:rPr>
              <a:t>80%</a:t>
            </a:r>
            <a:endParaRPr kumimoji="0" lang="en-GB" sz="1000" b="0" i="0" u="none" strike="noStrike" kern="0" cap="none" spc="0" normalizeH="0" baseline="0" noProof="0" dirty="0">
              <a:ln>
                <a:noFill/>
              </a:ln>
              <a:solidFill>
                <a:schemeClr val="bg1"/>
              </a:solidFill>
              <a:effectLst/>
              <a:uLnTx/>
              <a:uFillTx/>
            </a:endParaRPr>
          </a:p>
        </p:txBody>
      </p:sp>
      <p:sp>
        <p:nvSpPr>
          <p:cNvPr id="63" name="Rechteck 38">
            <a:extLst>
              <a:ext uri="{FF2B5EF4-FFF2-40B4-BE49-F238E27FC236}">
                <a16:creationId xmlns:a16="http://schemas.microsoft.com/office/drawing/2014/main" id="{DCFB5301-F0C0-E82A-CBE7-D245DBBF6690}"/>
              </a:ext>
            </a:extLst>
          </p:cNvPr>
          <p:cNvSpPr/>
          <p:nvPr userDrawn="1"/>
        </p:nvSpPr>
        <p:spPr bwMode="gray">
          <a:xfrm>
            <a:off x="7307971" y="2597929"/>
            <a:ext cx="1003775" cy="488719"/>
          </a:xfrm>
          <a:prstGeom prst="rect">
            <a:avLst/>
          </a:prstGeom>
          <a:solidFill>
            <a:srgbClr val="3395C2"/>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3395C2</a:t>
            </a:r>
            <a:endParaRPr kumimoji="0" lang="en-GB" sz="1000" b="0" i="0" u="none" strike="noStrike" kern="0" cap="none" spc="0" normalizeH="0" baseline="0" noProof="0" dirty="0">
              <a:ln>
                <a:noFill/>
              </a:ln>
              <a:solidFill>
                <a:schemeClr val="accent1"/>
              </a:solidFill>
              <a:effectLst/>
              <a:uLnTx/>
              <a:uFillTx/>
            </a:endParaRP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bg1"/>
                </a:solidFill>
              </a:rPr>
              <a:t>80%</a:t>
            </a:r>
            <a:endParaRPr kumimoji="0" lang="en-GB" sz="1000" b="0" i="0" u="none" strike="noStrike" kern="0" cap="none" spc="0" normalizeH="0" baseline="0" noProof="0" dirty="0">
              <a:ln>
                <a:noFill/>
              </a:ln>
              <a:solidFill>
                <a:srgbClr val="FFFFFF"/>
              </a:solidFill>
              <a:effectLst/>
              <a:uLnTx/>
              <a:uFillTx/>
            </a:endParaRPr>
          </a:p>
        </p:txBody>
      </p:sp>
      <p:sp>
        <p:nvSpPr>
          <p:cNvPr id="64" name="Rechteck 39">
            <a:extLst>
              <a:ext uri="{FF2B5EF4-FFF2-40B4-BE49-F238E27FC236}">
                <a16:creationId xmlns:a16="http://schemas.microsoft.com/office/drawing/2014/main" id="{2F15EC68-8BFF-C7D4-B255-809DC5FF8F6E}"/>
              </a:ext>
            </a:extLst>
          </p:cNvPr>
          <p:cNvSpPr/>
          <p:nvPr userDrawn="1"/>
        </p:nvSpPr>
        <p:spPr bwMode="gray">
          <a:xfrm>
            <a:off x="6156438" y="2597929"/>
            <a:ext cx="1003775" cy="488719"/>
          </a:xfrm>
          <a:prstGeom prst="rect">
            <a:avLst/>
          </a:prstGeom>
          <a:solidFill>
            <a:srgbClr val="3381A8"/>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3381A8</a:t>
            </a:r>
            <a:endParaRPr kumimoji="0" lang="en-GB" sz="1000" b="0" i="0" u="none" strike="noStrike" kern="0" cap="none" spc="0" normalizeH="0" baseline="0" noProof="0" dirty="0">
              <a:ln>
                <a:noFill/>
              </a:ln>
              <a:solidFill>
                <a:schemeClr val="accent1"/>
              </a:solidFill>
              <a:effectLst/>
              <a:uLnTx/>
              <a:uFillTx/>
            </a:endParaRP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bg1"/>
                </a:solidFill>
              </a:rPr>
              <a:t>80%</a:t>
            </a:r>
            <a:endParaRPr kumimoji="0" lang="en-GB" sz="1000" b="0" i="0" u="none" strike="noStrike" kern="0" cap="none" spc="0" normalizeH="0" baseline="0" noProof="0" dirty="0">
              <a:ln>
                <a:noFill/>
              </a:ln>
              <a:solidFill>
                <a:srgbClr val="FFFFFF"/>
              </a:solidFill>
              <a:effectLst/>
              <a:uLnTx/>
              <a:uFillTx/>
            </a:endParaRPr>
          </a:p>
        </p:txBody>
      </p:sp>
      <p:sp>
        <p:nvSpPr>
          <p:cNvPr id="65" name="Rechteck 40">
            <a:extLst>
              <a:ext uri="{FF2B5EF4-FFF2-40B4-BE49-F238E27FC236}">
                <a16:creationId xmlns:a16="http://schemas.microsoft.com/office/drawing/2014/main" id="{BEC24EB2-A918-023C-0FA3-875D4CEE521E}"/>
              </a:ext>
            </a:extLst>
          </p:cNvPr>
          <p:cNvSpPr/>
          <p:nvPr userDrawn="1"/>
        </p:nvSpPr>
        <p:spPr bwMode="gray">
          <a:xfrm>
            <a:off x="5004904" y="2597929"/>
            <a:ext cx="1003775" cy="488719"/>
          </a:xfrm>
          <a:prstGeom prst="rect">
            <a:avLst/>
          </a:prstGeom>
          <a:solidFill>
            <a:srgbClr val="415576"/>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rgbClr val="FFFFFF"/>
                </a:solidFill>
                <a:effectLst/>
                <a:uLnTx/>
                <a:uFillTx/>
              </a:rPr>
              <a:t>#415576</a:t>
            </a:r>
            <a:endParaRPr kumimoji="0" lang="en-GB" sz="1000" b="0" i="0" u="none" strike="noStrike" kern="0" cap="none" spc="0" normalizeH="0" baseline="0" noProof="0" dirty="0">
              <a:ln>
                <a:noFill/>
              </a:ln>
              <a:solidFill>
                <a:schemeClr val="accent1"/>
              </a:solidFill>
              <a:effectLst/>
              <a:uLnTx/>
              <a:uFillTx/>
            </a:endParaRP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bg1"/>
                </a:solidFill>
              </a:rPr>
              <a:t>80%</a:t>
            </a:r>
            <a:endParaRPr kumimoji="0" lang="en-GB" sz="1000" b="0" i="0" u="none" strike="noStrike" kern="0" cap="none" spc="0" normalizeH="0" baseline="0" noProof="0" dirty="0">
              <a:ln>
                <a:noFill/>
              </a:ln>
              <a:solidFill>
                <a:schemeClr val="bg1"/>
              </a:solidFill>
              <a:effectLst/>
              <a:uLnTx/>
              <a:uFillTx/>
            </a:endParaRPr>
          </a:p>
        </p:txBody>
      </p:sp>
      <p:sp>
        <p:nvSpPr>
          <p:cNvPr id="66" name="Rechteck 41">
            <a:extLst>
              <a:ext uri="{FF2B5EF4-FFF2-40B4-BE49-F238E27FC236}">
                <a16:creationId xmlns:a16="http://schemas.microsoft.com/office/drawing/2014/main" id="{1919C093-59C7-14D3-F71E-C14897EE43C2}"/>
              </a:ext>
            </a:extLst>
          </p:cNvPr>
          <p:cNvSpPr/>
          <p:nvPr userDrawn="1"/>
        </p:nvSpPr>
        <p:spPr bwMode="gray">
          <a:xfrm>
            <a:off x="8459504" y="3153056"/>
            <a:ext cx="1003775" cy="488719"/>
          </a:xfrm>
          <a:prstGeom prst="rect">
            <a:avLst/>
          </a:prstGeom>
          <a:solidFill>
            <a:srgbClr val="71C6E5"/>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bg1"/>
                </a:solidFill>
                <a:effectLst/>
                <a:uLnTx/>
                <a:uFillTx/>
              </a:rPr>
              <a:t>#71C6E5</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bg1"/>
                </a:solidFill>
              </a:rPr>
              <a:t>60%</a:t>
            </a:r>
            <a:endParaRPr kumimoji="0" lang="en-GB" sz="1000" b="0" i="0" u="none" strike="noStrike" kern="0" cap="none" spc="0" normalizeH="0" baseline="0" noProof="0" dirty="0">
              <a:ln>
                <a:noFill/>
              </a:ln>
              <a:solidFill>
                <a:schemeClr val="bg1"/>
              </a:solidFill>
              <a:effectLst/>
              <a:uLnTx/>
              <a:uFillTx/>
            </a:endParaRPr>
          </a:p>
        </p:txBody>
      </p:sp>
      <p:sp>
        <p:nvSpPr>
          <p:cNvPr id="74" name="Rechteck 42">
            <a:extLst>
              <a:ext uri="{FF2B5EF4-FFF2-40B4-BE49-F238E27FC236}">
                <a16:creationId xmlns:a16="http://schemas.microsoft.com/office/drawing/2014/main" id="{54607FCF-D84E-B033-DEE5-355AB34E8342}"/>
              </a:ext>
            </a:extLst>
          </p:cNvPr>
          <p:cNvSpPr/>
          <p:nvPr userDrawn="1"/>
        </p:nvSpPr>
        <p:spPr bwMode="gray">
          <a:xfrm>
            <a:off x="7307971" y="3153056"/>
            <a:ext cx="1003775" cy="488719"/>
          </a:xfrm>
          <a:prstGeom prst="rect">
            <a:avLst/>
          </a:prstGeom>
          <a:solidFill>
            <a:srgbClr val="66AFD1"/>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bg1"/>
                </a:solidFill>
                <a:effectLst/>
                <a:uLnTx/>
                <a:uFillTx/>
              </a:rPr>
              <a:t>#66AFD1</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bg1"/>
                </a:solidFill>
              </a:rPr>
              <a:t>60%</a:t>
            </a:r>
            <a:endParaRPr kumimoji="0" lang="en-GB" sz="1000" b="0" i="0" u="none" strike="noStrike" kern="0" cap="none" spc="0" normalizeH="0" baseline="0" noProof="0" dirty="0">
              <a:ln>
                <a:noFill/>
              </a:ln>
              <a:solidFill>
                <a:schemeClr val="bg1"/>
              </a:solidFill>
              <a:effectLst/>
              <a:uLnTx/>
              <a:uFillTx/>
            </a:endParaRPr>
          </a:p>
        </p:txBody>
      </p:sp>
      <p:sp>
        <p:nvSpPr>
          <p:cNvPr id="75" name="Rechteck 43">
            <a:extLst>
              <a:ext uri="{FF2B5EF4-FFF2-40B4-BE49-F238E27FC236}">
                <a16:creationId xmlns:a16="http://schemas.microsoft.com/office/drawing/2014/main" id="{50664C4B-39FE-2196-4C75-55C24480FFE7}"/>
              </a:ext>
            </a:extLst>
          </p:cNvPr>
          <p:cNvSpPr/>
          <p:nvPr userDrawn="1"/>
        </p:nvSpPr>
        <p:spPr bwMode="gray">
          <a:xfrm>
            <a:off x="6156438" y="3153056"/>
            <a:ext cx="1003775" cy="488719"/>
          </a:xfrm>
          <a:prstGeom prst="rect">
            <a:avLst/>
          </a:prstGeom>
          <a:solidFill>
            <a:srgbClr val="66A0BE"/>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bg1"/>
                </a:solidFill>
                <a:effectLst/>
                <a:uLnTx/>
                <a:uFillTx/>
              </a:rPr>
              <a:t>#66A0BE</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bg1"/>
                </a:solidFill>
              </a:rPr>
              <a:t>60%</a:t>
            </a:r>
            <a:endParaRPr kumimoji="0" lang="en-GB" sz="1000" b="0" i="0" u="none" strike="noStrike" kern="0" cap="none" spc="0" normalizeH="0" baseline="0" noProof="0" dirty="0">
              <a:ln>
                <a:noFill/>
              </a:ln>
              <a:solidFill>
                <a:schemeClr val="bg1"/>
              </a:solidFill>
              <a:effectLst/>
              <a:uLnTx/>
              <a:uFillTx/>
            </a:endParaRPr>
          </a:p>
        </p:txBody>
      </p:sp>
      <p:sp>
        <p:nvSpPr>
          <p:cNvPr id="76" name="Rechteck 44">
            <a:extLst>
              <a:ext uri="{FF2B5EF4-FFF2-40B4-BE49-F238E27FC236}">
                <a16:creationId xmlns:a16="http://schemas.microsoft.com/office/drawing/2014/main" id="{D4063F4D-831B-4A17-2997-F7B8DF3E86C0}"/>
              </a:ext>
            </a:extLst>
          </p:cNvPr>
          <p:cNvSpPr/>
          <p:nvPr userDrawn="1"/>
        </p:nvSpPr>
        <p:spPr bwMode="gray">
          <a:xfrm>
            <a:off x="5004904" y="3153056"/>
            <a:ext cx="1003775" cy="488719"/>
          </a:xfrm>
          <a:prstGeom prst="rect">
            <a:avLst/>
          </a:prstGeom>
          <a:solidFill>
            <a:srgbClr val="718098"/>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bg1"/>
                </a:solidFill>
                <a:effectLst/>
                <a:uLnTx/>
                <a:uFillTx/>
              </a:rPr>
              <a:t>#718098</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bg1"/>
                </a:solidFill>
              </a:rPr>
              <a:t>60%</a:t>
            </a:r>
            <a:endParaRPr kumimoji="0" lang="en-GB" sz="1000" b="0" i="0" u="none" strike="noStrike" kern="0" cap="none" spc="0" normalizeH="0" baseline="0" noProof="0" dirty="0">
              <a:ln>
                <a:noFill/>
              </a:ln>
              <a:solidFill>
                <a:schemeClr val="bg1"/>
              </a:solidFill>
              <a:effectLst/>
              <a:uLnTx/>
              <a:uFillTx/>
            </a:endParaRPr>
          </a:p>
        </p:txBody>
      </p:sp>
      <p:sp>
        <p:nvSpPr>
          <p:cNvPr id="77" name="Rechteck 45">
            <a:extLst>
              <a:ext uri="{FF2B5EF4-FFF2-40B4-BE49-F238E27FC236}">
                <a16:creationId xmlns:a16="http://schemas.microsoft.com/office/drawing/2014/main" id="{20EC0B02-9D19-2893-CF51-E8EBF34B2D56}"/>
              </a:ext>
            </a:extLst>
          </p:cNvPr>
          <p:cNvSpPr/>
          <p:nvPr userDrawn="1"/>
        </p:nvSpPr>
        <p:spPr bwMode="gray">
          <a:xfrm>
            <a:off x="8459504" y="3706957"/>
            <a:ext cx="1003775" cy="488719"/>
          </a:xfrm>
          <a:prstGeom prst="rect">
            <a:avLst/>
          </a:prstGeom>
          <a:solidFill>
            <a:srgbClr val="A1D9ED"/>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A1D9ED</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78" name="Rechteck 46">
            <a:extLst>
              <a:ext uri="{FF2B5EF4-FFF2-40B4-BE49-F238E27FC236}">
                <a16:creationId xmlns:a16="http://schemas.microsoft.com/office/drawing/2014/main" id="{3CC6E708-1EA0-F464-F605-6B10F29F986C}"/>
              </a:ext>
            </a:extLst>
          </p:cNvPr>
          <p:cNvSpPr/>
          <p:nvPr userDrawn="1"/>
        </p:nvSpPr>
        <p:spPr bwMode="gray">
          <a:xfrm>
            <a:off x="7307971" y="3706957"/>
            <a:ext cx="1003775" cy="488719"/>
          </a:xfrm>
          <a:prstGeom prst="rect">
            <a:avLst/>
          </a:prstGeom>
          <a:solidFill>
            <a:srgbClr val="99CAE1"/>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99CAE1</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79" name="Rechteck 47">
            <a:extLst>
              <a:ext uri="{FF2B5EF4-FFF2-40B4-BE49-F238E27FC236}">
                <a16:creationId xmlns:a16="http://schemas.microsoft.com/office/drawing/2014/main" id="{FE5897D1-6CF0-AD01-7D3F-5BA90BC10E85}"/>
              </a:ext>
            </a:extLst>
          </p:cNvPr>
          <p:cNvSpPr/>
          <p:nvPr userDrawn="1"/>
        </p:nvSpPr>
        <p:spPr bwMode="gray">
          <a:xfrm>
            <a:off x="6156438" y="3706957"/>
            <a:ext cx="1003775" cy="488719"/>
          </a:xfrm>
          <a:prstGeom prst="rect">
            <a:avLst/>
          </a:prstGeom>
          <a:solidFill>
            <a:srgbClr val="99C0D3"/>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99C0D3</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80" name="Rechteck 48">
            <a:extLst>
              <a:ext uri="{FF2B5EF4-FFF2-40B4-BE49-F238E27FC236}">
                <a16:creationId xmlns:a16="http://schemas.microsoft.com/office/drawing/2014/main" id="{6A39416C-1CCA-04DB-D4A1-10D61633FD57}"/>
              </a:ext>
            </a:extLst>
          </p:cNvPr>
          <p:cNvSpPr/>
          <p:nvPr userDrawn="1"/>
        </p:nvSpPr>
        <p:spPr bwMode="gray">
          <a:xfrm>
            <a:off x="5004904" y="3706957"/>
            <a:ext cx="1003775" cy="488719"/>
          </a:xfrm>
          <a:prstGeom prst="rect">
            <a:avLst/>
          </a:prstGeom>
          <a:solidFill>
            <a:srgbClr val="A0AABB"/>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A0AABB</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40%</a:t>
            </a:r>
            <a:endParaRPr kumimoji="0" lang="en-GB" sz="1000" b="0" i="0" u="none" strike="noStrike" kern="0" cap="none" spc="0" normalizeH="0" baseline="0" noProof="0" dirty="0">
              <a:ln>
                <a:noFill/>
              </a:ln>
              <a:solidFill>
                <a:schemeClr val="accent1"/>
              </a:solidFill>
              <a:effectLst/>
              <a:uLnTx/>
              <a:uFillTx/>
            </a:endParaRPr>
          </a:p>
        </p:txBody>
      </p:sp>
      <p:sp>
        <p:nvSpPr>
          <p:cNvPr id="88" name="Rechteck 49">
            <a:extLst>
              <a:ext uri="{FF2B5EF4-FFF2-40B4-BE49-F238E27FC236}">
                <a16:creationId xmlns:a16="http://schemas.microsoft.com/office/drawing/2014/main" id="{7FA9342B-4EE4-8589-1E33-E8A260AA6469}"/>
              </a:ext>
            </a:extLst>
          </p:cNvPr>
          <p:cNvSpPr/>
          <p:nvPr userDrawn="1"/>
        </p:nvSpPr>
        <p:spPr bwMode="gray">
          <a:xfrm>
            <a:off x="8459504" y="4271939"/>
            <a:ext cx="1003775" cy="488719"/>
          </a:xfrm>
          <a:prstGeom prst="rect">
            <a:avLst/>
          </a:prstGeom>
          <a:solidFill>
            <a:srgbClr val="D0ECF6"/>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D0ECF6</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89" name="Rechteck 50">
            <a:extLst>
              <a:ext uri="{FF2B5EF4-FFF2-40B4-BE49-F238E27FC236}">
                <a16:creationId xmlns:a16="http://schemas.microsoft.com/office/drawing/2014/main" id="{2273F645-BECA-29E7-BC2F-F17231D39F83}"/>
              </a:ext>
            </a:extLst>
          </p:cNvPr>
          <p:cNvSpPr/>
          <p:nvPr userDrawn="1"/>
        </p:nvSpPr>
        <p:spPr bwMode="gray">
          <a:xfrm>
            <a:off x="7307971" y="4271939"/>
            <a:ext cx="1003775" cy="488719"/>
          </a:xfrm>
          <a:prstGeom prst="rect">
            <a:avLst/>
          </a:prstGeom>
          <a:solidFill>
            <a:srgbClr val="CCE4F0"/>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CCE4F0</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90" name="Rechteck 51">
            <a:extLst>
              <a:ext uri="{FF2B5EF4-FFF2-40B4-BE49-F238E27FC236}">
                <a16:creationId xmlns:a16="http://schemas.microsoft.com/office/drawing/2014/main" id="{409F7CE3-A352-BD47-3238-1343D3E58825}"/>
              </a:ext>
            </a:extLst>
          </p:cNvPr>
          <p:cNvSpPr/>
          <p:nvPr userDrawn="1"/>
        </p:nvSpPr>
        <p:spPr bwMode="gray">
          <a:xfrm>
            <a:off x="6156438" y="4271939"/>
            <a:ext cx="1003775" cy="488719"/>
          </a:xfrm>
          <a:prstGeom prst="rect">
            <a:avLst/>
          </a:prstGeom>
          <a:solidFill>
            <a:srgbClr val="CCDFE9"/>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CCDFE9</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91" name="Rechteck 52">
            <a:extLst>
              <a:ext uri="{FF2B5EF4-FFF2-40B4-BE49-F238E27FC236}">
                <a16:creationId xmlns:a16="http://schemas.microsoft.com/office/drawing/2014/main" id="{C26A37B9-7C61-8612-C9FE-BA429C7FC166}"/>
              </a:ext>
            </a:extLst>
          </p:cNvPr>
          <p:cNvSpPr/>
          <p:nvPr userDrawn="1"/>
        </p:nvSpPr>
        <p:spPr bwMode="gray">
          <a:xfrm>
            <a:off x="5004904" y="4271939"/>
            <a:ext cx="1003775" cy="488719"/>
          </a:xfrm>
          <a:prstGeom prst="rect">
            <a:avLst/>
          </a:prstGeom>
          <a:solidFill>
            <a:srgbClr val="D0D5DD"/>
          </a:solidFill>
          <a:ln w="6350" cap="flat" cmpd="sng" algn="ctr">
            <a:noFill/>
            <a:prstDash val="solid"/>
            <a:round/>
            <a:headEnd type="none" w="med" len="med"/>
            <a:tailEnd type="none" w="med" len="med"/>
          </a:ln>
          <a:effectLst/>
        </p:spPr>
        <p:txBody>
          <a:bodyPr vert="horz" wrap="square" lIns="61358" tIns="61358" rIns="61358" bIns="61358" numCol="1" rtlCol="0" anchor="ctr" anchorCtr="0" compatLnSpc="1">
            <a:prstTxWarp prst="textNoShape">
              <a:avLst/>
            </a:prstTxWarp>
          </a:bodyPr>
          <a:lstStyle/>
          <a:p>
            <a:pPr marL="0" marR="0" lvl="0" indent="0" defTabSz="779252" eaLnBrk="1" fontAlgn="auto" latinLnBrk="0" hangingPunct="1">
              <a:lnSpc>
                <a:spcPct val="100000"/>
              </a:lnSpc>
              <a:spcBef>
                <a:spcPts val="300"/>
              </a:spcBef>
              <a:spcAft>
                <a:spcPts val="0"/>
              </a:spcAft>
              <a:buClr>
                <a:srgbClr val="003781"/>
              </a:buClr>
              <a:buSzTx/>
              <a:buFontTx/>
              <a:buNone/>
              <a:tabLst/>
              <a:defRPr/>
            </a:pPr>
            <a:r>
              <a:rPr kumimoji="0" lang="en-GB" sz="1000" b="0" i="0" u="none" strike="noStrike" kern="0" cap="none" spc="0" normalizeH="0" baseline="0" noProof="0" dirty="0">
                <a:ln>
                  <a:noFill/>
                </a:ln>
                <a:solidFill>
                  <a:schemeClr val="accent1"/>
                </a:solidFill>
                <a:effectLst/>
                <a:uLnTx/>
                <a:uFillTx/>
              </a:rPr>
              <a:t>#D0D5DD</a:t>
            </a:r>
          </a:p>
          <a:p>
            <a:pPr marL="0" marR="0" lvl="0" indent="0" defTabSz="779252" eaLnBrk="1" fontAlgn="auto" latinLnBrk="0" hangingPunct="1">
              <a:lnSpc>
                <a:spcPct val="100000"/>
              </a:lnSpc>
              <a:spcBef>
                <a:spcPts val="300"/>
              </a:spcBef>
              <a:spcAft>
                <a:spcPts val="0"/>
              </a:spcAft>
              <a:buClr>
                <a:srgbClr val="003781"/>
              </a:buClr>
              <a:buSzTx/>
              <a:buFontTx/>
              <a:buNone/>
              <a:tabLst/>
              <a:defRPr/>
            </a:pPr>
            <a:r>
              <a:rPr lang="en-GB" sz="1000" dirty="0">
                <a:solidFill>
                  <a:schemeClr val="accent1"/>
                </a:solidFill>
              </a:rPr>
              <a:t>20%</a:t>
            </a:r>
            <a:endParaRPr kumimoji="0" lang="en-GB" sz="1000" b="0" i="0" u="none" strike="noStrike" kern="0" cap="none" spc="0" normalizeH="0" baseline="0" noProof="0" dirty="0">
              <a:ln>
                <a:noFill/>
              </a:ln>
              <a:solidFill>
                <a:schemeClr val="accent1"/>
              </a:solidFill>
              <a:effectLst/>
              <a:uLnTx/>
              <a:uFillTx/>
            </a:endParaRPr>
          </a:p>
        </p:txBody>
      </p:sp>
      <p:sp>
        <p:nvSpPr>
          <p:cNvPr id="92" name="Rectangle 91">
            <a:extLst>
              <a:ext uri="{FF2B5EF4-FFF2-40B4-BE49-F238E27FC236}">
                <a16:creationId xmlns:a16="http://schemas.microsoft.com/office/drawing/2014/main" id="{4344325D-ABAA-F10D-5036-200F74A50758}"/>
              </a:ext>
            </a:extLst>
          </p:cNvPr>
          <p:cNvSpPr/>
          <p:nvPr userDrawn="1"/>
        </p:nvSpPr>
        <p:spPr bwMode="auto">
          <a:xfrm>
            <a:off x="398771" y="1800664"/>
            <a:ext cx="1003775" cy="499177"/>
          </a:xfrm>
          <a:prstGeom prst="rect">
            <a:avLst/>
          </a:prstGeom>
          <a:solidFill>
            <a:srgbClr val="FFFFFF"/>
          </a:solidFill>
          <a:ln w="6350" cap="flat" cmpd="sng" algn="ctr">
            <a:solidFill>
              <a:schemeClr val="accent5"/>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tx2"/>
                </a:solidFill>
                <a:effectLst/>
                <a:latin typeface="Arial" charset="0"/>
              </a:rPr>
              <a:t>#FFFFFF</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tx2"/>
                </a:solidFill>
                <a:latin typeface="Arial" charset="0"/>
              </a:rPr>
              <a:t>White</a:t>
            </a:r>
            <a:endParaRPr kumimoji="0" lang="en-GB" sz="1000" b="0" i="0" u="none" strike="noStrike" cap="none" normalizeH="0" baseline="0" dirty="0">
              <a:ln>
                <a:noFill/>
              </a:ln>
              <a:solidFill>
                <a:schemeClr val="tx2"/>
              </a:solidFill>
              <a:effectLst/>
              <a:latin typeface="Arial" charset="0"/>
            </a:endParaRPr>
          </a:p>
        </p:txBody>
      </p:sp>
      <p:sp>
        <p:nvSpPr>
          <p:cNvPr id="93" name="Rectangle 92">
            <a:extLst>
              <a:ext uri="{FF2B5EF4-FFF2-40B4-BE49-F238E27FC236}">
                <a16:creationId xmlns:a16="http://schemas.microsoft.com/office/drawing/2014/main" id="{32BD2446-6591-4B7A-DF11-346C4C34E666}"/>
              </a:ext>
            </a:extLst>
          </p:cNvPr>
          <p:cNvSpPr/>
          <p:nvPr userDrawn="1"/>
        </p:nvSpPr>
        <p:spPr bwMode="auto">
          <a:xfrm>
            <a:off x="1550304" y="1800664"/>
            <a:ext cx="1003775" cy="499177"/>
          </a:xfrm>
          <a:prstGeom prst="rect">
            <a:avLst/>
          </a:prstGeom>
          <a:solidFill>
            <a:srgbClr val="00378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bg1"/>
                </a:solidFill>
                <a:effectLst/>
                <a:latin typeface="Arial" charset="0"/>
              </a:rPr>
              <a:t>#003781</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bg1"/>
                </a:solidFill>
                <a:latin typeface="Arial" charset="0"/>
              </a:rPr>
              <a:t>Allianz </a:t>
            </a:r>
            <a:r>
              <a:rPr lang="en-GB" sz="1000" dirty="0">
                <a:solidFill>
                  <a:schemeClr val="bg1"/>
                </a:solidFill>
                <a:latin typeface="Arial" charset="0"/>
              </a:rPr>
              <a:t>Blue</a:t>
            </a:r>
            <a:endParaRPr kumimoji="0" lang="en-GB" sz="1000" b="0" i="0" u="none" strike="noStrike" cap="none" normalizeH="0" baseline="0" dirty="0">
              <a:ln>
                <a:noFill/>
              </a:ln>
              <a:solidFill>
                <a:schemeClr val="bg1"/>
              </a:solidFill>
              <a:effectLst/>
              <a:latin typeface="Arial" charset="0"/>
            </a:endParaRPr>
          </a:p>
        </p:txBody>
      </p:sp>
      <p:sp>
        <p:nvSpPr>
          <p:cNvPr id="102" name="Rectangle 101">
            <a:extLst>
              <a:ext uri="{FF2B5EF4-FFF2-40B4-BE49-F238E27FC236}">
                <a16:creationId xmlns:a16="http://schemas.microsoft.com/office/drawing/2014/main" id="{D5F8715C-C13B-0B39-C3D4-C5DFF892592F}"/>
              </a:ext>
            </a:extLst>
          </p:cNvPr>
          <p:cNvSpPr/>
          <p:nvPr userDrawn="1"/>
        </p:nvSpPr>
        <p:spPr bwMode="auto">
          <a:xfrm>
            <a:off x="3853371" y="1800664"/>
            <a:ext cx="1003775" cy="499177"/>
          </a:xfrm>
          <a:prstGeom prst="rect">
            <a:avLst/>
          </a:prstGeom>
          <a:solidFill>
            <a:schemeClr val="tx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bg1"/>
                </a:solidFill>
                <a:effectLst/>
                <a:latin typeface="Arial" charset="0"/>
              </a:rPr>
              <a:t>#003781</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bg1"/>
                </a:solidFill>
                <a:latin typeface="Arial" charset="0"/>
              </a:rPr>
              <a:t>Allianz </a:t>
            </a:r>
            <a:r>
              <a:rPr lang="en-GB" sz="1000" dirty="0">
                <a:solidFill>
                  <a:schemeClr val="bg1"/>
                </a:solidFill>
                <a:latin typeface="Arial" charset="0"/>
              </a:rPr>
              <a:t>Blue</a:t>
            </a:r>
            <a:endParaRPr kumimoji="0" lang="en-GB" sz="1000" b="0" i="0" u="none" strike="noStrike" cap="none" normalizeH="0" baseline="0" dirty="0">
              <a:ln>
                <a:noFill/>
              </a:ln>
              <a:solidFill>
                <a:schemeClr val="bg1"/>
              </a:solidFill>
              <a:effectLst/>
              <a:latin typeface="Arial" charset="0"/>
            </a:endParaRPr>
          </a:p>
        </p:txBody>
      </p:sp>
      <p:sp>
        <p:nvSpPr>
          <p:cNvPr id="103" name="Rectangle 102">
            <a:extLst>
              <a:ext uri="{FF2B5EF4-FFF2-40B4-BE49-F238E27FC236}">
                <a16:creationId xmlns:a16="http://schemas.microsoft.com/office/drawing/2014/main" id="{EADFFE35-96B3-2056-1B42-545CEE59484F}"/>
              </a:ext>
            </a:extLst>
          </p:cNvPr>
          <p:cNvSpPr/>
          <p:nvPr userDrawn="1"/>
        </p:nvSpPr>
        <p:spPr bwMode="auto">
          <a:xfrm>
            <a:off x="5004904" y="1800664"/>
            <a:ext cx="1003775" cy="499177"/>
          </a:xfrm>
          <a:prstGeom prst="rect">
            <a:avLst/>
          </a:prstGeom>
          <a:solidFill>
            <a:srgbClr val="122B54"/>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bg1"/>
                </a:solidFill>
                <a:effectLst/>
                <a:latin typeface="Arial" charset="0"/>
              </a:rPr>
              <a:t>#122B54</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bg1"/>
                </a:solidFill>
                <a:latin typeface="Arial" charset="0"/>
              </a:rPr>
              <a:t>Dark </a:t>
            </a:r>
            <a:r>
              <a:rPr lang="en-GB" sz="1000" dirty="0">
                <a:solidFill>
                  <a:schemeClr val="bg1"/>
                </a:solidFill>
                <a:latin typeface="Arial" charset="0"/>
              </a:rPr>
              <a:t>blue</a:t>
            </a:r>
            <a:endParaRPr kumimoji="0" lang="en-GB" sz="1000" b="0" i="0" u="none" strike="noStrike" cap="none" normalizeH="0" baseline="0" dirty="0">
              <a:ln>
                <a:noFill/>
              </a:ln>
              <a:solidFill>
                <a:schemeClr val="bg1"/>
              </a:solidFill>
              <a:effectLst/>
              <a:latin typeface="Arial" charset="0"/>
            </a:endParaRPr>
          </a:p>
        </p:txBody>
      </p:sp>
      <p:sp>
        <p:nvSpPr>
          <p:cNvPr id="104" name="Rectangle 103">
            <a:extLst>
              <a:ext uri="{FF2B5EF4-FFF2-40B4-BE49-F238E27FC236}">
                <a16:creationId xmlns:a16="http://schemas.microsoft.com/office/drawing/2014/main" id="{E51A9C47-BF96-D1A3-41EF-AD6E6E8C1836}"/>
              </a:ext>
            </a:extLst>
          </p:cNvPr>
          <p:cNvSpPr/>
          <p:nvPr userDrawn="1"/>
        </p:nvSpPr>
        <p:spPr bwMode="auto">
          <a:xfrm>
            <a:off x="6156438" y="1800664"/>
            <a:ext cx="1003775" cy="499177"/>
          </a:xfrm>
          <a:prstGeom prst="rect">
            <a:avLst/>
          </a:prstGeom>
          <a:solidFill>
            <a:srgbClr val="00619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bg1"/>
                </a:solidFill>
                <a:effectLst/>
                <a:latin typeface="Arial" charset="0"/>
              </a:rPr>
              <a:t>#006192</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bg1"/>
                </a:solidFill>
                <a:latin typeface="Arial" charset="0"/>
              </a:rPr>
              <a:t>Blue </a:t>
            </a:r>
            <a:r>
              <a:rPr lang="en-GB" sz="1000" dirty="0">
                <a:solidFill>
                  <a:schemeClr val="bg1"/>
                </a:solidFill>
                <a:latin typeface="Arial" charset="0"/>
              </a:rPr>
              <a:t>1</a:t>
            </a:r>
            <a:endParaRPr kumimoji="0" lang="en-GB" sz="1000" b="0" i="0" u="none" strike="noStrike" cap="none" normalizeH="0" baseline="0" dirty="0">
              <a:ln>
                <a:noFill/>
              </a:ln>
              <a:solidFill>
                <a:schemeClr val="bg1"/>
              </a:solidFill>
              <a:effectLst/>
              <a:latin typeface="Arial" charset="0"/>
            </a:endParaRPr>
          </a:p>
        </p:txBody>
      </p:sp>
      <p:sp>
        <p:nvSpPr>
          <p:cNvPr id="105" name="Rectangle 104">
            <a:extLst>
              <a:ext uri="{FF2B5EF4-FFF2-40B4-BE49-F238E27FC236}">
                <a16:creationId xmlns:a16="http://schemas.microsoft.com/office/drawing/2014/main" id="{FA5DE89E-DC9C-1AF8-013B-BD88F91BEDA5}"/>
              </a:ext>
            </a:extLst>
          </p:cNvPr>
          <p:cNvSpPr/>
          <p:nvPr userDrawn="1"/>
        </p:nvSpPr>
        <p:spPr bwMode="auto">
          <a:xfrm>
            <a:off x="7307971" y="1800664"/>
            <a:ext cx="1003775" cy="499177"/>
          </a:xfrm>
          <a:prstGeom prst="rect">
            <a:avLst/>
          </a:prstGeom>
          <a:solidFill>
            <a:srgbClr val="007AB3"/>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bg1"/>
                </a:solidFill>
                <a:effectLst/>
                <a:latin typeface="Arial" charset="0"/>
              </a:rPr>
              <a:t>#007AB3</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bg1"/>
                </a:solidFill>
                <a:latin typeface="Arial" charset="0"/>
              </a:rPr>
              <a:t>Blue </a:t>
            </a:r>
            <a:r>
              <a:rPr lang="en-GB" sz="1000" dirty="0">
                <a:solidFill>
                  <a:schemeClr val="bg1"/>
                </a:solidFill>
                <a:latin typeface="Arial" charset="0"/>
              </a:rPr>
              <a:t>2</a:t>
            </a:r>
            <a:endParaRPr kumimoji="0" lang="en-GB" sz="1000" b="0" i="0" u="none" strike="noStrike" cap="none" normalizeH="0" baseline="0" dirty="0">
              <a:ln>
                <a:noFill/>
              </a:ln>
              <a:solidFill>
                <a:schemeClr val="bg1"/>
              </a:solidFill>
              <a:effectLst/>
              <a:latin typeface="Arial" charset="0"/>
            </a:endParaRPr>
          </a:p>
        </p:txBody>
      </p:sp>
      <p:sp>
        <p:nvSpPr>
          <p:cNvPr id="106" name="Rectangle 105">
            <a:extLst>
              <a:ext uri="{FF2B5EF4-FFF2-40B4-BE49-F238E27FC236}">
                <a16:creationId xmlns:a16="http://schemas.microsoft.com/office/drawing/2014/main" id="{59F201D2-1FF9-4C38-0DD7-5583A8C5B70F}"/>
              </a:ext>
            </a:extLst>
          </p:cNvPr>
          <p:cNvSpPr/>
          <p:nvPr userDrawn="1"/>
        </p:nvSpPr>
        <p:spPr bwMode="auto">
          <a:xfrm>
            <a:off x="8459504" y="1800664"/>
            <a:ext cx="1003775" cy="499177"/>
          </a:xfrm>
          <a:prstGeom prst="rect">
            <a:avLst/>
          </a:prstGeom>
          <a:solidFill>
            <a:srgbClr val="13A0D3"/>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bg1"/>
                </a:solidFill>
                <a:effectLst/>
                <a:latin typeface="Arial" charset="0"/>
              </a:rPr>
              <a:t>#13A0D3</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bg1"/>
                </a:solidFill>
                <a:latin typeface="Arial" charset="0"/>
              </a:rPr>
              <a:t>Blue </a:t>
            </a:r>
            <a:r>
              <a:rPr lang="en-GB" sz="1000" dirty="0">
                <a:solidFill>
                  <a:schemeClr val="bg1"/>
                </a:solidFill>
                <a:latin typeface="Arial" charset="0"/>
              </a:rPr>
              <a:t>3</a:t>
            </a:r>
            <a:endParaRPr kumimoji="0" lang="en-GB" sz="1000" b="0" i="0" u="none" strike="noStrike" cap="none" normalizeH="0" baseline="0" dirty="0">
              <a:ln>
                <a:noFill/>
              </a:ln>
              <a:solidFill>
                <a:schemeClr val="bg1"/>
              </a:solidFill>
              <a:effectLst/>
              <a:latin typeface="Arial" charset="0"/>
            </a:endParaRPr>
          </a:p>
        </p:txBody>
      </p:sp>
      <p:sp>
        <p:nvSpPr>
          <p:cNvPr id="107" name="Rectangle 106">
            <a:extLst>
              <a:ext uri="{FF2B5EF4-FFF2-40B4-BE49-F238E27FC236}">
                <a16:creationId xmlns:a16="http://schemas.microsoft.com/office/drawing/2014/main" id="{57907E1A-3214-5FAE-933B-05C18011CA98}"/>
              </a:ext>
            </a:extLst>
          </p:cNvPr>
          <p:cNvSpPr/>
          <p:nvPr userDrawn="1"/>
        </p:nvSpPr>
        <p:spPr bwMode="auto">
          <a:xfrm>
            <a:off x="9611038" y="1800664"/>
            <a:ext cx="1003775" cy="499177"/>
          </a:xfrm>
          <a:prstGeom prst="rect">
            <a:avLst/>
          </a:prstGeom>
          <a:solidFill>
            <a:srgbClr val="B5DAE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accent1"/>
                </a:solidFill>
                <a:effectLst/>
                <a:latin typeface="Arial" charset="0"/>
              </a:rPr>
              <a:t>#B5DAE6</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accent1"/>
                </a:solidFill>
                <a:latin typeface="Arial" charset="0"/>
              </a:rPr>
              <a:t>Blue </a:t>
            </a:r>
            <a:r>
              <a:rPr lang="en-GB" sz="1000" dirty="0">
                <a:solidFill>
                  <a:schemeClr val="accent1"/>
                </a:solidFill>
                <a:latin typeface="Arial" charset="0"/>
              </a:rPr>
              <a:t>4</a:t>
            </a:r>
            <a:endParaRPr kumimoji="0" lang="en-GB" sz="1000" b="0" i="0" u="none" strike="noStrike" cap="none" normalizeH="0" baseline="0" dirty="0">
              <a:ln>
                <a:noFill/>
              </a:ln>
              <a:solidFill>
                <a:schemeClr val="accent1"/>
              </a:solidFill>
              <a:effectLst/>
              <a:latin typeface="Arial" charset="0"/>
            </a:endParaRPr>
          </a:p>
        </p:txBody>
      </p:sp>
      <p:sp>
        <p:nvSpPr>
          <p:cNvPr id="108" name="Rectangle 107">
            <a:extLst>
              <a:ext uri="{FF2B5EF4-FFF2-40B4-BE49-F238E27FC236}">
                <a16:creationId xmlns:a16="http://schemas.microsoft.com/office/drawing/2014/main" id="{B92184BC-B411-E073-6D69-3426D85F6E47}"/>
              </a:ext>
            </a:extLst>
          </p:cNvPr>
          <p:cNvSpPr/>
          <p:nvPr userDrawn="1"/>
        </p:nvSpPr>
        <p:spPr bwMode="auto">
          <a:xfrm>
            <a:off x="10762570" y="1800664"/>
            <a:ext cx="1003775" cy="499177"/>
          </a:xfrm>
          <a:prstGeom prst="rect">
            <a:avLst/>
          </a:prstGeom>
          <a:solidFill>
            <a:srgbClr val="DFEFF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kumimoji="0" lang="en-GB" sz="1000" b="0" i="0" u="none" strike="noStrike" cap="none" normalizeH="0" baseline="0">
                <a:ln>
                  <a:noFill/>
                </a:ln>
                <a:solidFill>
                  <a:schemeClr val="accent1"/>
                </a:solidFill>
                <a:effectLst/>
                <a:latin typeface="Arial" charset="0"/>
              </a:rPr>
              <a:t>#DFEFF2</a:t>
            </a:r>
          </a:p>
          <a:p>
            <a:pPr marL="0" marR="0" indent="0" algn="l" defTabSz="914400" rtl="0" eaLnBrk="1" fontAlgn="base" latinLnBrk="0" hangingPunct="1">
              <a:spcBef>
                <a:spcPts val="300"/>
              </a:spcBef>
              <a:spcAft>
                <a:spcPts val="0"/>
              </a:spcAft>
              <a:buClr>
                <a:schemeClr val="tx2"/>
              </a:buClr>
              <a:buSzTx/>
              <a:buFont typeface="Wingdings" pitchFamily="2" charset="2"/>
              <a:buNone/>
              <a:tabLst/>
            </a:pPr>
            <a:r>
              <a:rPr lang="en-GB" sz="1000">
                <a:solidFill>
                  <a:schemeClr val="accent1"/>
                </a:solidFill>
                <a:latin typeface="Arial" charset="0"/>
              </a:rPr>
              <a:t>Blue </a:t>
            </a:r>
            <a:r>
              <a:rPr lang="en-GB" sz="1000" dirty="0">
                <a:solidFill>
                  <a:schemeClr val="accent1"/>
                </a:solidFill>
                <a:latin typeface="Arial" charset="0"/>
              </a:rPr>
              <a:t>5</a:t>
            </a:r>
            <a:endParaRPr kumimoji="0" lang="en-GB" sz="1000" b="0" i="0" u="none" strike="noStrike" cap="none" normalizeH="0" baseline="0" dirty="0">
              <a:ln>
                <a:noFill/>
              </a:ln>
              <a:solidFill>
                <a:schemeClr val="accent1"/>
              </a:solidFill>
              <a:effectLst/>
              <a:latin typeface="Arial" charset="0"/>
            </a:endParaRPr>
          </a:p>
        </p:txBody>
      </p:sp>
      <p:sp>
        <p:nvSpPr>
          <p:cNvPr id="122" name="Textfeld 5">
            <a:extLst>
              <a:ext uri="{FF2B5EF4-FFF2-40B4-BE49-F238E27FC236}">
                <a16:creationId xmlns:a16="http://schemas.microsoft.com/office/drawing/2014/main" id="{9DD1E28A-616B-DF22-E879-1A06B6CBB879}"/>
              </a:ext>
            </a:extLst>
          </p:cNvPr>
          <p:cNvSpPr txBox="1"/>
          <p:nvPr userDrawn="1"/>
        </p:nvSpPr>
        <p:spPr bwMode="gray">
          <a:xfrm>
            <a:off x="395926" y="6462228"/>
            <a:ext cx="3744748" cy="138499"/>
          </a:xfrm>
          <a:prstGeom prst="rect">
            <a:avLst/>
          </a:prstGeom>
          <a:noFill/>
        </p:spPr>
        <p:txBody>
          <a:bodyPr wrap="square" lIns="0" tIns="0" rIns="0" bIns="0" rtlCol="0">
            <a:spAutoFit/>
          </a:bodyPr>
          <a:lstStyle/>
          <a:p>
            <a:pPr algn="l"/>
            <a:r>
              <a:rPr lang="en-GB" sz="900" b="1" i="0" kern="1200" baseline="0" noProof="0" dirty="0">
                <a:solidFill>
                  <a:srgbClr val="F62459"/>
                </a:solidFill>
                <a:latin typeface="Arial" panose="020B0604020202020204" pitchFamily="34" charset="0"/>
                <a:ea typeface="Allianz Sans" pitchFamily="50" charset="0"/>
                <a:cs typeface="+mn-cs"/>
              </a:rPr>
              <a:t>Note: </a:t>
            </a:r>
            <a:r>
              <a:rPr lang="en-GB" sz="900" kern="1200" baseline="0" noProof="0" dirty="0">
                <a:solidFill>
                  <a:srgbClr val="F62459"/>
                </a:solidFill>
                <a:latin typeface="Arial" panose="020B0604020202020204" pitchFamily="34" charset="0"/>
                <a:ea typeface="Allianz Sans" pitchFamily="50" charset="0"/>
                <a:cs typeface="+mn-cs"/>
              </a:rPr>
              <a:t>Please do not use this slide in your presentation. </a:t>
            </a:r>
            <a:endParaRPr lang="en-GB" sz="900" kern="1200" baseline="0" noProof="0" dirty="0">
              <a:solidFill>
                <a:sysClr val="windowText" lastClr="000000"/>
              </a:solidFill>
              <a:latin typeface="Arial" panose="020B0604020202020204" pitchFamily="34" charset="0"/>
              <a:ea typeface="Allianz Sans" pitchFamily="50" charset="0"/>
              <a:cs typeface="+mn-cs"/>
            </a:endParaRPr>
          </a:p>
        </p:txBody>
      </p:sp>
      <p:sp>
        <p:nvSpPr>
          <p:cNvPr id="3" name="Textfeld 5">
            <a:extLst>
              <a:ext uri="{FF2B5EF4-FFF2-40B4-BE49-F238E27FC236}">
                <a16:creationId xmlns:a16="http://schemas.microsoft.com/office/drawing/2014/main" id="{8F31C3B4-E3DD-C457-2612-DFD87DF8196A}"/>
              </a:ext>
            </a:extLst>
          </p:cNvPr>
          <p:cNvSpPr txBox="1"/>
          <p:nvPr userDrawn="1"/>
        </p:nvSpPr>
        <p:spPr bwMode="gray">
          <a:xfrm>
            <a:off x="7316937" y="5441594"/>
            <a:ext cx="2133764" cy="647554"/>
          </a:xfrm>
          <a:prstGeom prst="rect">
            <a:avLst/>
          </a:prstGeom>
        </p:spPr>
        <p:txBody>
          <a:bodyPr wrap="square" lIns="0" tIns="0" rIns="0" bIns="0">
            <a:noAutofit/>
          </a:bodyPr>
          <a:lstStyle>
            <a:defPPr>
              <a:defRPr lang="de-DE"/>
            </a:defPPr>
            <a:lvl1pPr defTabSz="1219170">
              <a:lnSpc>
                <a:spcPct val="120000"/>
              </a:lnSpc>
              <a:spcBef>
                <a:spcPts val="0"/>
              </a:spcBef>
              <a:spcAft>
                <a:spcPts val="0"/>
              </a:spcAft>
              <a:defRPr sz="900" kern="1200">
                <a:solidFill>
                  <a:schemeClr val="tx2"/>
                </a:solidFill>
                <a:ea typeface="Allianz Sans" pitchFamily="50" charset="0"/>
              </a:defRPr>
            </a:lvl1pPr>
          </a:lstStyle>
          <a:p>
            <a:pPr lvl="0"/>
            <a:r>
              <a:rPr lang="en-GB"/>
              <a:t>Shades are allowed in 5% increments of full colours (except Allianz Blue).</a:t>
            </a:r>
            <a:endParaRPr lang="en-GB" noProof="0" dirty="0"/>
          </a:p>
        </p:txBody>
      </p:sp>
      <p:sp>
        <p:nvSpPr>
          <p:cNvPr id="21" name="Eckige Klammer links/rechts 1">
            <a:extLst>
              <a:ext uri="{FF2B5EF4-FFF2-40B4-BE49-F238E27FC236}">
                <a16:creationId xmlns:a16="http://schemas.microsoft.com/office/drawing/2014/main" id="{EF43571F-8164-1BCF-BC56-608125993194}"/>
              </a:ext>
            </a:extLst>
          </p:cNvPr>
          <p:cNvSpPr/>
          <p:nvPr userDrawn="1"/>
        </p:nvSpPr>
        <p:spPr bwMode="gray">
          <a:xfrm rot="16200000">
            <a:off x="10435394" y="250807"/>
            <a:ext cx="514738" cy="2163450"/>
          </a:xfrm>
          <a:prstGeom prst="bracketPair">
            <a:avLst>
              <a:gd name="adj" fmla="val 0"/>
            </a:avLst>
          </a:prstGeom>
          <a:noFill/>
          <a:ln w="28575" cap="flat" cmpd="sng" algn="ctr">
            <a:solidFill>
              <a:srgbClr val="F62459"/>
            </a:solidFill>
            <a:prstDash val="solid"/>
            <a:round/>
            <a:headEnd type="none" w="med" len="med"/>
            <a:tailEnd type="none" w="med" len="med"/>
          </a:ln>
          <a:effectLst/>
        </p:spPr>
        <p:txBody>
          <a:bodyPr vert="vert" wrap="square" lIns="72000" tIns="0" rIns="72000" bIns="0" rtlCol="0" anchor="ctr">
            <a:spAutoFit/>
          </a:bodyPr>
          <a:lstStyle/>
          <a:p>
            <a:pPr algn="ctr">
              <a:tabLst/>
            </a:pPr>
            <a:r>
              <a:rPr lang="en-GB" sz="1200" b="1" dirty="0">
                <a:solidFill>
                  <a:srgbClr val="F62459"/>
                </a:solidFill>
              </a:rPr>
              <a:t>Save a presentation as pdf:</a:t>
            </a:r>
            <a:br>
              <a:rPr lang="en-GB" sz="1200" b="1" dirty="0">
                <a:solidFill>
                  <a:srgbClr val="F62459"/>
                </a:solidFill>
              </a:rPr>
            </a:br>
            <a:r>
              <a:rPr lang="en-GB" sz="1200" b="1" dirty="0">
                <a:solidFill>
                  <a:srgbClr val="F62459"/>
                </a:solidFill>
              </a:rPr>
              <a:t>File &gt; Save as &gt; type .pdf</a:t>
            </a:r>
          </a:p>
        </p:txBody>
      </p:sp>
      <p:sp>
        <p:nvSpPr>
          <p:cNvPr id="14" name="Freeform: Shape 13">
            <a:extLst>
              <a:ext uri="{FF2B5EF4-FFF2-40B4-BE49-F238E27FC236}">
                <a16:creationId xmlns:a16="http://schemas.microsoft.com/office/drawing/2014/main" id="{039B6831-2180-18A9-8985-F08E5B962F4B}"/>
              </a:ext>
            </a:extLst>
          </p:cNvPr>
          <p:cNvSpPr>
            <a:spLocks noChangeAspect="1"/>
          </p:cNvSpPr>
          <p:nvPr userDrawn="1"/>
        </p:nvSpPr>
        <p:spPr>
          <a:xfrm rot="21000000">
            <a:off x="7354420" y="-77815"/>
            <a:ext cx="1302958" cy="1164268"/>
          </a:xfrm>
          <a:custGeom>
            <a:avLst/>
            <a:gdLst>
              <a:gd name="connsiteX0" fmla="*/ 315789 w 1620000"/>
              <a:gd name="connsiteY0" fmla="*/ 0 h 1447563"/>
              <a:gd name="connsiteX1" fmla="*/ 1494204 w 1620000"/>
              <a:gd name="connsiteY1" fmla="*/ 207787 h 1447563"/>
              <a:gd name="connsiteX2" fmla="*/ 1556346 w 1620000"/>
              <a:gd name="connsiteY2" fmla="*/ 322274 h 1447563"/>
              <a:gd name="connsiteX3" fmla="*/ 1620000 w 1620000"/>
              <a:gd name="connsiteY3" fmla="*/ 637563 h 1447563"/>
              <a:gd name="connsiteX4" fmla="*/ 810000 w 1620000"/>
              <a:gd name="connsiteY4" fmla="*/ 1447563 h 1447563"/>
              <a:gd name="connsiteX5" fmla="*/ 0 w 1620000"/>
              <a:gd name="connsiteY5" fmla="*/ 637563 h 1447563"/>
              <a:gd name="connsiteX6" fmla="*/ 237243 w 1620000"/>
              <a:gd name="connsiteY6" fmla="*/ 64806 h 144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0000" h="1447563">
                <a:moveTo>
                  <a:pt x="315789" y="0"/>
                </a:moveTo>
                <a:lnTo>
                  <a:pt x="1494204" y="207787"/>
                </a:lnTo>
                <a:lnTo>
                  <a:pt x="1556346" y="322274"/>
                </a:lnTo>
                <a:cubicBezTo>
                  <a:pt x="1597334" y="419181"/>
                  <a:pt x="1620000" y="525725"/>
                  <a:pt x="1620000" y="637563"/>
                </a:cubicBezTo>
                <a:cubicBezTo>
                  <a:pt x="1620000" y="1084914"/>
                  <a:pt x="1257351" y="1447563"/>
                  <a:pt x="810000" y="1447563"/>
                </a:cubicBezTo>
                <a:cubicBezTo>
                  <a:pt x="362649" y="1447563"/>
                  <a:pt x="0" y="1084914"/>
                  <a:pt x="0" y="637563"/>
                </a:cubicBezTo>
                <a:cubicBezTo>
                  <a:pt x="0" y="413888"/>
                  <a:pt x="90662" y="211388"/>
                  <a:pt x="237243" y="64806"/>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400" b="1" i="0" u="none" strike="noStrike" dirty="0">
                <a:solidFill>
                  <a:schemeClr val="bg1"/>
                </a:solidFill>
              </a:rPr>
              <a:t>Promotional</a:t>
            </a:r>
            <a:br>
              <a:rPr lang="en-US" sz="1400" b="1" i="0" u="none" strike="noStrike" dirty="0">
                <a:solidFill>
                  <a:schemeClr val="bg1"/>
                </a:solidFill>
              </a:rPr>
            </a:br>
            <a:r>
              <a:rPr lang="en-US" sz="1400" b="1" i="0" u="none" strike="noStrike" dirty="0">
                <a:solidFill>
                  <a:schemeClr val="bg1"/>
                </a:solidFill>
              </a:rPr>
              <a:t>element</a:t>
            </a:r>
          </a:p>
        </p:txBody>
      </p:sp>
    </p:spTree>
    <p:extLst>
      <p:ext uri="{BB962C8B-B14F-4D97-AF65-F5344CB8AC3E}">
        <p14:creationId xmlns:p14="http://schemas.microsoft.com/office/powerpoint/2010/main" val="38442679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Title Slide_Active is">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80511628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kt 3"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6" name="Rechteck 40">
            <a:extLst>
              <a:ext uri="{FF2B5EF4-FFF2-40B4-BE49-F238E27FC236}">
                <a16:creationId xmlns:a16="http://schemas.microsoft.com/office/drawing/2014/main" id="{D0C19676-B32D-446E-9F22-770A4B6260FF}"/>
              </a:ext>
            </a:extLst>
          </p:cNvPr>
          <p:cNvSpPr/>
          <p:nvPr userDrawn="1"/>
        </p:nvSpPr>
        <p:spPr bwMode="gray">
          <a:xfrm>
            <a:off x="4368740" y="1"/>
            <a:ext cx="7404171" cy="5697538"/>
          </a:xfrm>
          <a:prstGeom prst="rect">
            <a:avLst/>
          </a:prstGeom>
          <a:blipFill>
            <a:blip r:embed="rId5"/>
            <a:srcRect/>
            <a:stretch>
              <a:fillRect l="-17363" r="-24757"/>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dirty="0" err="1">
              <a:ln>
                <a:noFill/>
              </a:ln>
              <a:solidFill>
                <a:schemeClr val="bg1"/>
              </a:solidFill>
              <a:effectLst/>
              <a:latin typeface="Arial" charset="0"/>
            </a:endParaRPr>
          </a:p>
        </p:txBody>
      </p:sp>
      <p:sp>
        <p:nvSpPr>
          <p:cNvPr id="17" name="L-Shape 16">
            <a:extLst>
              <a:ext uri="{FF2B5EF4-FFF2-40B4-BE49-F238E27FC236}">
                <a16:creationId xmlns:a16="http://schemas.microsoft.com/office/drawing/2014/main" id="{62DCE7EF-3B4C-48BC-AD11-3D34D230EDF3}"/>
              </a:ext>
            </a:extLst>
          </p:cNvPr>
          <p:cNvSpPr/>
          <p:nvPr userDrawn="1"/>
        </p:nvSpPr>
        <p:spPr bwMode="auto">
          <a:xfrm>
            <a:off x="4368740" y="3175"/>
            <a:ext cx="7403815" cy="5695200"/>
          </a:xfrm>
          <a:prstGeom prst="corner">
            <a:avLst>
              <a:gd name="adj1" fmla="val 34103"/>
              <a:gd name="adj2" fmla="val 33149"/>
            </a:avLst>
          </a:prstGeom>
          <a:solidFill>
            <a:srgbClr val="007A33">
              <a:alpha val="2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1991" tIns="71991" rIns="71991" bIns="71991" numCol="1" spcCol="0" rtlCol="0" fromWordArt="0" anchor="t" anchorCtr="0" forceAA="0" compatLnSpc="1">
            <a:prstTxWarp prst="textNoShape">
              <a:avLst/>
            </a:prstTxWarp>
            <a:noAutofit/>
          </a:bodyPr>
          <a:lstStyle/>
          <a:p>
            <a:pPr lvl="0" defTabSz="914378">
              <a:lnSpc>
                <a:spcPct val="110000"/>
              </a:lnSpc>
              <a:spcBef>
                <a:spcPct val="50000"/>
              </a:spcBef>
              <a:spcAft>
                <a:spcPct val="25000"/>
              </a:spcAft>
              <a:tabLst/>
            </a:pPr>
            <a:endParaRPr kumimoji="0" lang="en-GB" sz="1333" b="0" i="0" u="none" strike="noStrike" cap="none" normalizeH="0" dirty="0" err="1">
              <a:ln>
                <a:noFill/>
              </a:ln>
              <a:solidFill>
                <a:schemeClr val="bg1"/>
              </a:solidFill>
              <a:effectLst/>
              <a:latin typeface="Arial" charset="0"/>
            </a:endParaRPr>
          </a:p>
        </p:txBody>
      </p:sp>
      <p:sp>
        <p:nvSpPr>
          <p:cNvPr id="2" name="Rechteck 1"/>
          <p:cNvSpPr/>
          <p:nvPr userDrawn="1"/>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200" b="0" i="0" u="none" strike="noStrike" cap="none" normalizeH="0" baseline="0" noProof="0" dirty="0">
              <a:ln>
                <a:noFill/>
              </a:ln>
              <a:solidFill>
                <a:schemeClr val="bg1"/>
              </a:solidFill>
              <a:effectLst/>
              <a:latin typeface="Arial" charset="0"/>
            </a:endParaRPr>
          </a:p>
        </p:txBody>
      </p:sp>
      <p:sp>
        <p:nvSpPr>
          <p:cNvPr id="47" name="Freihandform: Form 46">
            <a:extLst>
              <a:ext uri="{FF2B5EF4-FFF2-40B4-BE49-F238E27FC236}">
                <a16:creationId xmlns:a16="http://schemas.microsoft.com/office/drawing/2014/main" id="{4C487715-2AE3-4356-AF7A-FD071E21CA50}"/>
              </a:ext>
            </a:extLst>
          </p:cNvPr>
          <p:cNvSpPr/>
          <p:nvPr userDrawn="1"/>
        </p:nvSpPr>
        <p:spPr bwMode="gray">
          <a:xfrm flipH="1">
            <a:off x="-4" y="1"/>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200" b="0" i="0" u="none" strike="noStrike" cap="none" normalizeH="0" baseline="0" noProof="0" dirty="0">
              <a:ln>
                <a:noFill/>
              </a:ln>
              <a:solidFill>
                <a:schemeClr val="bg1"/>
              </a:solidFill>
              <a:effectLst/>
              <a:latin typeface="Arial" charset="0"/>
            </a:endParaRPr>
          </a:p>
        </p:txBody>
      </p:sp>
      <p:sp>
        <p:nvSpPr>
          <p:cNvPr id="36" name="TextBox 2"/>
          <p:cNvSpPr txBox="1"/>
          <p:nvPr userDrawn="1"/>
        </p:nvSpPr>
        <p:spPr bwMode="gray">
          <a:xfrm>
            <a:off x="398769" y="6362622"/>
            <a:ext cx="1086836" cy="189283"/>
          </a:xfrm>
          <a:prstGeom prst="rect">
            <a:avLst/>
          </a:prstGeom>
        </p:spPr>
        <p:txBody>
          <a:bodyPr vert="horz" wrap="none" lIns="0" tIns="0" rIns="0" bIns="0" rtlCol="0" anchor="b">
            <a:spAutoFit/>
          </a:bodyPr>
          <a:lstStyle/>
          <a:p>
            <a:pPr algn="l"/>
            <a:r>
              <a:rPr lang="de-DE" sz="1230" b="1" noProof="0" dirty="0">
                <a:solidFill>
                  <a:srgbClr val="003781"/>
                </a:solidFill>
                <a:latin typeface="+mj-lt"/>
                <a:ea typeface="Allianz Sans" panose="02000506030000020004" pitchFamily="2" charset="0"/>
              </a:rPr>
              <a:t>Value. </a:t>
            </a:r>
            <a:r>
              <a:rPr lang="de-DE" sz="1230" b="1" noProof="0" dirty="0" err="1">
                <a:solidFill>
                  <a:srgbClr val="003781"/>
                </a:solidFill>
                <a:latin typeface="+mj-lt"/>
                <a:ea typeface="Allianz Sans" panose="02000506030000020004" pitchFamily="2" charset="0"/>
              </a:rPr>
              <a:t>Shared</a:t>
            </a:r>
            <a:r>
              <a:rPr lang="de-DE" sz="1230" b="1" noProof="0" dirty="0">
                <a:solidFill>
                  <a:srgbClr val="003781"/>
                </a:solidFill>
                <a:latin typeface="+mj-lt"/>
                <a:ea typeface="Allianz Sans" panose="02000506030000020004" pitchFamily="2" charset="0"/>
              </a:rPr>
              <a:t>.</a:t>
            </a:r>
          </a:p>
        </p:txBody>
      </p:sp>
      <p:sp>
        <p:nvSpPr>
          <p:cNvPr id="3" name="Textplatzhalter 2"/>
          <p:cNvSpPr>
            <a:spLocks noGrp="1"/>
          </p:cNvSpPr>
          <p:nvPr userDrawn="1">
            <p:ph type="body" sz="quarter" idx="13" hasCustomPrompt="1"/>
          </p:nvPr>
        </p:nvSpPr>
        <p:spPr bwMode="gray">
          <a:xfrm>
            <a:off x="398769" y="3584683"/>
            <a:ext cx="3518255" cy="215444"/>
          </a:xfrm>
        </p:spPr>
        <p:txBody>
          <a:bodyPr lIns="0" rIns="0" anchor="b">
            <a:spAutoFit/>
          </a:bodyPr>
          <a:lstStyle>
            <a:lvl1pPr marL="0" indent="0">
              <a:buNone/>
              <a:defRPr sz="1400">
                <a:solidFill>
                  <a:schemeClr val="tx2"/>
                </a:solidFill>
              </a:defRPr>
            </a:lvl1pPr>
          </a:lstStyle>
          <a:p>
            <a:pPr lvl="0"/>
            <a:r>
              <a:rPr lang="de-DE" noProof="0" dirty="0"/>
              <a:t>Date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48" name="Textplatzhalter 2"/>
          <p:cNvSpPr>
            <a:spLocks noGrp="1"/>
          </p:cNvSpPr>
          <p:nvPr userDrawn="1">
            <p:ph type="body" sz="quarter" idx="14" hasCustomPrompt="1"/>
          </p:nvPr>
        </p:nvSpPr>
        <p:spPr bwMode="gray">
          <a:xfrm>
            <a:off x="398770" y="3094921"/>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de-DE" noProof="0" dirty="0" err="1"/>
              <a:t>Subtitle</a:t>
            </a:r>
            <a:r>
              <a:rPr lang="de-DE" noProof="0" dirty="0"/>
              <a:t>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a:p>
            <a:pPr lvl="0"/>
            <a:r>
              <a:rPr lang="de-DE" noProof="0" dirty="0"/>
              <a:t>2nd </a:t>
            </a:r>
            <a:r>
              <a:rPr lang="de-DE" noProof="0" dirty="0" err="1"/>
              <a:t>line</a:t>
            </a:r>
            <a:r>
              <a:rPr lang="de-DE" noProof="0" dirty="0"/>
              <a:t> </a:t>
            </a:r>
            <a:r>
              <a:rPr lang="de-DE" noProof="0" dirty="0" err="1"/>
              <a:t>if</a:t>
            </a:r>
            <a:r>
              <a:rPr lang="de-DE" noProof="0" dirty="0"/>
              <a:t> </a:t>
            </a:r>
            <a:r>
              <a:rPr lang="de-DE" noProof="0" dirty="0" err="1"/>
              <a:t>required</a:t>
            </a:r>
            <a:endParaRPr lang="de-DE" noProof="0" dirty="0"/>
          </a:p>
        </p:txBody>
      </p:sp>
      <p:sp>
        <p:nvSpPr>
          <p:cNvPr id="57" name="Textplatzhalter 12"/>
          <p:cNvSpPr>
            <a:spLocks noGrp="1"/>
          </p:cNvSpPr>
          <p:nvPr userDrawn="1">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de-DE" noProof="0" dirty="0" err="1"/>
              <a:t>Author</a:t>
            </a:r>
            <a:r>
              <a:rPr lang="de-DE" noProof="0" dirty="0"/>
              <a:t> / Department / </a:t>
            </a:r>
            <a:r>
              <a:rPr lang="de-DE" noProof="0" dirty="0" err="1"/>
              <a:t>Branch</a:t>
            </a:r>
            <a:r>
              <a:rPr lang="de-DE" noProof="0" dirty="0"/>
              <a:t> (12pt) </a:t>
            </a:r>
          </a:p>
        </p:txBody>
      </p:sp>
      <p:sp>
        <p:nvSpPr>
          <p:cNvPr id="107" name="Textplatzhalter 20"/>
          <p:cNvSpPr>
            <a:spLocks noGrp="1"/>
          </p:cNvSpPr>
          <p:nvPr userDrawn="1">
            <p:ph type="body" sz="quarter" idx="12" hasCustomPrompt="1"/>
          </p:nvPr>
        </p:nvSpPr>
        <p:spPr bwMode="gray">
          <a:xfrm>
            <a:off x="398770" y="906710"/>
            <a:ext cx="5800937"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de-DE" noProof="0" dirty="0" err="1"/>
              <a:t>Placeholder</a:t>
            </a:r>
            <a:r>
              <a:rPr lang="de-DE" noProof="0" dirty="0"/>
              <a:t> (36pt)</a:t>
            </a:r>
          </a:p>
        </p:txBody>
      </p:sp>
      <p:sp>
        <p:nvSpPr>
          <p:cNvPr id="42" name="Textplatzhalter 20"/>
          <p:cNvSpPr>
            <a:spLocks noGrp="1"/>
          </p:cNvSpPr>
          <p:nvPr>
            <p:ph type="body" sz="quarter" idx="15" hasCustomPrompt="1"/>
          </p:nvPr>
        </p:nvSpPr>
        <p:spPr bwMode="gray">
          <a:xfrm>
            <a:off x="398770" y="1458914"/>
            <a:ext cx="5800937" cy="1107996"/>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de-DE" noProof="0" dirty="0"/>
              <a:t>Title </a:t>
            </a:r>
            <a:r>
              <a:rPr lang="de-DE" noProof="0" dirty="0" err="1"/>
              <a:t>of</a:t>
            </a:r>
            <a:r>
              <a:rPr lang="de-DE" noProof="0" dirty="0"/>
              <a:t> </a:t>
            </a:r>
            <a:r>
              <a:rPr lang="de-DE" noProof="0" dirty="0" err="1"/>
              <a:t>the</a:t>
            </a:r>
            <a:r>
              <a:rPr lang="de-DE" noProof="0" dirty="0"/>
              <a:t> </a:t>
            </a:r>
            <a:r>
              <a:rPr lang="de-DE" noProof="0" dirty="0" err="1"/>
              <a:t>presentation</a:t>
            </a:r>
            <a:r>
              <a:rPr lang="de-DE" noProof="0" dirty="0"/>
              <a:t> </a:t>
            </a:r>
            <a:br>
              <a:rPr lang="de-DE" noProof="0" dirty="0"/>
            </a:br>
            <a:r>
              <a:rPr lang="de-DE" noProof="0" dirty="0"/>
              <a:t>(36pt)</a:t>
            </a:r>
          </a:p>
        </p:txBody>
      </p:sp>
      <p:sp>
        <p:nvSpPr>
          <p:cNvPr id="39" name="Freeform 614"/>
          <p:cNvSpPr>
            <a:spLocks noEditPoints="1"/>
          </p:cNvSpPr>
          <p:nvPr userDrawn="1"/>
        </p:nvSpPr>
        <p:spPr bwMode="gray">
          <a:xfrm>
            <a:off x="9888419" y="5953466"/>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de-DE" sz="1333" noProof="0" dirty="0"/>
          </a:p>
        </p:txBody>
      </p:sp>
    </p:spTree>
    <p:extLst>
      <p:ext uri="{BB962C8B-B14F-4D97-AF65-F5344CB8AC3E}">
        <p14:creationId xmlns:p14="http://schemas.microsoft.com/office/powerpoint/2010/main" val="24807639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4_Title only (Disclaimer)">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10000"/>
              </a:lnSpc>
              <a:spcBef>
                <a:spcPct val="50000"/>
              </a:spcBef>
              <a:spcAft>
                <a:spcPct val="25000"/>
              </a:spcAft>
              <a:buClr>
                <a:srgbClr val="003781"/>
              </a:buClr>
              <a:tabLst/>
            </a:pPr>
            <a:endParaRPr lang="en-GB" sz="1333" dirty="0">
              <a:solidFill>
                <a:srgbClr val="FFFFFF"/>
              </a:solidFill>
              <a:latin typeface="Arial"/>
            </a:endParaRPr>
          </a:p>
        </p:txBody>
      </p:sp>
      <p:sp>
        <p:nvSpPr>
          <p:cNvPr id="2" name="Titel 1"/>
          <p:cNvSpPr>
            <a:spLocks noGrp="1"/>
          </p:cNvSpPr>
          <p:nvPr>
            <p:ph type="title" hasCustomPrompt="1"/>
          </p:nvPr>
        </p:nvSpPr>
        <p:spPr bwMode="gray"/>
        <p:txBody>
          <a:bodyPr/>
          <a:lstStyle>
            <a:lvl1pPr>
              <a:defRPr baseline="0">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4"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5" name="Inhaltsplatzhalter 3"/>
          <p:cNvSpPr>
            <a:spLocks noGrp="1"/>
          </p:cNvSpPr>
          <p:nvPr>
            <p:ph idx="1"/>
          </p:nvPr>
        </p:nvSpPr>
        <p:spPr>
          <a:xfrm>
            <a:off x="427894" y="1866552"/>
            <a:ext cx="5523522" cy="1925272"/>
          </a:xfrm>
        </p:spPr>
        <p:txBody>
          <a:bodyPr/>
          <a:lstStyle/>
          <a:p>
            <a:endParaRPr lang="en-GB" dirty="0"/>
          </a:p>
        </p:txBody>
      </p:sp>
      <p:sp>
        <p:nvSpPr>
          <p:cNvPr id="6" name="Inhaltsplatzhalter 4"/>
          <p:cNvSpPr>
            <a:spLocks noGrp="1"/>
          </p:cNvSpPr>
          <p:nvPr>
            <p:ph idx="13"/>
          </p:nvPr>
        </p:nvSpPr>
        <p:spPr>
          <a:xfrm>
            <a:off x="6240586" y="1866552"/>
            <a:ext cx="5523522" cy="1925272"/>
          </a:xfrm>
        </p:spPr>
        <p:txBody>
          <a:bodyPr/>
          <a:lstStyle/>
          <a:p>
            <a:endParaRPr lang="en-GB"/>
          </a:p>
        </p:txBody>
      </p:sp>
      <p:sp>
        <p:nvSpPr>
          <p:cNvPr id="8" name="Inhaltsplatzhalter 5"/>
          <p:cNvSpPr>
            <a:spLocks noGrp="1"/>
          </p:cNvSpPr>
          <p:nvPr>
            <p:ph idx="14"/>
          </p:nvPr>
        </p:nvSpPr>
        <p:spPr>
          <a:xfrm>
            <a:off x="427894" y="4219941"/>
            <a:ext cx="5523522" cy="1925272"/>
          </a:xfrm>
        </p:spPr>
        <p:txBody>
          <a:bodyPr/>
          <a:lstStyle/>
          <a:p>
            <a:endParaRPr lang="en-GB"/>
          </a:p>
        </p:txBody>
      </p:sp>
      <p:sp>
        <p:nvSpPr>
          <p:cNvPr id="9" name="Inhaltsplatzhalter 6"/>
          <p:cNvSpPr>
            <a:spLocks noGrp="1"/>
          </p:cNvSpPr>
          <p:nvPr>
            <p:ph idx="15"/>
          </p:nvPr>
        </p:nvSpPr>
        <p:spPr>
          <a:xfrm>
            <a:off x="6240586" y="4219941"/>
            <a:ext cx="5523522" cy="1925272"/>
          </a:xfrm>
        </p:spPr>
        <p:txBody>
          <a:bodyPr/>
          <a:lstStyle/>
          <a:p>
            <a:endParaRPr lang="en-GB"/>
          </a:p>
        </p:txBody>
      </p:sp>
      <p:sp>
        <p:nvSpPr>
          <p:cNvPr id="10" name="Inhaltsplatzhalter 7"/>
          <p:cNvSpPr>
            <a:spLocks noGrp="1"/>
          </p:cNvSpPr>
          <p:nvPr>
            <p:ph idx="16"/>
          </p:nvPr>
        </p:nvSpPr>
        <p:spPr>
          <a:xfrm>
            <a:off x="427894" y="1627189"/>
            <a:ext cx="5523522" cy="239364"/>
          </a:xfrm>
        </p:spPr>
        <p:txBody>
          <a:bodyPr/>
          <a:lstStyle/>
          <a:p>
            <a:endParaRPr lang="en-GB"/>
          </a:p>
        </p:txBody>
      </p:sp>
      <p:sp>
        <p:nvSpPr>
          <p:cNvPr id="11" name="Inhaltsplatzhalter 8"/>
          <p:cNvSpPr>
            <a:spLocks noGrp="1"/>
          </p:cNvSpPr>
          <p:nvPr>
            <p:ph idx="17"/>
          </p:nvPr>
        </p:nvSpPr>
        <p:spPr>
          <a:xfrm>
            <a:off x="6240586" y="1627189"/>
            <a:ext cx="5523522" cy="239364"/>
          </a:xfrm>
        </p:spPr>
        <p:txBody>
          <a:bodyPr/>
          <a:lstStyle/>
          <a:p>
            <a:endParaRPr lang="en-GB"/>
          </a:p>
        </p:txBody>
      </p:sp>
      <p:sp>
        <p:nvSpPr>
          <p:cNvPr id="12" name="Inhaltsplatzhalter 9"/>
          <p:cNvSpPr>
            <a:spLocks noGrp="1"/>
          </p:cNvSpPr>
          <p:nvPr>
            <p:ph idx="18"/>
          </p:nvPr>
        </p:nvSpPr>
        <p:spPr>
          <a:xfrm>
            <a:off x="427894" y="3980577"/>
            <a:ext cx="5523522" cy="239364"/>
          </a:xfrm>
        </p:spPr>
        <p:txBody>
          <a:bodyPr/>
          <a:lstStyle/>
          <a:p>
            <a:endParaRPr lang="en-GB"/>
          </a:p>
        </p:txBody>
      </p:sp>
      <p:sp>
        <p:nvSpPr>
          <p:cNvPr id="13" name="Inhaltsplatzhalter 10"/>
          <p:cNvSpPr>
            <a:spLocks noGrp="1"/>
          </p:cNvSpPr>
          <p:nvPr>
            <p:ph idx="19"/>
          </p:nvPr>
        </p:nvSpPr>
        <p:spPr>
          <a:xfrm>
            <a:off x="6240586" y="3980577"/>
            <a:ext cx="5523522" cy="239364"/>
          </a:xfrm>
        </p:spPr>
        <p:txBody>
          <a:bodyPr/>
          <a:lstStyle/>
          <a:p>
            <a:endParaRPr lang="en-GB"/>
          </a:p>
        </p:txBody>
      </p:sp>
    </p:spTree>
    <p:extLst>
      <p:ext uri="{BB962C8B-B14F-4D97-AF65-F5344CB8AC3E}">
        <p14:creationId xmlns:p14="http://schemas.microsoft.com/office/powerpoint/2010/main" val="37923904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bschnitts- überschrift">
    <p:spTree>
      <p:nvGrpSpPr>
        <p:cNvPr id="1" name=""/>
        <p:cNvGrpSpPr/>
        <p:nvPr/>
      </p:nvGrpSpPr>
      <p:grpSpPr>
        <a:xfrm>
          <a:off x="0" y="0"/>
          <a:ext cx="0" cy="0"/>
          <a:chOff x="0" y="0"/>
          <a:chExt cx="0" cy="0"/>
        </a:xfrm>
      </p:grpSpPr>
      <p:sp>
        <p:nvSpPr>
          <p:cNvPr id="12" name="Textplatzhalter 11"/>
          <p:cNvSpPr txBox="1">
            <a:spLocks/>
          </p:cNvSpPr>
          <p:nvPr userDrawn="1"/>
        </p:nvSpPr>
        <p:spPr bwMode="gray">
          <a:xfrm>
            <a:off x="0" y="2382366"/>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de-DE" sz="1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itle 1"/>
          <p:cNvSpPr>
            <a:spLocks noGrp="1"/>
          </p:cNvSpPr>
          <p:nvPr>
            <p:ph type="title" hasCustomPrompt="1"/>
          </p:nvPr>
        </p:nvSpPr>
        <p:spPr bwMode="gray">
          <a:xfrm>
            <a:off x="401229" y="1611313"/>
            <a:ext cx="6105769" cy="2407766"/>
          </a:xfrm>
        </p:spPr>
        <p:txBody>
          <a:bodyPr anchor="t" anchorCtr="0"/>
          <a:lstStyle>
            <a:lvl1pPr marL="0" indent="0" algn="l">
              <a:buFont typeface="Wingdings" panose="05000000000000000000" pitchFamily="2" charset="2"/>
              <a:buNone/>
              <a:defRPr lang="en-US" sz="4800" b="1" kern="1200" dirty="0" smtClean="0">
                <a:solidFill>
                  <a:schemeClr val="tx2"/>
                </a:solidFill>
                <a:latin typeface="Arial" panose="020B0604020202020204" pitchFamily="34" charset="0"/>
                <a:ea typeface="+mn-ea"/>
                <a:cs typeface="+mn-cs"/>
              </a:defRPr>
            </a:lvl1pPr>
          </a:lstStyle>
          <a:p>
            <a:r>
              <a:rPr lang="de-DE" noProof="0" dirty="0"/>
              <a:t>Name </a:t>
            </a:r>
            <a:r>
              <a:rPr lang="de-DE" noProof="0" dirty="0" err="1"/>
              <a:t>of</a:t>
            </a:r>
            <a:r>
              <a:rPr lang="de-DE" noProof="0" dirty="0"/>
              <a:t> </a:t>
            </a:r>
            <a:r>
              <a:rPr lang="de-DE" noProof="0" dirty="0" err="1"/>
              <a:t>chapter</a:t>
            </a:r>
            <a:r>
              <a:rPr lang="de-DE" noProof="0" dirty="0"/>
              <a:t>     </a:t>
            </a:r>
            <a:br>
              <a:rPr lang="de-DE" noProof="0" dirty="0"/>
            </a:br>
            <a:r>
              <a:rPr lang="de-DE" noProof="0" dirty="0"/>
              <a:t>(48pt)</a:t>
            </a:r>
          </a:p>
        </p:txBody>
      </p:sp>
      <p:sp>
        <p:nvSpPr>
          <p:cNvPr id="5" name="Text Placeholder 2"/>
          <p:cNvSpPr>
            <a:spLocks noGrp="1"/>
          </p:cNvSpPr>
          <p:nvPr>
            <p:ph type="body" idx="1" hasCustomPrompt="1"/>
          </p:nvPr>
        </p:nvSpPr>
        <p:spPr bwMode="gray">
          <a:xfrm>
            <a:off x="6846277" y="2115747"/>
            <a:ext cx="2739244" cy="1903332"/>
          </a:xfrm>
        </p:spPr>
        <p:txBody>
          <a:bodyPr wrap="none" lIns="0" tIns="0" rIns="0" bIns="0" anchor="t" anchorCtr="0"/>
          <a:lstStyle>
            <a:lvl1pPr marL="0" indent="0" algn="r"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noProof="0" dirty="0"/>
              <a:t>01</a:t>
            </a:r>
          </a:p>
        </p:txBody>
      </p:sp>
    </p:spTree>
    <p:extLst>
      <p:ext uri="{BB962C8B-B14F-4D97-AF65-F5344CB8AC3E}">
        <p14:creationId xmlns:p14="http://schemas.microsoft.com/office/powerpoint/2010/main" val="19737076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Subhead, Two Content with chart title (Disclaimer)">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10000"/>
              </a:lnSpc>
              <a:spcBef>
                <a:spcPct val="50000"/>
              </a:spcBef>
              <a:spcAft>
                <a:spcPct val="25000"/>
              </a:spcAft>
              <a:buClr>
                <a:srgbClr val="003781"/>
              </a:buClr>
              <a:tabLst/>
            </a:pPr>
            <a:endParaRPr lang="en-GB" sz="1333" dirty="0">
              <a:solidFill>
                <a:srgbClr val="FFFFFF"/>
              </a:solidFill>
              <a:latin typeface="Arial" charset="0"/>
            </a:endParaRPr>
          </a:p>
        </p:txBody>
      </p:sp>
      <p:sp>
        <p:nvSpPr>
          <p:cNvPr id="18" name="Text Placeholder 17"/>
          <p:cNvSpPr>
            <a:spLocks noGrp="1"/>
          </p:cNvSpPr>
          <p:nvPr>
            <p:ph type="body" sz="quarter" idx="22" hasCustomPrompt="1"/>
          </p:nvPr>
        </p:nvSpPr>
        <p:spPr bwMode="gray">
          <a:xfrm>
            <a:off x="398769"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20" name="Text Placeholder 19"/>
          <p:cNvSpPr>
            <a:spLocks noGrp="1"/>
          </p:cNvSpPr>
          <p:nvPr>
            <p:ph type="body" sz="quarter" idx="23" hasCustomPrompt="1"/>
          </p:nvPr>
        </p:nvSpPr>
        <p:spPr bwMode="gray">
          <a:xfrm>
            <a:off x="398769" y="988590"/>
            <a:ext cx="7488000" cy="244800"/>
          </a:xfrm>
        </p:spPr>
        <p:txBody>
          <a:bodyPr/>
          <a:lstStyle>
            <a:lvl1pPr marL="0" indent="0">
              <a:spcBef>
                <a:spcPts val="1800"/>
              </a:spcBef>
              <a:spcAft>
                <a:spcPts val="1200"/>
              </a:spcAft>
              <a:buFontTx/>
              <a:buNone/>
              <a:defRPr sz="1400" b="0">
                <a:solidFill>
                  <a:schemeClr val="tx2"/>
                </a:solidFill>
              </a:defRPr>
            </a:lvl1pPr>
          </a:lstStyle>
          <a:p>
            <a:pPr>
              <a:spcBef>
                <a:spcPts val="1800"/>
              </a:spcBef>
              <a:spcAft>
                <a:spcPts val="1200"/>
              </a:spcAft>
              <a:buFontTx/>
            </a:pPr>
            <a:r>
              <a:rPr lang="en-GB" sz="1400" noProof="0" dirty="0"/>
              <a:t>Subhead appears here (14 </a:t>
            </a:r>
            <a:r>
              <a:rPr lang="en-GB" sz="1400" noProof="0" dirty="0" err="1"/>
              <a:t>pt</a:t>
            </a:r>
            <a:r>
              <a:rPr lang="en-GB" sz="1400" noProof="0" dirty="0"/>
              <a:t>)</a:t>
            </a:r>
          </a:p>
        </p:txBody>
      </p:sp>
      <p:sp>
        <p:nvSpPr>
          <p:cNvPr id="6" name="Text Placeholder 19"/>
          <p:cNvSpPr>
            <a:spLocks noGrp="1"/>
          </p:cNvSpPr>
          <p:nvPr>
            <p:ph type="body" sz="quarter" idx="24" hasCustomPrompt="1"/>
          </p:nvPr>
        </p:nvSpPr>
        <p:spPr bwMode="gray">
          <a:xfrm>
            <a:off x="398770" y="1591200"/>
            <a:ext cx="5576092" cy="153888"/>
          </a:xfrm>
        </p:spPr>
        <p:txBody>
          <a:bodyPr>
            <a:spAutoFit/>
          </a:bodyPr>
          <a:lstStyle>
            <a:lvl1pPr marL="0" indent="0">
              <a:spcBef>
                <a:spcPts val="0"/>
              </a:spcBef>
              <a:spcAft>
                <a:spcPts val="0"/>
              </a:spcAft>
              <a:buNone/>
              <a:defRPr sz="1000" b="1"/>
            </a:lvl1pPr>
          </a:lstStyle>
          <a:p>
            <a:pPr lvl="0"/>
            <a:r>
              <a:rPr lang="en-GB" noProof="0" dirty="0"/>
              <a:t>Chart title (10pt)</a:t>
            </a:r>
          </a:p>
        </p:txBody>
      </p:sp>
      <p:sp>
        <p:nvSpPr>
          <p:cNvPr id="10" name="Text Placeholder 19"/>
          <p:cNvSpPr>
            <a:spLocks noGrp="1"/>
          </p:cNvSpPr>
          <p:nvPr>
            <p:ph type="body" sz="quarter" idx="27" hasCustomPrompt="1"/>
          </p:nvPr>
        </p:nvSpPr>
        <p:spPr bwMode="gray">
          <a:xfrm>
            <a:off x="6196939" y="1591200"/>
            <a:ext cx="5576092" cy="153888"/>
          </a:xfrm>
        </p:spPr>
        <p:txBody>
          <a:bodyPr>
            <a:spAutoFit/>
          </a:bodyPr>
          <a:lstStyle>
            <a:lvl1pPr marL="0" indent="0">
              <a:spcBef>
                <a:spcPts val="0"/>
              </a:spcBef>
              <a:spcAft>
                <a:spcPts val="0"/>
              </a:spcAft>
              <a:buNone/>
              <a:defRPr sz="1000" b="1"/>
            </a:lvl1pPr>
          </a:lstStyle>
          <a:p>
            <a:pPr lvl="0"/>
            <a:r>
              <a:rPr lang="en-GB" noProof="0" dirty="0"/>
              <a:t>Chart title (10pt)</a:t>
            </a:r>
          </a:p>
        </p:txBody>
      </p:sp>
      <p:sp>
        <p:nvSpPr>
          <p:cNvPr id="2" name="Titel 1"/>
          <p:cNvSpPr>
            <a:spLocks noGrp="1"/>
          </p:cNvSpPr>
          <p:nvPr>
            <p:ph type="title" hasCustomPrompt="1"/>
          </p:nvPr>
        </p:nvSpPr>
        <p:spPr>
          <a:xfrm>
            <a:off x="398769" y="660012"/>
            <a:ext cx="7488000" cy="387798"/>
          </a:xfrm>
        </p:spPr>
        <p:txBody>
          <a:bodyPr>
            <a:spAutoFit/>
          </a:bodyPr>
          <a:lstStyle/>
          <a:p>
            <a:r>
              <a:rPr lang="en-GB" noProof="0" dirty="0"/>
              <a:t>Main slide heading appears here (20pt)</a:t>
            </a:r>
            <a:endParaRPr lang="en-GB" dirty="0"/>
          </a:p>
        </p:txBody>
      </p:sp>
      <p:sp>
        <p:nvSpPr>
          <p:cNvPr id="12" name="Inhaltsplatzhalter 7"/>
          <p:cNvSpPr>
            <a:spLocks noGrp="1"/>
          </p:cNvSpPr>
          <p:nvPr>
            <p:ph sz="quarter" idx="26"/>
          </p:nvPr>
        </p:nvSpPr>
        <p:spPr>
          <a:xfrm>
            <a:off x="6196939" y="2070578"/>
            <a:ext cx="5576092" cy="3812333"/>
          </a:xfrm>
        </p:spPr>
        <p:txBody>
          <a:bodyPr/>
          <a:lstStyle/>
          <a:p>
            <a:endParaRPr lang="en-GB" dirty="0"/>
          </a:p>
        </p:txBody>
      </p:sp>
      <p:sp>
        <p:nvSpPr>
          <p:cNvPr id="15" name="Inhaltsplatzhalter 8"/>
          <p:cNvSpPr>
            <a:spLocks noGrp="1"/>
          </p:cNvSpPr>
          <p:nvPr>
            <p:ph sz="quarter" idx="21"/>
          </p:nvPr>
        </p:nvSpPr>
        <p:spPr>
          <a:xfrm>
            <a:off x="398770" y="2070578"/>
            <a:ext cx="5576092" cy="3812333"/>
          </a:xfrm>
        </p:spPr>
        <p:txBody>
          <a:bodyPr/>
          <a:lstStyle/>
          <a:p>
            <a:endParaRPr lang="en-GB" dirty="0"/>
          </a:p>
        </p:txBody>
      </p:sp>
    </p:spTree>
    <p:extLst>
      <p:ext uri="{BB962C8B-B14F-4D97-AF65-F5344CB8AC3E}">
        <p14:creationId xmlns:p14="http://schemas.microsoft.com/office/powerpoint/2010/main" val="36361519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Title Slide">
    <p:bg>
      <p:bgRef idx="1001">
        <a:schemeClr val="bg1"/>
      </p:bgRef>
    </p:bg>
    <p:spTree>
      <p:nvGrpSpPr>
        <p:cNvPr id="1" name=""/>
        <p:cNvGrpSpPr/>
        <p:nvPr/>
      </p:nvGrpSpPr>
      <p:grpSpPr>
        <a:xfrm>
          <a:off x="0" y="0"/>
          <a:ext cx="0" cy="0"/>
          <a:chOff x="0" y="0"/>
          <a:chExt cx="0" cy="0"/>
        </a:xfrm>
      </p:grpSpPr>
      <p:sp>
        <p:nvSpPr>
          <p:cNvPr id="23" name="Rechteck 22">
            <a:extLst>
              <a:ext uri="{FF2B5EF4-FFF2-40B4-BE49-F238E27FC236}">
                <a16:creationId xmlns:a16="http://schemas.microsoft.com/office/drawing/2014/main" id="{ABDCFCF9-4F6D-4BBA-A82C-09F226171A1C}"/>
              </a:ext>
            </a:extLst>
          </p:cNvPr>
          <p:cNvSpPr/>
          <p:nvPr userDrawn="1"/>
        </p:nvSpPr>
        <p:spPr bwMode="gray">
          <a:xfrm>
            <a:off x="5528282" y="0"/>
            <a:ext cx="6241687" cy="4607858"/>
          </a:xfrm>
          <a:prstGeom prst="rect">
            <a:avLst/>
          </a:prstGeom>
          <a:blipFill dpi="0" rotWithShape="1">
            <a:blip r:embed="rId3" cstate="print">
              <a:extLst>
                <a:ext uri="{28A0092B-C50C-407E-A947-70E740481C1C}">
                  <a14:useLocalDpi xmlns:a14="http://schemas.microsoft.com/office/drawing/2010/main" val="0"/>
                </a:ext>
              </a:extLst>
            </a:blip>
            <a:srcRect/>
            <a:stretch>
              <a:fillRect l="-85287" t="-11525" r="-48817" b="-63977"/>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grpSp>
        <p:nvGrpSpPr>
          <p:cNvPr id="25" name="Gruppieren 24">
            <a:extLst>
              <a:ext uri="{FF2B5EF4-FFF2-40B4-BE49-F238E27FC236}">
                <a16:creationId xmlns:a16="http://schemas.microsoft.com/office/drawing/2014/main" id="{2AA8746D-DAA2-4233-8198-930BCD7A5698}"/>
              </a:ext>
            </a:extLst>
          </p:cNvPr>
          <p:cNvGrpSpPr/>
          <p:nvPr userDrawn="1"/>
        </p:nvGrpSpPr>
        <p:grpSpPr>
          <a:xfrm>
            <a:off x="8915009" y="322562"/>
            <a:ext cx="2854960" cy="1251122"/>
            <a:chOff x="7243444" y="322562"/>
            <a:chExt cx="2319655" cy="1251122"/>
          </a:xfrm>
        </p:grpSpPr>
        <p:sp>
          <p:nvSpPr>
            <p:cNvPr id="26" name="Textfeld 25">
              <a:extLst>
                <a:ext uri="{FF2B5EF4-FFF2-40B4-BE49-F238E27FC236}">
                  <a16:creationId xmlns:a16="http://schemas.microsoft.com/office/drawing/2014/main" id="{F7D8C3B5-65D5-4C52-8597-53BC61B8013C}"/>
                </a:ext>
              </a:extLst>
            </p:cNvPr>
            <p:cNvSpPr txBox="1"/>
            <p:nvPr userDrawn="1"/>
          </p:nvSpPr>
          <p:spPr>
            <a:xfrm>
              <a:off x="7243444" y="322562"/>
              <a:ext cx="1767840" cy="430887"/>
            </a:xfrm>
            <a:prstGeom prst="rect">
              <a:avLst/>
            </a:prstGeom>
            <a:noFill/>
          </p:spPr>
          <p:txBody>
            <a:bodyPr wrap="square" lIns="0" tIns="0" rIns="0" bIns="0" rtlCol="0">
              <a:spAutoFit/>
            </a:bodyPr>
            <a:lstStyle/>
            <a:p>
              <a:pPr algn="r">
                <a:spcBef>
                  <a:spcPts val="360"/>
                </a:spcBef>
                <a:spcAft>
                  <a:spcPts val="360"/>
                </a:spcAft>
                <a:buClr>
                  <a:schemeClr val="tx2"/>
                </a:buClr>
                <a:tabLst/>
              </a:pPr>
              <a:r>
                <a:rPr lang="de-DE" sz="2700" cap="all" baseline="0" dirty="0">
                  <a:solidFill>
                    <a:schemeClr val="bg1"/>
                  </a:solidFill>
                  <a:effectLst>
                    <a:outerShdw blurRad="38100" dist="38100" dir="2700000" algn="tl">
                      <a:srgbClr val="000000">
                        <a:alpha val="43137"/>
                      </a:srgbClr>
                    </a:outerShdw>
                  </a:effectLst>
                  <a:latin typeface="Allianz Neo Condensed Bold" panose="020B0806020203020204" pitchFamily="34" charset="0"/>
                </a:rPr>
                <a:t>Our heart</a:t>
              </a:r>
            </a:p>
          </p:txBody>
        </p:sp>
        <p:sp>
          <p:nvSpPr>
            <p:cNvPr id="27" name="Textfeld 26">
              <a:extLst>
                <a:ext uri="{FF2B5EF4-FFF2-40B4-BE49-F238E27FC236}">
                  <a16:creationId xmlns:a16="http://schemas.microsoft.com/office/drawing/2014/main" id="{9FA04078-D35F-4187-A9AF-EAA4D195EDF8}"/>
                </a:ext>
              </a:extLst>
            </p:cNvPr>
            <p:cNvSpPr txBox="1"/>
            <p:nvPr userDrawn="1"/>
          </p:nvSpPr>
          <p:spPr>
            <a:xfrm>
              <a:off x="7243444" y="652008"/>
              <a:ext cx="1767840" cy="292388"/>
            </a:xfrm>
            <a:prstGeom prst="rect">
              <a:avLst/>
            </a:prstGeom>
            <a:noFill/>
          </p:spPr>
          <p:txBody>
            <a:bodyPr wrap="square" lIns="0" tIns="0" rIns="0" bIns="0" rtlCol="0">
              <a:spAutoFit/>
            </a:bodyPr>
            <a:lstStyle/>
            <a:p>
              <a:pPr algn="r">
                <a:spcBef>
                  <a:spcPts val="360"/>
                </a:spcBef>
                <a:spcAft>
                  <a:spcPts val="360"/>
                </a:spcAft>
                <a:buClr>
                  <a:schemeClr val="tx2"/>
                </a:buClr>
                <a:tabLst/>
              </a:pPr>
              <a:r>
                <a:rPr lang="de-DE" sz="1900" cap="all" baseline="0" dirty="0">
                  <a:solidFill>
                    <a:schemeClr val="bg1"/>
                  </a:solidFill>
                  <a:effectLst>
                    <a:outerShdw blurRad="38100" dist="38100" dir="2700000" algn="tl">
                      <a:srgbClr val="000000">
                        <a:alpha val="43137"/>
                      </a:srgbClr>
                    </a:outerShdw>
                  </a:effectLst>
                  <a:latin typeface="Allianz Neo Condensed Bold" panose="020B0806020203020204" pitchFamily="34" charset="0"/>
                </a:rPr>
                <a:t>Beats for</a:t>
              </a:r>
            </a:p>
          </p:txBody>
        </p:sp>
        <p:sp>
          <p:nvSpPr>
            <p:cNvPr id="28" name="Textfeld 27">
              <a:extLst>
                <a:ext uri="{FF2B5EF4-FFF2-40B4-BE49-F238E27FC236}">
                  <a16:creationId xmlns:a16="http://schemas.microsoft.com/office/drawing/2014/main" id="{B710A08E-8E55-4CCE-8C05-CB3AEF5A5B96}"/>
                </a:ext>
              </a:extLst>
            </p:cNvPr>
            <p:cNvSpPr txBox="1"/>
            <p:nvPr userDrawn="1"/>
          </p:nvSpPr>
          <p:spPr>
            <a:xfrm>
              <a:off x="7448550" y="897515"/>
              <a:ext cx="2027554" cy="415498"/>
            </a:xfrm>
            <a:prstGeom prst="rect">
              <a:avLst/>
            </a:prstGeom>
            <a:noFill/>
          </p:spPr>
          <p:txBody>
            <a:bodyPr wrap="square" lIns="0" tIns="0" rIns="0" bIns="0" rtlCol="0">
              <a:spAutoFit/>
            </a:bodyPr>
            <a:lstStyle/>
            <a:p>
              <a:pPr algn="l">
                <a:spcBef>
                  <a:spcPts val="360"/>
                </a:spcBef>
                <a:spcAft>
                  <a:spcPts val="360"/>
                </a:spcAft>
                <a:buClr>
                  <a:schemeClr val="tx2"/>
                </a:buClr>
                <a:tabLst/>
              </a:pPr>
              <a:r>
                <a:rPr lang="de-DE" sz="2700" cap="all" baseline="0" dirty="0">
                  <a:solidFill>
                    <a:schemeClr val="bg1"/>
                  </a:solidFill>
                  <a:effectLst>
                    <a:outerShdw blurRad="38100" dist="38100" dir="2700000" algn="tl">
                      <a:srgbClr val="000000">
                        <a:alpha val="43137"/>
                      </a:srgbClr>
                    </a:outerShdw>
                  </a:effectLst>
                  <a:latin typeface="Allianz Neo Condensed Bold" panose="020B0806020203020204" pitchFamily="34" charset="0"/>
                </a:rPr>
                <a:t>Active </a:t>
              </a:r>
              <a:r>
                <a:rPr lang="de-DE" sz="2000" cap="all" baseline="0" dirty="0">
                  <a:solidFill>
                    <a:schemeClr val="bg1"/>
                  </a:solidFill>
                  <a:effectLst>
                    <a:outerShdw blurRad="38100" dist="38100" dir="2700000" algn="tl">
                      <a:srgbClr val="000000">
                        <a:alpha val="43137"/>
                      </a:srgbClr>
                    </a:outerShdw>
                  </a:effectLst>
                  <a:latin typeface="Allianz Neo Condensed Bold" panose="020B0806020203020204" pitchFamily="34" charset="0"/>
                  <a:ea typeface="+mn-ea"/>
                  <a:cs typeface="+mn-cs"/>
                </a:rPr>
                <a:t>Asset</a:t>
              </a:r>
            </a:p>
          </p:txBody>
        </p:sp>
        <p:sp>
          <p:nvSpPr>
            <p:cNvPr id="29" name="Textfeld 28">
              <a:extLst>
                <a:ext uri="{FF2B5EF4-FFF2-40B4-BE49-F238E27FC236}">
                  <a16:creationId xmlns:a16="http://schemas.microsoft.com/office/drawing/2014/main" id="{0488A6FA-9622-4D65-85F8-21D291849526}"/>
                </a:ext>
              </a:extLst>
            </p:cNvPr>
            <p:cNvSpPr txBox="1"/>
            <p:nvPr userDrawn="1"/>
          </p:nvSpPr>
          <p:spPr>
            <a:xfrm>
              <a:off x="7883524" y="1265907"/>
              <a:ext cx="1679575" cy="307777"/>
            </a:xfrm>
            <a:prstGeom prst="rect">
              <a:avLst/>
            </a:prstGeom>
            <a:noFill/>
          </p:spPr>
          <p:txBody>
            <a:bodyPr wrap="square" lIns="0" tIns="0" rIns="0" bIns="0" rtlCol="0">
              <a:spAutoFit/>
            </a:bodyPr>
            <a:lstStyle/>
            <a:p>
              <a:pPr algn="l">
                <a:spcBef>
                  <a:spcPts val="360"/>
                </a:spcBef>
                <a:spcAft>
                  <a:spcPts val="360"/>
                </a:spcAft>
                <a:buClr>
                  <a:schemeClr val="tx2"/>
                </a:buClr>
                <a:tabLst/>
              </a:pPr>
              <a:r>
                <a:rPr lang="de-DE" sz="2000" cap="all" baseline="0" dirty="0">
                  <a:solidFill>
                    <a:schemeClr val="bg1"/>
                  </a:solidFill>
                  <a:effectLst>
                    <a:outerShdw blurRad="38100" dist="38100" dir="2700000" algn="tl">
                      <a:srgbClr val="000000">
                        <a:alpha val="43137"/>
                      </a:srgbClr>
                    </a:outerShdw>
                  </a:effectLst>
                  <a:latin typeface="Allianz Neo Condensed Bold" panose="020B0806020203020204" pitchFamily="34" charset="0"/>
                </a:rPr>
                <a:t>management</a:t>
              </a:r>
            </a:p>
          </p:txBody>
        </p:sp>
      </p:grpSp>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72513168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47" name="Freihandform: Form 46">
            <a:extLst>
              <a:ext uri="{FF2B5EF4-FFF2-40B4-BE49-F238E27FC236}">
                <a16:creationId xmlns:a16="http://schemas.microsoft.com/office/drawing/2014/main" id="{4C487715-2AE3-4356-AF7A-FD071E21CA50}"/>
              </a:ext>
            </a:extLst>
          </p:cNvPr>
          <p:cNvSpPr/>
          <p:nvPr userDrawn="1"/>
        </p:nvSpPr>
        <p:spPr bwMode="gray">
          <a:xfrm flipH="1">
            <a:off x="-4" y="1"/>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6" name="TextBox 2"/>
          <p:cNvSpPr txBox="1"/>
          <p:nvPr userDrawn="1"/>
        </p:nvSpPr>
        <p:spPr bwMode="gray">
          <a:xfrm>
            <a:off x="398769" y="6362622"/>
            <a:ext cx="108683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 name="Textplatzhalter 2"/>
          <p:cNvSpPr>
            <a:spLocks noGrp="1"/>
          </p:cNvSpPr>
          <p:nvPr userDrawn="1">
            <p:ph type="body" sz="quarter" idx="13" hasCustomPrompt="1"/>
          </p:nvPr>
        </p:nvSpPr>
        <p:spPr bwMode="gray">
          <a:xfrm>
            <a:off x="398769"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userDrawn="1">
            <p:ph type="body" sz="quarter" idx="14" hasCustomPrompt="1"/>
          </p:nvPr>
        </p:nvSpPr>
        <p:spPr bwMode="gray">
          <a:xfrm>
            <a:off x="398770" y="3094921"/>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userDrawn="1">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43" name="Freeform 614"/>
          <p:cNvSpPr>
            <a:spLocks noEditPoints="1"/>
          </p:cNvSpPr>
          <p:nvPr userDrawn="1"/>
        </p:nvSpPr>
        <p:spPr bwMode="gray">
          <a:xfrm>
            <a:off x="9888419" y="5953466"/>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1333" noProof="0" dirty="0"/>
          </a:p>
        </p:txBody>
      </p:sp>
      <p:sp>
        <p:nvSpPr>
          <p:cNvPr id="107" name="Textplatzhalter 20"/>
          <p:cNvSpPr>
            <a:spLocks noGrp="1"/>
          </p:cNvSpPr>
          <p:nvPr>
            <p:ph type="body" sz="quarter" idx="12" hasCustomPrompt="1"/>
          </p:nvPr>
        </p:nvSpPr>
        <p:spPr bwMode="gray">
          <a:xfrm>
            <a:off x="398770" y="906710"/>
            <a:ext cx="5800937"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2" name="Textplatzhalter 20"/>
          <p:cNvSpPr>
            <a:spLocks noGrp="1"/>
          </p:cNvSpPr>
          <p:nvPr>
            <p:ph type="body" sz="quarter" idx="15" hasCustomPrompt="1"/>
          </p:nvPr>
        </p:nvSpPr>
        <p:spPr bwMode="gray">
          <a:xfrm>
            <a:off x="398770" y="1458914"/>
            <a:ext cx="5800937" cy="1107996"/>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spTree>
    <p:extLst>
      <p:ext uri="{BB962C8B-B14F-4D97-AF65-F5344CB8AC3E}">
        <p14:creationId xmlns:p14="http://schemas.microsoft.com/office/powerpoint/2010/main" val="236882982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Blue 4">
    <p:bg>
      <p:bgPr>
        <a:solidFill>
          <a:schemeClr val="accent4"/>
        </a:solidFill>
        <a:effectLst/>
      </p:bgPr>
    </p:bg>
    <p:spTree>
      <p:nvGrpSpPr>
        <p:cNvPr id="1" name=""/>
        <p:cNvGrpSpPr/>
        <p:nvPr/>
      </p:nvGrpSpPr>
      <p:grpSpPr>
        <a:xfrm>
          <a:off x="0" y="0"/>
          <a:ext cx="0" cy="0"/>
          <a:chOff x="0" y="0"/>
          <a:chExt cx="0" cy="0"/>
        </a:xfrm>
      </p:grpSpPr>
      <p:sp>
        <p:nvSpPr>
          <p:cNvPr id="46" name="Logo Allianz Global Investors">
            <a:extLst>
              <a:ext uri="{C183D7F6-B498-43B3-948B-1728B52AA6E4}">
                <adec:decorative xmlns:adec="http://schemas.microsoft.com/office/drawing/2017/decorative" val="1"/>
              </a:ext>
            </a:extLst>
          </p:cNvPr>
          <p:cNvSpPr>
            <a:spLocks noChangeAspect="1" noEditPoints="1"/>
          </p:cNvSpPr>
          <p:nvPr userDrawn="1"/>
        </p:nvSpPr>
        <p:spPr bwMode="gray">
          <a:xfrm>
            <a:off x="402173" y="475753"/>
            <a:ext cx="2059200" cy="76068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bg1"/>
          </a:solidFill>
          <a:ln w="9525">
            <a:noFill/>
            <a:round/>
            <a:headEnd/>
            <a:tailEnd/>
          </a:ln>
        </p:spPr>
        <p:txBody>
          <a:bodyPr/>
          <a:lstStyle/>
          <a:p>
            <a:endParaRPr lang="en-GB" sz="1777" noProof="0" dirty="0">
              <a:solidFill>
                <a:schemeClr val="bg1"/>
              </a:solidFill>
              <a:latin typeface="Arial" panose="020B0604020202020204" pitchFamily="34" charset="0"/>
            </a:endParaRPr>
          </a:p>
        </p:txBody>
      </p:sp>
      <p:sp>
        <p:nvSpPr>
          <p:cNvPr id="10" name="Title">
            <a:extLst>
              <a:ext uri="{FF2B5EF4-FFF2-40B4-BE49-F238E27FC236}">
                <a16:creationId xmlns:a16="http://schemas.microsoft.com/office/drawing/2014/main" id="{E0648E12-7530-83E9-C7B5-C1574FFBA256}"/>
              </a:ext>
            </a:extLst>
          </p:cNvPr>
          <p:cNvSpPr>
            <a:spLocks noGrp="1"/>
          </p:cNvSpPr>
          <p:nvPr>
            <p:ph type="body" sz="quarter" idx="15" hasCustomPrompt="1"/>
          </p:nvPr>
        </p:nvSpPr>
        <p:spPr>
          <a:xfrm>
            <a:off x="402173" y="1861138"/>
            <a:ext cx="11368800" cy="2354491"/>
          </a:xfrm>
        </p:spPr>
        <p:txBody>
          <a:bodyPr wrap="square" anchor="b">
            <a:spAutoFit/>
          </a:bodyPr>
          <a:lstStyle>
            <a:lvl1pPr marL="0" indent="0">
              <a:lnSpc>
                <a:spcPct val="90000"/>
              </a:lnSpc>
              <a:spcBef>
                <a:spcPts val="0"/>
              </a:spcBef>
              <a:spcAft>
                <a:spcPts val="0"/>
              </a:spcAft>
              <a:buNone/>
              <a:tabLst/>
              <a:defRPr sz="8500">
                <a:solidFill>
                  <a:schemeClr val="bg1"/>
                </a:solidFill>
              </a:defRPr>
            </a:lvl1pPr>
          </a:lstStyle>
          <a:p>
            <a:pPr lvl="0"/>
            <a:r>
              <a:rPr lang="en-GB"/>
              <a:t>Mastertextformat bearbeiten</a:t>
            </a:r>
            <a:endParaRPr lang="en-GB" dirty="0"/>
          </a:p>
        </p:txBody>
      </p:sp>
      <p:sp>
        <p:nvSpPr>
          <p:cNvPr id="11" name="Subtitle">
            <a:extLst>
              <a:ext uri="{FF2B5EF4-FFF2-40B4-BE49-F238E27FC236}">
                <a16:creationId xmlns:a16="http://schemas.microsoft.com/office/drawing/2014/main" id="{81C62652-483B-608F-4D60-5089DDC03F61}"/>
              </a:ext>
            </a:extLst>
          </p:cNvPr>
          <p:cNvSpPr>
            <a:spLocks noGrp="1"/>
          </p:cNvSpPr>
          <p:nvPr>
            <p:ph type="body" sz="quarter" idx="16" hasCustomPrompt="1"/>
          </p:nvPr>
        </p:nvSpPr>
        <p:spPr>
          <a:xfrm>
            <a:off x="402174" y="4345515"/>
            <a:ext cx="11368800" cy="387798"/>
          </a:xfrm>
          <a:noFill/>
          <a:ln w="9525">
            <a:noFill/>
            <a:miter lim="800000"/>
            <a:headEnd/>
            <a:tailEnd/>
          </a:ln>
          <a:effectLst/>
        </p:spPr>
        <p:txBody>
          <a:bodyPr vert="horz" wrap="square" lIns="0" tIns="0" rIns="0" bIns="0" numCol="1" anchor="t" anchorCtr="0" compatLnSpc="1">
            <a:prstTxWarp prst="textNoShape">
              <a:avLst/>
            </a:prstTxWarp>
            <a:spAutoFit/>
          </a:bodyPr>
          <a:lstStyle>
            <a:lvl1pPr marL="0" indent="0">
              <a:buNone/>
              <a:tabLst/>
              <a:defRPr lang="de-DE" sz="2800" dirty="0">
                <a:solidFill>
                  <a:schemeClr val="bg1"/>
                </a:solidFill>
              </a:defRPr>
            </a:lvl1pPr>
          </a:lstStyle>
          <a:p>
            <a:pPr marL="180000" lvl="0" indent="-180000">
              <a:lnSpc>
                <a:spcPct val="90000"/>
              </a:lnSpc>
              <a:spcBef>
                <a:spcPts val="0"/>
              </a:spcBef>
              <a:spcAft>
                <a:spcPts val="0"/>
              </a:spcAft>
            </a:pPr>
            <a:r>
              <a:rPr lang="en-GB"/>
              <a:t>Subtitle</a:t>
            </a:r>
            <a:endParaRPr lang="en-GB" dirty="0"/>
          </a:p>
        </p:txBody>
      </p:sp>
      <p:sp>
        <p:nvSpPr>
          <p:cNvPr id="5" name="Author">
            <a:extLst>
              <a:ext uri="{FF2B5EF4-FFF2-40B4-BE49-F238E27FC236}">
                <a16:creationId xmlns:a16="http://schemas.microsoft.com/office/drawing/2014/main" id="{366EE4C0-C3CA-3724-D606-BC4570A3DE95}"/>
              </a:ext>
            </a:extLst>
          </p:cNvPr>
          <p:cNvSpPr>
            <a:spLocks noGrp="1"/>
          </p:cNvSpPr>
          <p:nvPr>
            <p:ph type="body" sz="quarter" idx="11" hasCustomPrompt="1"/>
          </p:nvPr>
        </p:nvSpPr>
        <p:spPr bwMode="gray">
          <a:xfrm>
            <a:off x="402173" y="6451095"/>
            <a:ext cx="2268755" cy="169277"/>
          </a:xfrm>
        </p:spPr>
        <p:txBody>
          <a:bodyPr wrap="square" anchor="b" anchorCtr="0">
            <a:spAutoFit/>
          </a:bodyPr>
          <a:lstStyle>
            <a:lvl1pPr marL="0" marR="0" indent="0" algn="l" defTabSz="1038977" rtl="0" eaLnBrk="1" fontAlgn="base" latinLnBrk="0" hangingPunct="1">
              <a:lnSpc>
                <a:spcPct val="100000"/>
              </a:lnSpc>
              <a:spcBef>
                <a:spcPts val="0"/>
              </a:spcBef>
              <a:spcAft>
                <a:spcPts val="0"/>
              </a:spcAft>
              <a:buClr>
                <a:schemeClr val="tx2"/>
              </a:buClr>
              <a:buSzTx/>
              <a:buFont typeface="Wingdings" pitchFamily="2" charset="2"/>
              <a:buNone/>
              <a:tabLst>
                <a:tab pos="207435" algn="l"/>
              </a:tabLst>
              <a:defRPr sz="1100" b="0" baseline="0">
                <a:solidFill>
                  <a:schemeClr val="bg1"/>
                </a:solidFill>
                <a:latin typeface="Arial" panose="020B0604020202020204" pitchFamily="34" charset="0"/>
              </a:defRPr>
            </a:lvl1pPr>
            <a:lvl2pPr marL="209239" indent="0">
              <a:buNone/>
              <a:defRPr/>
            </a:lvl2pPr>
            <a:lvl3pPr marL="364363" indent="0">
              <a:buNone/>
              <a:defRPr/>
            </a:lvl3pPr>
            <a:lvl4pPr marL="517684" indent="0">
              <a:buNone/>
              <a:defRPr/>
            </a:lvl4pPr>
            <a:lvl5pPr marL="624107" indent="0">
              <a:buNone/>
              <a:defRPr/>
            </a:lvl5pPr>
          </a:lstStyle>
          <a:p>
            <a:pPr lvl="0"/>
            <a:r>
              <a:rPr lang="en-GB" noProof="0" dirty="0"/>
              <a:t>Author</a:t>
            </a:r>
          </a:p>
        </p:txBody>
      </p:sp>
      <p:sp>
        <p:nvSpPr>
          <p:cNvPr id="2" name="Date">
            <a:extLst>
              <a:ext uri="{FF2B5EF4-FFF2-40B4-BE49-F238E27FC236}">
                <a16:creationId xmlns:a16="http://schemas.microsoft.com/office/drawing/2014/main" id="{EB1B268D-3305-0233-2A3E-A3C9E4345756}"/>
              </a:ext>
            </a:extLst>
          </p:cNvPr>
          <p:cNvSpPr>
            <a:spLocks noGrp="1"/>
          </p:cNvSpPr>
          <p:nvPr>
            <p:ph type="body" sz="quarter" idx="13" hasCustomPrompt="1"/>
          </p:nvPr>
        </p:nvSpPr>
        <p:spPr bwMode="gray">
          <a:xfrm>
            <a:off x="2818536" y="6451095"/>
            <a:ext cx="2340000" cy="169277"/>
          </a:xfrm>
        </p:spPr>
        <p:txBody>
          <a:bodyPr wrap="square" lIns="0" rIns="0" anchor="b">
            <a:spAutoFit/>
          </a:bodyPr>
          <a:lstStyle>
            <a:lvl1pPr marL="0" indent="0">
              <a:spcBef>
                <a:spcPts val="0"/>
              </a:spcBef>
              <a:spcAft>
                <a:spcPts val="0"/>
              </a:spcAft>
              <a:buNone/>
              <a:defRPr sz="1100">
                <a:solidFill>
                  <a:schemeClr val="bg1"/>
                </a:solidFill>
              </a:defRPr>
            </a:lvl1pPr>
          </a:lstStyle>
          <a:p>
            <a:pPr lvl="0"/>
            <a:r>
              <a:rPr lang="en-GB" noProof="0" dirty="0"/>
              <a:t>Date of the presentation</a:t>
            </a:r>
          </a:p>
        </p:txBody>
      </p:sp>
    </p:spTree>
    <p:extLst>
      <p:ext uri="{BB962C8B-B14F-4D97-AF65-F5344CB8AC3E}">
        <p14:creationId xmlns:p14="http://schemas.microsoft.com/office/powerpoint/2010/main" val="33874871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02492" y="608014"/>
            <a:ext cx="11357708" cy="5646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6"/>
          <p:cNvSpPr>
            <a:spLocks noGrp="1" noChangeArrowheads="1"/>
          </p:cNvSpPr>
          <p:nvPr>
            <p:ph type="sldNum" sz="quarter" idx="10"/>
          </p:nvPr>
        </p:nvSpPr>
        <p:spPr>
          <a:xfrm>
            <a:off x="8485555" y="6369050"/>
            <a:ext cx="3284415" cy="330200"/>
          </a:xfrm>
          <a:prstGeom prst="rect">
            <a:avLst/>
          </a:prstGeom>
          <a:ln/>
        </p:spPr>
        <p:txBody>
          <a:bodyPr/>
          <a:lstStyle>
            <a:lvl1pPr>
              <a:defRPr/>
            </a:lvl1pPr>
          </a:lstStyle>
          <a:p>
            <a:pPr>
              <a:defRPr/>
            </a:pPr>
            <a:fld id="{D8A2AD49-B1D2-4E36-8ED3-91BB69C27021}" type="slidenum">
              <a:rPr lang="en-US"/>
              <a:pPr>
                <a:defRPr/>
              </a:pPr>
              <a:t>‹#›</a:t>
            </a:fld>
            <a:endParaRPr lang="en-US"/>
          </a:p>
        </p:txBody>
      </p:sp>
    </p:spTree>
    <p:extLst>
      <p:ext uri="{BB962C8B-B14F-4D97-AF65-F5344CB8AC3E}">
        <p14:creationId xmlns:p14="http://schemas.microsoft.com/office/powerpoint/2010/main" val="17559788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One Chart with strap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27893" y="1866553"/>
            <a:ext cx="11336217" cy="381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idx="16"/>
          </p:nvPr>
        </p:nvSpPr>
        <p:spPr>
          <a:xfrm>
            <a:off x="427894" y="1627190"/>
            <a:ext cx="11336214" cy="239364"/>
          </a:xfrm>
        </p:spPr>
        <p:txBody>
          <a:bodyPr/>
          <a:lstStyle>
            <a:lvl1pPr marL="0" indent="0">
              <a:buNone/>
              <a:defRPr>
                <a:solidFill>
                  <a:schemeClr val="tx2"/>
                </a:solidFill>
              </a:defRPr>
            </a:lvl1pPr>
            <a:lvl2pPr marL="184129" indent="0">
              <a:buNone/>
              <a:defRPr/>
            </a:lvl2pPr>
            <a:lvl3pPr marL="357148" indent="0">
              <a:buNone/>
              <a:defRPr/>
            </a:lvl3pPr>
            <a:lvl4pPr marL="534926" indent="0">
              <a:buNone/>
              <a:defRPr/>
            </a:lvl4pPr>
            <a:lvl5pPr marL="714293" indent="0">
              <a:buNone/>
              <a:defRPr/>
            </a:lvl5pPr>
          </a:lstStyle>
          <a:p>
            <a:pPr lvl="0"/>
            <a:r>
              <a:rPr lang="en-US"/>
              <a:t>Click to edit Master text styles</a:t>
            </a:r>
          </a:p>
        </p:txBody>
      </p:sp>
      <p:sp>
        <p:nvSpPr>
          <p:cNvPr id="5" name="Rectangle 130"/>
          <p:cNvSpPr>
            <a:spLocks noGrp="1" noChangeArrowheads="1"/>
          </p:cNvSpPr>
          <p:nvPr>
            <p:ph type="sldNum" sz="quarter" idx="17"/>
          </p:nvPr>
        </p:nvSpPr>
        <p:spPr>
          <a:xfrm>
            <a:off x="8485555" y="6369050"/>
            <a:ext cx="3284415" cy="330200"/>
          </a:xfrm>
          <a:prstGeom prst="rect">
            <a:avLst/>
          </a:prstGeom>
        </p:spPr>
        <p:txBody>
          <a:bodyPr/>
          <a:lstStyle>
            <a:lvl1pPr>
              <a:defRPr/>
            </a:lvl1pPr>
          </a:lstStyle>
          <a:p>
            <a:pPr>
              <a:defRPr/>
            </a:pPr>
            <a:fld id="{942BC9CC-A23B-4382-9EFA-6C49D5D71CC9}" type="slidenum">
              <a:rPr lang="en-US"/>
              <a:pPr>
                <a:defRPr/>
              </a:pPr>
              <a:t>‹#›</a:t>
            </a:fld>
            <a:endParaRPr lang="en-US"/>
          </a:p>
        </p:txBody>
      </p:sp>
      <p:sp>
        <p:nvSpPr>
          <p:cNvPr id="7" name="Rectangle 131"/>
          <p:cNvSpPr>
            <a:spLocks noGrp="1" noChangeArrowheads="1"/>
          </p:cNvSpPr>
          <p:nvPr>
            <p:ph type="ftr" sz="quarter" idx="18"/>
          </p:nvPr>
        </p:nvSpPr>
        <p:spPr>
          <a:xfrm>
            <a:off x="427893" y="6381750"/>
            <a:ext cx="10173676" cy="236538"/>
          </a:xfrm>
          <a:prstGeom prst="rect">
            <a:avLst/>
          </a:prstGeom>
        </p:spPr>
        <p:txBody>
          <a:bodyPr/>
          <a:lstStyle>
            <a:lvl1pPr>
              <a:defRPr/>
            </a:lvl1pPr>
          </a:lstStyle>
          <a:p>
            <a:pPr>
              <a:defRPr/>
            </a:pPr>
            <a:r>
              <a:rPr lang="en-US"/>
              <a:t> </a:t>
            </a:r>
          </a:p>
        </p:txBody>
      </p:sp>
    </p:spTree>
    <p:extLst>
      <p:ext uri="{BB962C8B-B14F-4D97-AF65-F5344CB8AC3E}">
        <p14:creationId xmlns:p14="http://schemas.microsoft.com/office/powerpoint/2010/main" val="22146347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46" name="Logo Allianz Global Investors">
            <a:extLst>
              <a:ext uri="{C183D7F6-B498-43B3-948B-1728B52AA6E4}">
                <adec:decorative xmlns:adec="http://schemas.microsoft.com/office/drawing/2017/decorative" val="1"/>
              </a:ext>
            </a:extLst>
          </p:cNvPr>
          <p:cNvSpPr>
            <a:spLocks noChangeAspect="1" noEditPoints="1"/>
          </p:cNvSpPr>
          <p:nvPr userDrawn="1"/>
        </p:nvSpPr>
        <p:spPr bwMode="gray">
          <a:xfrm>
            <a:off x="402173" y="475753"/>
            <a:ext cx="2059200" cy="76068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tx2"/>
          </a:solidFill>
          <a:ln w="9525">
            <a:noFill/>
            <a:round/>
            <a:headEnd/>
            <a:tailEnd/>
          </a:ln>
        </p:spPr>
        <p:txBody>
          <a:bodyPr/>
          <a:lstStyle/>
          <a:p>
            <a:endParaRPr lang="en-GB" sz="1777" noProof="0" dirty="0">
              <a:solidFill>
                <a:schemeClr val="bg1"/>
              </a:solidFill>
              <a:latin typeface="Arial" panose="020B0604020202020204" pitchFamily="34" charset="0"/>
            </a:endParaRPr>
          </a:p>
        </p:txBody>
      </p:sp>
      <p:sp>
        <p:nvSpPr>
          <p:cNvPr id="10" name="Title">
            <a:extLst>
              <a:ext uri="{FF2B5EF4-FFF2-40B4-BE49-F238E27FC236}">
                <a16:creationId xmlns:a16="http://schemas.microsoft.com/office/drawing/2014/main" id="{E0648E12-7530-83E9-C7B5-C1574FFBA256}"/>
              </a:ext>
            </a:extLst>
          </p:cNvPr>
          <p:cNvSpPr>
            <a:spLocks noGrp="1"/>
          </p:cNvSpPr>
          <p:nvPr>
            <p:ph type="body" sz="quarter" idx="15" hasCustomPrompt="1"/>
          </p:nvPr>
        </p:nvSpPr>
        <p:spPr>
          <a:xfrm>
            <a:off x="402173" y="1861138"/>
            <a:ext cx="11368800" cy="2354491"/>
          </a:xfrm>
        </p:spPr>
        <p:txBody>
          <a:bodyPr wrap="square" anchor="b">
            <a:spAutoFit/>
          </a:bodyPr>
          <a:lstStyle>
            <a:lvl1pPr marL="0" indent="0">
              <a:lnSpc>
                <a:spcPct val="90000"/>
              </a:lnSpc>
              <a:spcBef>
                <a:spcPts val="0"/>
              </a:spcBef>
              <a:spcAft>
                <a:spcPts val="0"/>
              </a:spcAft>
              <a:buNone/>
              <a:tabLst/>
              <a:defRPr sz="8500">
                <a:solidFill>
                  <a:schemeClr val="tx2"/>
                </a:solidFill>
              </a:defRPr>
            </a:lvl1pPr>
          </a:lstStyle>
          <a:p>
            <a:pPr lvl="0"/>
            <a:r>
              <a:rPr lang="en-GB"/>
              <a:t>Mastertextformat bearbeiten</a:t>
            </a:r>
            <a:endParaRPr lang="en-GB" dirty="0"/>
          </a:p>
        </p:txBody>
      </p:sp>
      <p:sp>
        <p:nvSpPr>
          <p:cNvPr id="11" name="Subtitle">
            <a:extLst>
              <a:ext uri="{FF2B5EF4-FFF2-40B4-BE49-F238E27FC236}">
                <a16:creationId xmlns:a16="http://schemas.microsoft.com/office/drawing/2014/main" id="{81C62652-483B-608F-4D60-5089DDC03F61}"/>
              </a:ext>
            </a:extLst>
          </p:cNvPr>
          <p:cNvSpPr>
            <a:spLocks noGrp="1"/>
          </p:cNvSpPr>
          <p:nvPr>
            <p:ph type="body" sz="quarter" idx="16" hasCustomPrompt="1"/>
          </p:nvPr>
        </p:nvSpPr>
        <p:spPr>
          <a:xfrm>
            <a:off x="402174" y="4345515"/>
            <a:ext cx="11368800" cy="387798"/>
          </a:xfrm>
          <a:noFill/>
          <a:ln w="9525">
            <a:noFill/>
            <a:miter lim="800000"/>
            <a:headEnd/>
            <a:tailEnd/>
          </a:ln>
          <a:effectLst/>
        </p:spPr>
        <p:txBody>
          <a:bodyPr vert="horz" wrap="square" lIns="0" tIns="0" rIns="0" bIns="0" numCol="1" anchor="t" anchorCtr="0" compatLnSpc="1">
            <a:prstTxWarp prst="textNoShape">
              <a:avLst/>
            </a:prstTxWarp>
            <a:spAutoFit/>
          </a:bodyPr>
          <a:lstStyle>
            <a:lvl1pPr marL="0" indent="0">
              <a:buNone/>
              <a:tabLst/>
              <a:defRPr lang="de-DE" sz="2800" dirty="0">
                <a:solidFill>
                  <a:schemeClr val="tx2"/>
                </a:solidFill>
              </a:defRPr>
            </a:lvl1pPr>
          </a:lstStyle>
          <a:p>
            <a:pPr marL="180000" lvl="0" indent="-180000">
              <a:lnSpc>
                <a:spcPct val="90000"/>
              </a:lnSpc>
              <a:spcBef>
                <a:spcPts val="0"/>
              </a:spcBef>
              <a:spcAft>
                <a:spcPts val="0"/>
              </a:spcAft>
            </a:pPr>
            <a:r>
              <a:rPr lang="en-GB"/>
              <a:t>Subtitle</a:t>
            </a:r>
            <a:endParaRPr lang="en-GB" dirty="0"/>
          </a:p>
        </p:txBody>
      </p:sp>
      <p:sp>
        <p:nvSpPr>
          <p:cNvPr id="5" name="Author">
            <a:extLst>
              <a:ext uri="{FF2B5EF4-FFF2-40B4-BE49-F238E27FC236}">
                <a16:creationId xmlns:a16="http://schemas.microsoft.com/office/drawing/2014/main" id="{366EE4C0-C3CA-3724-D606-BC4570A3DE95}"/>
              </a:ext>
            </a:extLst>
          </p:cNvPr>
          <p:cNvSpPr>
            <a:spLocks noGrp="1"/>
          </p:cNvSpPr>
          <p:nvPr>
            <p:ph type="body" sz="quarter" idx="11" hasCustomPrompt="1"/>
          </p:nvPr>
        </p:nvSpPr>
        <p:spPr bwMode="gray">
          <a:xfrm>
            <a:off x="402173" y="6451095"/>
            <a:ext cx="2268755" cy="169277"/>
          </a:xfrm>
        </p:spPr>
        <p:txBody>
          <a:bodyPr wrap="square" anchor="b" anchorCtr="0">
            <a:spAutoFit/>
          </a:bodyPr>
          <a:lstStyle>
            <a:lvl1pPr marL="0" marR="0" indent="0" algn="l" defTabSz="1038977" rtl="0" eaLnBrk="1" fontAlgn="base" latinLnBrk="0" hangingPunct="1">
              <a:lnSpc>
                <a:spcPct val="100000"/>
              </a:lnSpc>
              <a:spcBef>
                <a:spcPts val="0"/>
              </a:spcBef>
              <a:spcAft>
                <a:spcPts val="0"/>
              </a:spcAft>
              <a:buClr>
                <a:schemeClr val="tx2"/>
              </a:buClr>
              <a:buSzTx/>
              <a:buFont typeface="Wingdings" pitchFamily="2" charset="2"/>
              <a:buNone/>
              <a:tabLst>
                <a:tab pos="207435" algn="l"/>
              </a:tabLst>
              <a:defRPr sz="1100" b="0" baseline="0">
                <a:solidFill>
                  <a:schemeClr val="tx2"/>
                </a:solidFill>
                <a:latin typeface="Arial" panose="020B0604020202020204" pitchFamily="34" charset="0"/>
              </a:defRPr>
            </a:lvl1pPr>
            <a:lvl2pPr marL="209239" indent="0">
              <a:buNone/>
              <a:defRPr/>
            </a:lvl2pPr>
            <a:lvl3pPr marL="364363" indent="0">
              <a:buNone/>
              <a:defRPr/>
            </a:lvl3pPr>
            <a:lvl4pPr marL="517684" indent="0">
              <a:buNone/>
              <a:defRPr/>
            </a:lvl4pPr>
            <a:lvl5pPr marL="624107" indent="0">
              <a:buNone/>
              <a:defRPr/>
            </a:lvl5pPr>
          </a:lstStyle>
          <a:p>
            <a:pPr lvl="0"/>
            <a:r>
              <a:rPr lang="en-GB" noProof="0" dirty="0"/>
              <a:t>Author</a:t>
            </a:r>
          </a:p>
        </p:txBody>
      </p:sp>
      <p:sp>
        <p:nvSpPr>
          <p:cNvPr id="2" name="Date">
            <a:extLst>
              <a:ext uri="{FF2B5EF4-FFF2-40B4-BE49-F238E27FC236}">
                <a16:creationId xmlns:a16="http://schemas.microsoft.com/office/drawing/2014/main" id="{EB1B268D-3305-0233-2A3E-A3C9E4345756}"/>
              </a:ext>
            </a:extLst>
          </p:cNvPr>
          <p:cNvSpPr>
            <a:spLocks noGrp="1"/>
          </p:cNvSpPr>
          <p:nvPr>
            <p:ph type="body" sz="quarter" idx="13" hasCustomPrompt="1"/>
          </p:nvPr>
        </p:nvSpPr>
        <p:spPr bwMode="gray">
          <a:xfrm>
            <a:off x="2818536" y="6451095"/>
            <a:ext cx="2340000" cy="169277"/>
          </a:xfrm>
        </p:spPr>
        <p:txBody>
          <a:bodyPr wrap="square" lIns="0" rIns="0" anchor="b">
            <a:spAutoFit/>
          </a:bodyPr>
          <a:lstStyle>
            <a:lvl1pPr marL="0" indent="0">
              <a:spcBef>
                <a:spcPts val="0"/>
              </a:spcBef>
              <a:spcAft>
                <a:spcPts val="0"/>
              </a:spcAft>
              <a:buNone/>
              <a:defRPr sz="1100">
                <a:solidFill>
                  <a:schemeClr val="tx2"/>
                </a:solidFill>
              </a:defRPr>
            </a:lvl1pPr>
          </a:lstStyle>
          <a:p>
            <a:pPr lvl="0"/>
            <a:r>
              <a:rPr lang="en-GB" noProof="0" dirty="0"/>
              <a:t>Date of the presentation</a:t>
            </a:r>
          </a:p>
        </p:txBody>
      </p:sp>
    </p:spTree>
    <p:extLst>
      <p:ext uri="{BB962C8B-B14F-4D97-AF65-F5344CB8AC3E}">
        <p14:creationId xmlns:p14="http://schemas.microsoft.com/office/powerpoint/2010/main" val="26398070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Slide with List">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53BF1947-BCB9-4D68-8D07-67AB42E77EFF}"/>
              </a:ext>
            </a:extLst>
          </p:cNvPr>
          <p:cNvSpPr>
            <a:spLocks noGrp="1"/>
          </p:cNvSpPr>
          <p:nvPr>
            <p:ph type="title" hasCustomPrompt="1"/>
          </p:nvPr>
        </p:nvSpPr>
        <p:spPr/>
        <p:txBody>
          <a:bodyPr/>
          <a:lstStyle/>
          <a:p>
            <a:r>
              <a:rPr lang="en-GB"/>
              <a:t>Mastertitelformat bearbeiten</a:t>
            </a:r>
            <a:endParaRPr lang="en-GB" dirty="0"/>
          </a:p>
        </p:txBody>
      </p:sp>
      <p:sp>
        <p:nvSpPr>
          <p:cNvPr id="4" name="Content"/>
          <p:cNvSpPr>
            <a:spLocks noGrp="1"/>
          </p:cNvSpPr>
          <p:nvPr>
            <p:ph sz="quarter" idx="21" hasCustomPrompt="1"/>
          </p:nvPr>
        </p:nvSpPr>
        <p:spPr bwMode="gray">
          <a:xfrm>
            <a:off x="398770" y="2368800"/>
            <a:ext cx="11369353" cy="3794400"/>
          </a:xfrm>
        </p:spPr>
        <p:txBody>
          <a:bodyPr/>
          <a:lstStyle>
            <a:lvl1pPr marL="405851" indent="-405851">
              <a:buFont typeface="+mj-lt"/>
              <a:buAutoNum type="arabicPeriod"/>
              <a:tabLst/>
              <a:defRPr/>
            </a:lvl1pPr>
          </a:lstStyle>
          <a:p>
            <a:pPr lvl="0"/>
            <a:r>
              <a:rPr lang="en-GB" noProof="0" dirty="0"/>
              <a:t>Subchapter title (12 </a:t>
            </a:r>
            <a:r>
              <a:rPr lang="en-GB" noProof="0" dirty="0" err="1"/>
              <a:t>pt</a:t>
            </a:r>
            <a:r>
              <a:rPr lang="en-GB" noProof="0" dirty="0"/>
              <a:t>)</a:t>
            </a:r>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p:txBody>
      </p:sp>
    </p:spTree>
    <p:extLst>
      <p:ext uri="{BB962C8B-B14F-4D97-AF65-F5344CB8AC3E}">
        <p14:creationId xmlns:p14="http://schemas.microsoft.com/office/powerpoint/2010/main" val="25077814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Introduc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FD293-6BC5-6D2F-150D-E72B82FF646B}"/>
              </a:ext>
            </a:extLst>
          </p:cNvPr>
          <p:cNvPicPr>
            <a:picLocks noChangeAspect="1"/>
          </p:cNvPicPr>
          <p:nvPr userDrawn="1"/>
        </p:nvPicPr>
        <p:blipFill>
          <a:blip r:embed="rId2"/>
          <a:stretch>
            <a:fillRect/>
          </a:stretch>
        </p:blipFill>
        <p:spPr>
          <a:xfrm>
            <a:off x="5142086" y="0"/>
            <a:ext cx="7044000" cy="4967286"/>
          </a:xfrm>
          <a:prstGeom prst="rect">
            <a:avLst/>
          </a:prstGeom>
        </p:spPr>
      </p:pic>
      <p:sp>
        <p:nvSpPr>
          <p:cNvPr id="9" name="Logo Allianz Global Investors">
            <a:extLst>
              <a:ext uri="{FF2B5EF4-FFF2-40B4-BE49-F238E27FC236}">
                <a16:creationId xmlns:a16="http://schemas.microsoft.com/office/drawing/2014/main" id="{45A6BDDA-1805-AC38-E5A4-749C6D04E064}"/>
              </a:ext>
              <a:ext uri="{C183D7F6-B498-43B3-948B-1728B52AA6E4}">
                <adec:decorative xmlns:adec="http://schemas.microsoft.com/office/drawing/2017/decorative" val="1"/>
              </a:ext>
            </a:extLst>
          </p:cNvPr>
          <p:cNvSpPr>
            <a:spLocks noChangeAspect="1" noEditPoints="1"/>
          </p:cNvSpPr>
          <p:nvPr userDrawn="1"/>
        </p:nvSpPr>
        <p:spPr bwMode="gray">
          <a:xfrm>
            <a:off x="10750523" y="261274"/>
            <a:ext cx="1017600" cy="375911"/>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bg1"/>
          </a:solidFill>
          <a:ln w="9525">
            <a:noFill/>
            <a:round/>
            <a:headEnd/>
            <a:tailEnd/>
          </a:ln>
        </p:spPr>
        <p:txBody>
          <a:bodyPr/>
          <a:lstStyle/>
          <a:p>
            <a:endParaRPr lang="en-GB" sz="1777" noProof="0" dirty="0">
              <a:latin typeface="Arial" panose="020B0604020202020204" pitchFamily="34" charset="0"/>
            </a:endParaRPr>
          </a:p>
        </p:txBody>
      </p:sp>
      <p:sp>
        <p:nvSpPr>
          <p:cNvPr id="2" name="Number">
            <a:extLst>
              <a:ext uri="{FF2B5EF4-FFF2-40B4-BE49-F238E27FC236}">
                <a16:creationId xmlns:a16="http://schemas.microsoft.com/office/drawing/2014/main" id="{18BAEDCC-6A69-47FD-66BC-D692B173A3F9}"/>
              </a:ext>
            </a:extLst>
          </p:cNvPr>
          <p:cNvSpPr>
            <a:spLocks noGrp="1"/>
          </p:cNvSpPr>
          <p:nvPr>
            <p:ph type="body" idx="1" hasCustomPrompt="1"/>
          </p:nvPr>
        </p:nvSpPr>
        <p:spPr bwMode="gray">
          <a:xfrm>
            <a:off x="400667" y="366523"/>
            <a:ext cx="4350272" cy="584775"/>
          </a:xfrm>
          <a:noFill/>
          <a:ln w="9525">
            <a:noFill/>
            <a:miter lim="800000"/>
            <a:headEnd/>
            <a:tailEnd/>
          </a:ln>
          <a:effectLst/>
        </p:spPr>
        <p:txBody>
          <a:bodyPr vert="horz" wrap="square" lIns="0" tIns="0" rIns="0" bIns="0" numCol="1" anchor="t" anchorCtr="0" compatLnSpc="1">
            <a:prstTxWarp prst="textNoShape">
              <a:avLst/>
            </a:prstTxWarp>
            <a:spAutoFit/>
          </a:bodyPr>
          <a:lstStyle>
            <a:lvl1pPr marL="0" indent="0">
              <a:buNone/>
              <a:defRPr lang="en-GB" sz="3800" b="0" strike="noStrike" kern="0" spc="0" noProof="0" dirty="0">
                <a:solidFill>
                  <a:schemeClr val="accent4"/>
                </a:solidFill>
              </a:defRPr>
            </a:lvl1pPr>
          </a:lstStyle>
          <a:p>
            <a:pPr marL="171450" lvl="0" indent="-171450" defTabSz="1038977">
              <a:spcBef>
                <a:spcPts val="0"/>
              </a:spcBef>
              <a:spcAft>
                <a:spcPct val="0"/>
              </a:spcAft>
              <a:buClrTx/>
              <a:tabLst>
                <a:tab pos="203827" algn="l"/>
              </a:tabLst>
            </a:pPr>
            <a:r>
              <a:rPr lang="en-GB" noProof="0" dirty="0"/>
              <a:t>01</a:t>
            </a:r>
          </a:p>
        </p:txBody>
      </p:sp>
      <p:sp>
        <p:nvSpPr>
          <p:cNvPr id="4" name="Subtitle">
            <a:extLst>
              <a:ext uri="{FF2B5EF4-FFF2-40B4-BE49-F238E27FC236}">
                <a16:creationId xmlns:a16="http://schemas.microsoft.com/office/drawing/2014/main" id="{1FF5FD7E-9482-9A2A-FD7E-0C7957A50D62}"/>
              </a:ext>
            </a:extLst>
          </p:cNvPr>
          <p:cNvSpPr>
            <a:spLocks noGrp="1"/>
          </p:cNvSpPr>
          <p:nvPr>
            <p:ph type="body" sz="quarter" idx="11" hasCustomPrompt="1"/>
          </p:nvPr>
        </p:nvSpPr>
        <p:spPr bwMode="gray">
          <a:xfrm>
            <a:off x="394677" y="4751842"/>
            <a:ext cx="4349711" cy="215444"/>
          </a:xfrm>
        </p:spPr>
        <p:txBody>
          <a:bodyPr anchor="b">
            <a:spAutoFit/>
          </a:bodyPr>
          <a:lstStyle>
            <a:lvl1pPr marL="0" indent="0">
              <a:spcBef>
                <a:spcPts val="0"/>
              </a:spcBef>
              <a:spcAft>
                <a:spcPts val="0"/>
              </a:spcAft>
              <a:buFont typeface="Arial" panose="020B0604020202020204" pitchFamily="34" charset="0"/>
              <a:buNone/>
              <a:defRPr sz="1400">
                <a:solidFill>
                  <a:schemeClr val="tx2"/>
                </a:solidFill>
              </a:defRPr>
            </a:lvl1pPr>
            <a:lvl2pPr marL="184150" indent="0">
              <a:buNone/>
              <a:defRPr/>
            </a:lvl2pPr>
            <a:lvl3pPr marL="360362" indent="0">
              <a:buNone/>
              <a:defRPr/>
            </a:lvl3pPr>
            <a:lvl4pPr marL="539750" indent="0">
              <a:buNone/>
              <a:defRPr/>
            </a:lvl4pPr>
            <a:lvl5pPr marL="720725" indent="0">
              <a:buNone/>
              <a:defRPr/>
            </a:lvl5pPr>
          </a:lstStyle>
          <a:p>
            <a:pPr lvl="0"/>
            <a:r>
              <a:rPr lang="en-GB" noProof="0" dirty="0"/>
              <a:t>Subtitle</a:t>
            </a:r>
          </a:p>
        </p:txBody>
      </p:sp>
      <p:sp>
        <p:nvSpPr>
          <p:cNvPr id="5" name="Title">
            <a:extLst>
              <a:ext uri="{FF2B5EF4-FFF2-40B4-BE49-F238E27FC236}">
                <a16:creationId xmlns:a16="http://schemas.microsoft.com/office/drawing/2014/main" id="{716249B5-5A2A-CF2B-A878-6F448EDABA2B}"/>
              </a:ext>
            </a:extLst>
          </p:cNvPr>
          <p:cNvSpPr>
            <a:spLocks noGrp="1"/>
          </p:cNvSpPr>
          <p:nvPr>
            <p:ph type="title" hasCustomPrompt="1"/>
          </p:nvPr>
        </p:nvSpPr>
        <p:spPr bwMode="gray">
          <a:xfrm>
            <a:off x="401228" y="1214067"/>
            <a:ext cx="4349711" cy="1828193"/>
          </a:xfrm>
          <a:noFill/>
          <a:ln w="9525">
            <a:noFill/>
            <a:miter lim="800000"/>
            <a:headEnd/>
            <a:tailEnd/>
          </a:ln>
          <a:effectLst/>
        </p:spPr>
        <p:txBody>
          <a:bodyPr vert="horz" wrap="square" lIns="0" tIns="0" rIns="0" bIns="0" numCol="1" anchor="t" anchorCtr="0" compatLnSpc="1">
            <a:prstTxWarp prst="textNoShape">
              <a:avLst/>
            </a:prstTxWarp>
          </a:bodyPr>
          <a:lstStyle>
            <a:lvl1pPr>
              <a:defRPr lang="en-GB" sz="4400" b="0" kern="1200" noProof="0" dirty="0">
                <a:solidFill>
                  <a:schemeClr val="tx2"/>
                </a:solidFill>
                <a:ea typeface="+mn-ea"/>
                <a:cs typeface="+mn-cs"/>
              </a:defRPr>
            </a:lvl1pPr>
          </a:lstStyle>
          <a:p>
            <a:pPr marL="0" lvl="0" indent="0">
              <a:lnSpc>
                <a:spcPct val="90000"/>
              </a:lnSpc>
              <a:buFont typeface="Wingdings" panose="05000000000000000000" pitchFamily="2" charset="2"/>
              <a:buNone/>
            </a:pPr>
            <a:r>
              <a:rPr lang="en-GB" noProof="0" dirty="0"/>
              <a:t>Name of chapter     </a:t>
            </a:r>
            <a:br>
              <a:rPr lang="en-GB" noProof="0" dirty="0"/>
            </a:br>
            <a:r>
              <a:rPr lang="en-GB" noProof="0" dirty="0"/>
              <a:t>(44 </a:t>
            </a:r>
            <a:r>
              <a:rPr lang="en-GB" noProof="0" dirty="0" err="1"/>
              <a:t>pt</a:t>
            </a:r>
            <a:r>
              <a:rPr lang="en-GB" noProof="0" dirty="0"/>
              <a:t>)</a:t>
            </a:r>
          </a:p>
        </p:txBody>
      </p:sp>
    </p:spTree>
    <p:extLst>
      <p:ext uri="{BB962C8B-B14F-4D97-AF65-F5344CB8AC3E}">
        <p14:creationId xmlns:p14="http://schemas.microsoft.com/office/powerpoint/2010/main" val="402227034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9" name="Logo Allianz Global Investors">
            <a:extLst>
              <a:ext uri="{C183D7F6-B498-43B3-948B-1728B52AA6E4}">
                <adec:decorative xmlns:adec="http://schemas.microsoft.com/office/drawing/2017/decorative" val="1"/>
              </a:ext>
            </a:extLst>
          </p:cNvPr>
          <p:cNvSpPr>
            <a:spLocks noChangeAspect="1" noEditPoints="1"/>
          </p:cNvSpPr>
          <p:nvPr/>
        </p:nvSpPr>
        <p:spPr bwMode="gray">
          <a:xfrm>
            <a:off x="10747126" y="261274"/>
            <a:ext cx="1017600" cy="375911"/>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chemeClr val="tx2"/>
          </a:solidFill>
          <a:ln w="9525">
            <a:noFill/>
            <a:round/>
            <a:headEnd/>
            <a:tailEnd/>
          </a:ln>
        </p:spPr>
        <p:txBody>
          <a:bodyPr/>
          <a:lstStyle/>
          <a:p>
            <a:endParaRPr lang="en-GB" sz="1777" noProof="0">
              <a:latin typeface="Arial" panose="020B0604020202020204" pitchFamily="34" charset="0"/>
            </a:endParaRPr>
          </a:p>
        </p:txBody>
      </p:sp>
      <p:sp>
        <p:nvSpPr>
          <p:cNvPr id="1026" name="Headline">
            <a:extLst>
              <a:ext uri="{C183D7F6-B498-43B3-948B-1728B52AA6E4}">
                <adec:decorative xmlns:adec="http://schemas.microsoft.com/office/drawing/2017/decorative" val="0"/>
              </a:ext>
            </a:extLst>
          </p:cNvPr>
          <p:cNvSpPr>
            <a:spLocks noGrp="1" noChangeArrowheads="1"/>
          </p:cNvSpPr>
          <p:nvPr>
            <p:ph type="title"/>
          </p:nvPr>
        </p:nvSpPr>
        <p:spPr bwMode="auto">
          <a:xfrm>
            <a:off x="395926" y="637185"/>
            <a:ext cx="9944006" cy="7915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Tutaj pojawia się główny nagłówek slajdu</a:t>
            </a:r>
            <a:br>
              <a:rPr lang="en-GB" noProof="0"/>
            </a:br>
            <a:r>
              <a:rPr lang="en-GB" noProof="0"/>
              <a:t>Drugi wiersz, jeśli jest wymagany</a:t>
            </a:r>
          </a:p>
        </p:txBody>
      </p:sp>
      <p:sp>
        <p:nvSpPr>
          <p:cNvPr id="1127" name="Content"/>
          <p:cNvSpPr>
            <a:spLocks noGrp="1" noChangeArrowheads="1"/>
          </p:cNvSpPr>
          <p:nvPr>
            <p:ph type="body" idx="1"/>
          </p:nvPr>
        </p:nvSpPr>
        <p:spPr bwMode="auto">
          <a:xfrm>
            <a:off x="395926" y="2368800"/>
            <a:ext cx="11368800" cy="3794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1. poziom (12 pkt)</a:t>
            </a:r>
          </a:p>
          <a:p>
            <a:pPr lvl="1"/>
            <a:r>
              <a:rPr lang="en-GB" noProof="0"/>
              <a:t>2. poziom</a:t>
            </a:r>
          </a:p>
          <a:p>
            <a:pPr lvl="2"/>
            <a:r>
              <a:rPr lang="en-GB" noProof="0"/>
              <a:t>3. poziom</a:t>
            </a:r>
          </a:p>
          <a:p>
            <a:pPr lvl="3"/>
            <a:r>
              <a:rPr lang="en-GB" noProof="0"/>
              <a:t>4. poziom</a:t>
            </a:r>
          </a:p>
          <a:p>
            <a:pPr lvl="4"/>
            <a:r>
              <a:rPr lang="en-GB" noProof="0"/>
              <a:t>5. poziom</a:t>
            </a:r>
          </a:p>
        </p:txBody>
      </p:sp>
      <p:sp>
        <p:nvSpPr>
          <p:cNvPr id="2" name="Slide number">
            <a:extLst>
              <a:ext uri="{C183D7F6-B498-43B3-948B-1728B52AA6E4}">
                <adec:decorative xmlns:adec="http://schemas.microsoft.com/office/drawing/2017/decorative" val="1"/>
              </a:ext>
            </a:extLst>
          </p:cNvPr>
          <p:cNvSpPr txBox="1"/>
          <p:nvPr/>
        </p:nvSpPr>
        <p:spPr>
          <a:xfrm>
            <a:off x="10268243" y="6526800"/>
            <a:ext cx="1496483" cy="84139"/>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t>‹#›</a:t>
            </a:fld>
            <a:endParaRPr lang="en-GB" sz="800" baseline="0" noProof="0">
              <a:solidFill>
                <a:schemeClr val="tx2"/>
              </a:solidFill>
              <a:latin typeface="Arial" panose="020B0604020202020204" pitchFamily="34" charset="0"/>
            </a:endParaRPr>
          </a:p>
        </p:txBody>
      </p:sp>
    </p:spTree>
    <p:extLst>
      <p:ext uri="{BB962C8B-B14F-4D97-AF65-F5344CB8AC3E}">
        <p14:creationId xmlns:p14="http://schemas.microsoft.com/office/powerpoint/2010/main" val="78644384"/>
      </p:ext>
    </p:extLst>
  </p:cSld>
  <p:clrMap bg1="lt1" tx1="dk1" bg2="lt2" tx2="dk2" accent1="accent1" accent2="accent2" accent3="accent3" accent4="accent4" accent5="accent5" accent6="accent6" hlink="hlink" folHlink="folHlink"/>
  <p:sldLayoutIdLst>
    <p:sldLayoutId id="2147483843" r:id="rId1"/>
    <p:sldLayoutId id="2147483849" r:id="rId2"/>
    <p:sldLayoutId id="2147483850" r:id="rId3"/>
    <p:sldLayoutId id="2147483875" r:id="rId4"/>
    <p:sldLayoutId id="2147483717" r:id="rId5"/>
    <p:sldLayoutId id="2147483872" r:id="rId6"/>
    <p:sldLayoutId id="2147483873" r:id="rId7"/>
    <p:sldLayoutId id="2147483672" r:id="rId8"/>
    <p:sldLayoutId id="2147483846" r:id="rId9"/>
    <p:sldLayoutId id="2147483852" r:id="rId10"/>
    <p:sldLayoutId id="2147483842" r:id="rId11"/>
    <p:sldLayoutId id="2147483712" r:id="rId12"/>
    <p:sldLayoutId id="2147483781" r:id="rId13"/>
    <p:sldLayoutId id="2147483853" r:id="rId14"/>
    <p:sldLayoutId id="2147483863" r:id="rId15"/>
    <p:sldLayoutId id="2147483794" r:id="rId16"/>
    <p:sldLayoutId id="2147483678" r:id="rId17"/>
    <p:sldLayoutId id="2147483679" r:id="rId18"/>
    <p:sldLayoutId id="2147483713" r:id="rId19"/>
    <p:sldLayoutId id="2147483682" r:id="rId20"/>
    <p:sldLayoutId id="2147483683" r:id="rId21"/>
    <p:sldLayoutId id="2147483685" r:id="rId22"/>
    <p:sldLayoutId id="2147483686" r:id="rId23"/>
    <p:sldLayoutId id="2147483687" r:id="rId24"/>
    <p:sldLayoutId id="2147483714" r:id="rId25"/>
    <p:sldLayoutId id="2147483689" r:id="rId26"/>
    <p:sldLayoutId id="2147483690" r:id="rId27"/>
    <p:sldLayoutId id="2147483691" r:id="rId28"/>
    <p:sldLayoutId id="2147483692" r:id="rId29"/>
    <p:sldLayoutId id="2147483715" r:id="rId30"/>
    <p:sldLayoutId id="2147483694" r:id="rId31"/>
    <p:sldLayoutId id="2147483695" r:id="rId32"/>
    <p:sldLayoutId id="2147483696" r:id="rId33"/>
    <p:sldLayoutId id="2147483697" r:id="rId34"/>
    <p:sldLayoutId id="2147483698" r:id="rId35"/>
    <p:sldLayoutId id="2147483782" r:id="rId36"/>
    <p:sldLayoutId id="2147483851" r:id="rId37"/>
    <p:sldLayoutId id="2147483867" r:id="rId38"/>
    <p:sldLayoutId id="2147483868" r:id="rId39"/>
    <p:sldLayoutId id="2147483786" r:id="rId40"/>
    <p:sldLayoutId id="2147483869" r:id="rId41"/>
    <p:sldLayoutId id="2147483870" r:id="rId42"/>
    <p:sldLayoutId id="2147483865" r:id="rId43"/>
    <p:sldLayoutId id="2147483791" r:id="rId44"/>
    <p:sldLayoutId id="2147483700" r:id="rId45"/>
    <p:sldLayoutId id="2147483701" r:id="rId46"/>
    <p:sldLayoutId id="2147483702" r:id="rId47"/>
    <p:sldLayoutId id="2147483703" r:id="rId48"/>
    <p:sldLayoutId id="2147483854" r:id="rId49"/>
    <p:sldLayoutId id="2147483864" r:id="rId50"/>
    <p:sldLayoutId id="2147483871" r:id="rId51"/>
    <p:sldLayoutId id="2147483876" r:id="rId52"/>
    <p:sldLayoutId id="2147483671" r:id="rId53"/>
    <p:sldLayoutId id="2147483709" r:id="rId54"/>
    <p:sldLayoutId id="2147483877" r:id="rId55"/>
    <p:sldLayoutId id="2147483879" r:id="rId56"/>
    <p:sldLayoutId id="2147483880" r:id="rId57"/>
    <p:sldLayoutId id="2147483881" r:id="rId58"/>
    <p:sldLayoutId id="2147483882" r:id="rId59"/>
    <p:sldLayoutId id="2147483883" r:id="rId60"/>
    <p:sldLayoutId id="2147483884" r:id="rId61"/>
  </p:sldLayoutIdLst>
  <p:hf hdr="0"/>
  <p:txStyles>
    <p:titleStyle>
      <a:lvl1pPr algn="l" rtl="0" eaLnBrk="1" fontAlgn="base" hangingPunct="1">
        <a:lnSpc>
          <a:spcPct val="90000"/>
        </a:lnSpc>
        <a:spcBef>
          <a:spcPct val="0"/>
        </a:spcBef>
        <a:spcAft>
          <a:spcPct val="0"/>
        </a:spcAft>
        <a:defRPr sz="2800" baseline="0">
          <a:solidFill>
            <a:schemeClr val="tx2"/>
          </a:solidFill>
          <a:latin typeface="Arial" panose="020B0604020202020204" pitchFamily="34" charset="0"/>
          <a:ea typeface="+mj-ea"/>
          <a:cs typeface="+mj-cs"/>
        </a:defRPr>
      </a:lvl1pPr>
      <a:lvl2pPr algn="l" rtl="0" eaLnBrk="1" fontAlgn="base" hangingPunct="1">
        <a:spcBef>
          <a:spcPct val="0"/>
        </a:spcBef>
        <a:spcAft>
          <a:spcPct val="0"/>
        </a:spcAft>
        <a:defRPr sz="2267">
          <a:solidFill>
            <a:schemeClr val="tx2"/>
          </a:solidFill>
          <a:latin typeface="Arial" charset="0"/>
        </a:defRPr>
      </a:lvl2pPr>
      <a:lvl3pPr algn="l" rtl="0" eaLnBrk="1" fontAlgn="base" hangingPunct="1">
        <a:spcBef>
          <a:spcPct val="0"/>
        </a:spcBef>
        <a:spcAft>
          <a:spcPct val="0"/>
        </a:spcAft>
        <a:defRPr sz="2267">
          <a:solidFill>
            <a:schemeClr val="tx2"/>
          </a:solidFill>
          <a:latin typeface="Arial" charset="0"/>
        </a:defRPr>
      </a:lvl3pPr>
      <a:lvl4pPr algn="l" rtl="0" eaLnBrk="1" fontAlgn="base" hangingPunct="1">
        <a:spcBef>
          <a:spcPct val="0"/>
        </a:spcBef>
        <a:spcAft>
          <a:spcPct val="0"/>
        </a:spcAft>
        <a:defRPr sz="2267">
          <a:solidFill>
            <a:schemeClr val="tx2"/>
          </a:solidFill>
          <a:latin typeface="Arial" charset="0"/>
        </a:defRPr>
      </a:lvl4pPr>
      <a:lvl5pPr algn="l" rtl="0" eaLnBrk="1" fontAlgn="base" hangingPunct="1">
        <a:spcBef>
          <a:spcPct val="0"/>
        </a:spcBef>
        <a:spcAft>
          <a:spcPct val="0"/>
        </a:spcAft>
        <a:defRPr sz="2267">
          <a:solidFill>
            <a:schemeClr val="tx2"/>
          </a:solidFill>
          <a:latin typeface="Arial" charset="0"/>
        </a:defRPr>
      </a:lvl5pPr>
      <a:lvl6pPr marL="519488" algn="l" rtl="0" eaLnBrk="1" fontAlgn="base" hangingPunct="1">
        <a:spcBef>
          <a:spcPct val="0"/>
        </a:spcBef>
        <a:spcAft>
          <a:spcPct val="0"/>
        </a:spcAft>
        <a:defRPr sz="2267">
          <a:solidFill>
            <a:schemeClr val="tx2"/>
          </a:solidFill>
          <a:latin typeface="Arial" charset="0"/>
        </a:defRPr>
      </a:lvl6pPr>
      <a:lvl7pPr marL="1038977" algn="l" rtl="0" eaLnBrk="1" fontAlgn="base" hangingPunct="1">
        <a:spcBef>
          <a:spcPct val="0"/>
        </a:spcBef>
        <a:spcAft>
          <a:spcPct val="0"/>
        </a:spcAft>
        <a:defRPr sz="2267">
          <a:solidFill>
            <a:schemeClr val="tx2"/>
          </a:solidFill>
          <a:latin typeface="Arial" charset="0"/>
        </a:defRPr>
      </a:lvl7pPr>
      <a:lvl8pPr marL="1558465" algn="l" rtl="0" eaLnBrk="1" fontAlgn="base" hangingPunct="1">
        <a:spcBef>
          <a:spcPct val="0"/>
        </a:spcBef>
        <a:spcAft>
          <a:spcPct val="0"/>
        </a:spcAft>
        <a:defRPr sz="2267">
          <a:solidFill>
            <a:schemeClr val="tx2"/>
          </a:solidFill>
          <a:latin typeface="Arial" charset="0"/>
        </a:defRPr>
      </a:lvl8pPr>
      <a:lvl9pPr marL="2077952" algn="l" rtl="0" eaLnBrk="1" fontAlgn="base" hangingPunct="1">
        <a:spcBef>
          <a:spcPct val="0"/>
        </a:spcBef>
        <a:spcAft>
          <a:spcPct val="0"/>
        </a:spcAft>
        <a:defRPr sz="2267">
          <a:solidFill>
            <a:schemeClr val="tx2"/>
          </a:solidFill>
          <a:latin typeface="Arial" charset="0"/>
        </a:defRPr>
      </a:lvl9pPr>
    </p:titleStyle>
    <p:bodyStyle>
      <a:lvl1pPr marL="180000" marR="0" indent="-180000" algn="l" defTabSz="1038977" rtl="0" eaLnBrk="1" fontAlgn="base" latinLnBrk="0" hangingPunct="1">
        <a:lnSpc>
          <a:spcPct val="100000"/>
        </a:lnSpc>
        <a:spcBef>
          <a:spcPts val="360"/>
        </a:spcBef>
        <a:spcAft>
          <a:spcPts val="360"/>
        </a:spcAft>
        <a:buClr>
          <a:schemeClr val="tx2"/>
        </a:buClr>
        <a:buSzTx/>
        <a:buFont typeface="Arial" panose="020B0604020202020204" pitchFamily="34" charset="0"/>
        <a:buChar char="•"/>
        <a:tabLst>
          <a:tab pos="203827" algn="l"/>
        </a:tabLst>
        <a:defRPr sz="1200" baseline="0">
          <a:solidFill>
            <a:schemeClr val="tx2"/>
          </a:solidFill>
          <a:latin typeface="Arial" panose="020B0604020202020204" pitchFamily="34" charset="0"/>
          <a:ea typeface="+mn-ea"/>
          <a:cs typeface="+mn-cs"/>
        </a:defRPr>
      </a:lvl1pPr>
      <a:lvl2pPr marL="36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2pPr>
      <a:lvl3pPr marL="54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3pPr>
      <a:lvl4pPr marL="72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4pPr>
      <a:lvl5pPr marL="90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5pPr>
      <a:lvl6pPr marL="1289702"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6pPr>
      <a:lvl7pPr marL="1809191"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7pPr>
      <a:lvl8pPr marL="2328678"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8pPr>
      <a:lvl9pPr marL="2848166"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9pPr>
    </p:bodyStyle>
    <p:otherStyle>
      <a:defPPr>
        <a:defRPr lang="en-US"/>
      </a:defPPr>
      <a:lvl1pPr marL="0" algn="l" defTabSz="1038977" rtl="0" eaLnBrk="1" fontAlgn="b" latinLnBrk="0" hangingPunct="1">
        <a:defRPr sz="1333" kern="1200">
          <a:solidFill>
            <a:schemeClr val="tx1"/>
          </a:solidFill>
          <a:latin typeface="+mn-lt"/>
          <a:ea typeface="+mn-ea"/>
          <a:cs typeface="+mn-cs"/>
        </a:defRPr>
      </a:lvl1pPr>
      <a:lvl2pPr marL="0" algn="l" defTabSz="1038977" rtl="0" eaLnBrk="1" latinLnBrk="0" hangingPunct="1">
        <a:defRPr sz="1333" kern="1200">
          <a:solidFill>
            <a:schemeClr val="tx1"/>
          </a:solidFill>
          <a:latin typeface="+mn-lt"/>
          <a:ea typeface="+mn-ea"/>
          <a:cs typeface="+mn-cs"/>
        </a:defRPr>
      </a:lvl2pPr>
      <a:lvl3pPr marL="1038977" algn="l" defTabSz="1038977" rtl="0" eaLnBrk="1" latinLnBrk="0" hangingPunct="1">
        <a:defRPr sz="2000" kern="1200">
          <a:solidFill>
            <a:schemeClr val="tx1"/>
          </a:solidFill>
          <a:latin typeface="+mn-lt"/>
          <a:ea typeface="+mn-ea"/>
          <a:cs typeface="+mn-cs"/>
        </a:defRPr>
      </a:lvl3pPr>
      <a:lvl4pPr marL="1558465" algn="l" defTabSz="1038977" rtl="0" eaLnBrk="1" latinLnBrk="0" hangingPunct="1">
        <a:defRPr sz="2000" kern="1200">
          <a:solidFill>
            <a:schemeClr val="tx1"/>
          </a:solidFill>
          <a:latin typeface="+mn-lt"/>
          <a:ea typeface="+mn-ea"/>
          <a:cs typeface="+mn-cs"/>
        </a:defRPr>
      </a:lvl4pPr>
      <a:lvl5pPr marL="2077952" algn="l" defTabSz="1038977" rtl="0" eaLnBrk="1" latinLnBrk="0" hangingPunct="1">
        <a:defRPr sz="2000" kern="1200">
          <a:solidFill>
            <a:schemeClr val="tx1"/>
          </a:solidFill>
          <a:latin typeface="+mn-lt"/>
          <a:ea typeface="+mn-ea"/>
          <a:cs typeface="+mn-cs"/>
        </a:defRPr>
      </a:lvl5pPr>
      <a:lvl6pPr marL="2597440" algn="l" defTabSz="1038977" rtl="0" eaLnBrk="1" latinLnBrk="0" hangingPunct="1">
        <a:defRPr sz="2000" kern="1200">
          <a:solidFill>
            <a:schemeClr val="tx1"/>
          </a:solidFill>
          <a:latin typeface="+mn-lt"/>
          <a:ea typeface="+mn-ea"/>
          <a:cs typeface="+mn-cs"/>
        </a:defRPr>
      </a:lvl6pPr>
      <a:lvl7pPr marL="3116929" algn="l" defTabSz="1038977" rtl="0" eaLnBrk="1" latinLnBrk="0" hangingPunct="1">
        <a:defRPr sz="2000" kern="1200">
          <a:solidFill>
            <a:schemeClr val="tx1"/>
          </a:solidFill>
          <a:latin typeface="+mn-lt"/>
          <a:ea typeface="+mn-ea"/>
          <a:cs typeface="+mn-cs"/>
        </a:defRPr>
      </a:lvl7pPr>
      <a:lvl8pPr marL="3636417" algn="l" defTabSz="1038977" rtl="0" eaLnBrk="1" latinLnBrk="0" hangingPunct="1">
        <a:defRPr sz="2000" kern="1200">
          <a:solidFill>
            <a:schemeClr val="tx1"/>
          </a:solidFill>
          <a:latin typeface="+mn-lt"/>
          <a:ea typeface="+mn-ea"/>
          <a:cs typeface="+mn-cs"/>
        </a:defRPr>
      </a:lvl8pPr>
      <a:lvl9pPr marL="4155905" algn="l" defTabSz="103897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417" userDrawn="1">
          <p15:clr>
            <a:srgbClr val="F26B43"/>
          </p15:clr>
        </p15:guide>
        <p15:guide id="6" orient="horz" pos="300" userDrawn="1">
          <p15:clr>
            <a:srgbClr val="F26B43"/>
          </p15:clr>
        </p15:guide>
        <p15:guide id="7" orient="horz" pos="1490" userDrawn="1">
          <p15:clr>
            <a:srgbClr val="F26B43"/>
          </p15:clr>
        </p15:guide>
        <p15:guide id="10" orient="horz" pos="3888" userDrawn="1">
          <p15:clr>
            <a:srgbClr val="F26B43"/>
          </p15:clr>
        </p15:guide>
        <p15:guide id="12" pos="1936" userDrawn="1">
          <p15:clr>
            <a:srgbClr val="F26B43"/>
          </p15:clr>
        </p15:guide>
        <p15:guide id="13" pos="2072" userDrawn="1">
          <p15:clr>
            <a:srgbClr val="F26B43"/>
          </p15:clr>
        </p15:guide>
        <p15:guide id="14" pos="3760" userDrawn="1">
          <p15:clr>
            <a:srgbClr val="F26B43"/>
          </p15:clr>
        </p15:guide>
        <p15:guide id="15" pos="3896" userDrawn="1">
          <p15:clr>
            <a:srgbClr val="F26B43"/>
          </p15:clr>
        </p15:guide>
        <p15:guide id="16" pos="5584" userDrawn="1">
          <p15:clr>
            <a:srgbClr val="F26B43"/>
          </p15:clr>
        </p15:guide>
        <p15:guide id="17" pos="5736" userDrawn="1">
          <p15:clr>
            <a:srgbClr val="F26B43"/>
          </p15:clr>
        </p15:guide>
        <p15:guide id="18" orient="horz" pos="396" userDrawn="1">
          <p15:clr>
            <a:srgbClr val="F26B43"/>
          </p15:clr>
        </p15:guide>
        <p15:guide id="19" orient="horz" pos="1002" userDrawn="1">
          <p15:clr>
            <a:srgbClr val="F26B43"/>
          </p15:clr>
        </p15:guide>
        <p15:guide id="20" orient="horz" pos="1321" userDrawn="1">
          <p15:clr>
            <a:srgbClr val="F26B43"/>
          </p15:clr>
        </p15:guide>
        <p15:guide id="21" pos="246" userDrawn="1">
          <p15:clr>
            <a:srgbClr val="F26B43"/>
          </p15:clr>
        </p15:guide>
        <p15:guide id="22" orient="horz" pos="415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4.tmp"/><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21.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27.xml"/><Relationship Id="rId5" Type="http://schemas.openxmlformats.org/officeDocument/2006/relationships/image" Target="../media/image30.jpeg"/><Relationship Id="rId4" Type="http://schemas.openxmlformats.org/officeDocument/2006/relationships/image" Target="../media/image29.jpe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1.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21.xml"/><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5.tmp"/><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oleObject" Target="file:///\\mm_cluster\DIT_ResearchEuS\GCMTR\Pr&#228;sentationen\Chartlibrary\Input\Flickenteppich\Flickenteppich_NEU.xlsm!Aktien%20EUR%20&amp;%20USD!R78C4:R89C21" TargetMode="External"/><Relationship Id="rId2" Type="http://schemas.openxmlformats.org/officeDocument/2006/relationships/notesSlide" Target="../notesSlides/notesSlide21.xml"/><Relationship Id="rId1" Type="http://schemas.openxmlformats.org/officeDocument/2006/relationships/slideLayout" Target="../slideLayouts/slideLayout18.xml"/><Relationship Id="rId4" Type="http://schemas.openxmlformats.org/officeDocument/2006/relationships/image" Target="../media/image48.emf"/></Relationships>
</file>

<file path=ppt/slides/_rels/slide22.xml.rels><?xml version="1.0" encoding="UTF-8" standalone="yes"?>
<Relationships xmlns="http://schemas.openxmlformats.org/package/2006/relationships"><Relationship Id="rId3" Type="http://schemas.openxmlformats.org/officeDocument/2006/relationships/image" Target="../media/image49.tmp"/><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35.xml"/><Relationship Id="rId4" Type="http://schemas.openxmlformats.org/officeDocument/2006/relationships/chart" Target="../charts/char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hyperlink" Target="https://www.allianzglobalinvestors.de/MDBWS/doc/AllianzGI_Multi_Asset_comeback_A4_ENG_0324.pdf?2504b6dfbe17ee24de2fc78150c957c2c1c075db" TargetMode="External"/><Relationship Id="rId7" Type="http://schemas.openxmlformats.org/officeDocument/2006/relationships/hyperlink" Target="http://www.allianzglobalinvestors.de/MDBWS/doc/The-7-habits-of-successful-investors.pdf?8e73594db59f34728a1069f81c2f1536feb1add1webweb" TargetMode="External"/><Relationship Id="rId2" Type="http://schemas.openxmlformats.org/officeDocument/2006/relationships/notesSlide" Target="../notesSlides/notesSlide24.xml"/><Relationship Id="rId1" Type="http://schemas.openxmlformats.org/officeDocument/2006/relationships/slideLayout" Target="../slideLayouts/slideLayout19.xml"/><Relationship Id="rId6" Type="http://schemas.openxmlformats.org/officeDocument/2006/relationships/image" Target="../media/image51.png"/><Relationship Id="rId5" Type="http://schemas.openxmlformats.org/officeDocument/2006/relationships/hyperlink" Target="https://www.allianzglobalinvestors.de/MDBWS/doc/BeFiOutsmartYourself.pdf?76745bd8cf9043efbc0a180cf9ce71f847abbba9" TargetMode="External"/><Relationship Id="rId10" Type="http://schemas.openxmlformats.org/officeDocument/2006/relationships/image" Target="../media/image53.png"/><Relationship Id="rId4" Type="http://schemas.openxmlformats.org/officeDocument/2006/relationships/image" Target="../media/image50.png"/><Relationship Id="rId9" Type="http://schemas.openxmlformats.org/officeDocument/2006/relationships/hyperlink" Target="https://www.allianzglobalinvestors.de/MDBWS/doc/23-27_AllianzGI_Dividendenstudie_Auflage-12_A4_EN_0124_V03_Bogen.pdf?dd3822b5f6faba74c0c44d334655094007bb5a0a"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1FF547-E5AA-0E4C-371C-C688E5AA9F03}"/>
              </a:ext>
            </a:extLst>
          </p:cNvPr>
          <p:cNvSpPr>
            <a:spLocks noGrp="1"/>
          </p:cNvSpPr>
          <p:nvPr>
            <p:ph type="body" sz="quarter" idx="11"/>
          </p:nvPr>
        </p:nvSpPr>
        <p:spPr>
          <a:xfrm>
            <a:off x="394677" y="4348596"/>
            <a:ext cx="3567723" cy="646331"/>
          </a:xfrm>
        </p:spPr>
        <p:txBody>
          <a:bodyPr/>
          <a:lstStyle/>
          <a:p>
            <a:r>
              <a:rPr lang="en-US" b="1" dirty="0"/>
              <a:t>Dr Hans-Jörg Naumer</a:t>
            </a:r>
            <a:br>
              <a:rPr lang="en-US" dirty="0"/>
            </a:br>
            <a:r>
              <a:rPr lang="en-US" dirty="0"/>
              <a:t>Dyrektor ds. globalnych rynków kapitałowych i badań tematycznych</a:t>
            </a:r>
          </a:p>
        </p:txBody>
      </p:sp>
      <p:sp>
        <p:nvSpPr>
          <p:cNvPr id="9" name="Title 8">
            <a:extLst>
              <a:ext uri="{FF2B5EF4-FFF2-40B4-BE49-F238E27FC236}">
                <a16:creationId xmlns:a16="http://schemas.microsoft.com/office/drawing/2014/main" id="{0C1CA734-4A4B-4FC3-1428-B92A299BF0A8}"/>
              </a:ext>
            </a:extLst>
          </p:cNvPr>
          <p:cNvSpPr>
            <a:spLocks noGrp="1"/>
          </p:cNvSpPr>
          <p:nvPr>
            <p:ph type="title"/>
          </p:nvPr>
        </p:nvSpPr>
        <p:spPr/>
        <p:txBody>
          <a:bodyPr/>
          <a:lstStyle/>
          <a:p>
            <a:r>
              <a:rPr lang="en-US" sz="4400" dirty="0"/>
              <a:t>Przechytrzyć</a:t>
            </a:r>
            <a:br>
              <a:rPr lang="en-US" sz="4400" dirty="0"/>
            </a:br>
            <a:r>
              <a:rPr lang="en-US" sz="4400" dirty="0"/>
              <a:t>siebie</a:t>
            </a:r>
          </a:p>
        </p:txBody>
      </p:sp>
      <p:sp>
        <p:nvSpPr>
          <p:cNvPr id="11" name="TextBox 10">
            <a:extLst>
              <a:ext uri="{FF2B5EF4-FFF2-40B4-BE49-F238E27FC236}">
                <a16:creationId xmlns:a16="http://schemas.microsoft.com/office/drawing/2014/main" id="{235CC0B1-4BA4-546F-9F09-2F99B79D7E6D}"/>
              </a:ext>
            </a:extLst>
          </p:cNvPr>
          <p:cNvSpPr txBox="1"/>
          <p:nvPr/>
        </p:nvSpPr>
        <p:spPr>
          <a:xfrm>
            <a:off x="394677" y="6219253"/>
            <a:ext cx="6094428" cy="297454"/>
          </a:xfrm>
          <a:prstGeom prst="rect">
            <a:avLst/>
          </a:prstGeom>
          <a:noFill/>
        </p:spPr>
        <p:txBody>
          <a:bodyPr wrap="square">
            <a:spAutoFit/>
          </a:bodyPr>
          <a:lstStyle/>
          <a:p>
            <a:r>
              <a:rPr lang="pl-PL" dirty="0"/>
              <a:t>15 październik</a:t>
            </a:r>
            <a:r>
              <a:rPr lang="de-DE" dirty="0"/>
              <a:t> 2024 r.</a:t>
            </a:r>
          </a:p>
        </p:txBody>
      </p:sp>
      <p:sp>
        <p:nvSpPr>
          <p:cNvPr id="2" name="pole tekstowe 1">
            <a:extLst>
              <a:ext uri="{FF2B5EF4-FFF2-40B4-BE49-F238E27FC236}">
                <a16:creationId xmlns:a16="http://schemas.microsoft.com/office/drawing/2014/main" id="{C7445BDC-CA86-0C64-0195-7F69988232F8}"/>
              </a:ext>
            </a:extLst>
          </p:cNvPr>
          <p:cNvSpPr txBox="1"/>
          <p:nvPr/>
        </p:nvSpPr>
        <p:spPr>
          <a:xfrm>
            <a:off x="477599" y="5725499"/>
            <a:ext cx="4943475" cy="266700"/>
          </a:xfrm>
          <a:prstGeom prst="rect">
            <a:avLst/>
          </a:prstGeom>
          <a:noFill/>
        </p:spPr>
        <p:txBody>
          <a:bodyPr wrap="square" lIns="0" tIns="0" rIns="0" bIns="0" rtlCol="0" anchor="t" anchorCtr="0">
            <a:noAutofit/>
          </a:bodyPr>
          <a:lstStyle/>
          <a:p>
            <a:pPr algn="l"/>
            <a:r>
              <a:rPr lang="pl-PL" sz="1600" dirty="0">
                <a:solidFill>
                  <a:srgbClr val="FF0000"/>
                </a:solidFill>
              </a:rPr>
              <a:t>Materiał WYŁĄCZNIE dla Agentów TFI Allianz Polska.</a:t>
            </a:r>
          </a:p>
        </p:txBody>
      </p:sp>
    </p:spTree>
    <p:extLst>
      <p:ext uri="{BB962C8B-B14F-4D97-AF65-F5344CB8AC3E}">
        <p14:creationId xmlns:p14="http://schemas.microsoft.com/office/powerpoint/2010/main" val="8834407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2"/>
          <p:cNvSpPr>
            <a:spLocks noChangeArrowheads="1"/>
          </p:cNvSpPr>
          <p:nvPr/>
        </p:nvSpPr>
        <p:spPr bwMode="auto">
          <a:xfrm>
            <a:off x="1462089" y="636588"/>
            <a:ext cx="7850187"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Bef>
                <a:spcPct val="0"/>
              </a:spcBef>
              <a:buClrTx/>
              <a:buFontTx/>
              <a:buNone/>
            </a:pPr>
            <a:endParaRPr lang="de-DE" altLang="de-DE" sz="2200" dirty="0">
              <a:solidFill>
                <a:schemeClr val="tx2"/>
              </a:solidFill>
            </a:endParaRPr>
          </a:p>
        </p:txBody>
      </p:sp>
      <p:sp>
        <p:nvSpPr>
          <p:cNvPr id="48132" name="Text Box 3"/>
          <p:cNvSpPr txBox="1">
            <a:spLocks noChangeArrowheads="1"/>
          </p:cNvSpPr>
          <p:nvPr/>
        </p:nvSpPr>
        <p:spPr bwMode="auto">
          <a:xfrm>
            <a:off x="1441451" y="6510339"/>
            <a:ext cx="8537575" cy="1111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74625" indent="-174625"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lnSpc>
                <a:spcPct val="90000"/>
              </a:lnSpc>
              <a:spcBef>
                <a:spcPct val="0"/>
              </a:spcBef>
              <a:buClrTx/>
              <a:buFontTx/>
              <a:buNone/>
            </a:pPr>
            <a:r>
              <a:rPr lang="de-DE" altLang="de-DE" sz="800"/>
              <a:t> Źródło: Andrew W. Lo "The Adaptive Markets Hypothesis", 2005; Ilustracja: AllianzGI GlobalCapital Market &amp; Thematic Research</a:t>
            </a:r>
          </a:p>
        </p:txBody>
      </p:sp>
      <p:pic>
        <p:nvPicPr>
          <p:cNvPr id="48133" name="Picture 7" descr="schaubild2_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9395" y="1083882"/>
            <a:ext cx="8421686" cy="439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8134" name="Gruppieren 8"/>
          <p:cNvGrpSpPr>
            <a:grpSpLocks/>
          </p:cNvGrpSpPr>
          <p:nvPr/>
        </p:nvGrpSpPr>
        <p:grpSpPr bwMode="auto">
          <a:xfrm>
            <a:off x="1490664" y="5784850"/>
            <a:ext cx="9210675" cy="522288"/>
            <a:chOff x="347663" y="5637540"/>
            <a:chExt cx="9210675" cy="523220"/>
          </a:xfrm>
        </p:grpSpPr>
        <p:grpSp>
          <p:nvGrpSpPr>
            <p:cNvPr id="48135" name="Gruppieren 9"/>
            <p:cNvGrpSpPr>
              <a:grpSpLocks/>
            </p:cNvGrpSpPr>
            <p:nvPr/>
          </p:nvGrpSpPr>
          <p:grpSpPr bwMode="auto">
            <a:xfrm>
              <a:off x="347663" y="5637541"/>
              <a:ext cx="704851" cy="523219"/>
              <a:chOff x="347663" y="5672138"/>
              <a:chExt cx="704851" cy="454025"/>
            </a:xfrm>
          </p:grpSpPr>
          <p:sp>
            <p:nvSpPr>
              <p:cNvPr id="48137" name="Freeform 6"/>
              <p:cNvSpPr>
                <a:spLocks/>
              </p:cNvSpPr>
              <p:nvPr/>
            </p:nvSpPr>
            <p:spPr bwMode="auto">
              <a:xfrm>
                <a:off x="347663" y="5672138"/>
                <a:ext cx="233363" cy="454025"/>
              </a:xfrm>
              <a:custGeom>
                <a:avLst/>
                <a:gdLst>
                  <a:gd name="T0" fmla="*/ 0 w 136"/>
                  <a:gd name="T1" fmla="*/ 0 h 286"/>
                  <a:gd name="T2" fmla="*/ 2147483647 w 136"/>
                  <a:gd name="T3" fmla="*/ 2147483647 h 286"/>
                  <a:gd name="T4" fmla="*/ 0 w 136"/>
                  <a:gd name="T5" fmla="*/ 2147483647 h 286"/>
                  <a:gd name="T6" fmla="*/ 2147483647 w 136"/>
                  <a:gd name="T7" fmla="*/ 2147483647 h 286"/>
                  <a:gd name="T8" fmla="*/ 2147483647 w 136"/>
                  <a:gd name="T9" fmla="*/ 2147483647 h 286"/>
                  <a:gd name="T10" fmla="*/ 2147483647 w 136"/>
                  <a:gd name="T11" fmla="*/ 0 h 286"/>
                  <a:gd name="T12" fmla="*/ 0 w 136"/>
                  <a:gd name="T13" fmla="*/ 0 h 28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 h="286">
                    <a:moveTo>
                      <a:pt x="0" y="0"/>
                    </a:moveTo>
                    <a:lnTo>
                      <a:pt x="68" y="144"/>
                    </a:lnTo>
                    <a:lnTo>
                      <a:pt x="0" y="286"/>
                    </a:lnTo>
                    <a:lnTo>
                      <a:pt x="68" y="286"/>
                    </a:lnTo>
                    <a:lnTo>
                      <a:pt x="136" y="144"/>
                    </a:lnTo>
                    <a:lnTo>
                      <a:pt x="68"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138" name="Freeform 7"/>
              <p:cNvSpPr>
                <a:spLocks/>
              </p:cNvSpPr>
              <p:nvPr/>
            </p:nvSpPr>
            <p:spPr bwMode="auto">
              <a:xfrm>
                <a:off x="581026" y="5672138"/>
                <a:ext cx="238125" cy="454025"/>
              </a:xfrm>
              <a:custGeom>
                <a:avLst/>
                <a:gdLst>
                  <a:gd name="T0" fmla="*/ 0 w 138"/>
                  <a:gd name="T1" fmla="*/ 0 h 286"/>
                  <a:gd name="T2" fmla="*/ 2147483647 w 138"/>
                  <a:gd name="T3" fmla="*/ 2147483647 h 286"/>
                  <a:gd name="T4" fmla="*/ 0 w 138"/>
                  <a:gd name="T5" fmla="*/ 2147483647 h 286"/>
                  <a:gd name="T6" fmla="*/ 2147483647 w 138"/>
                  <a:gd name="T7" fmla="*/ 2147483647 h 286"/>
                  <a:gd name="T8" fmla="*/ 2147483647 w 138"/>
                  <a:gd name="T9" fmla="*/ 2147483647 h 286"/>
                  <a:gd name="T10" fmla="*/ 2147483647 w 138"/>
                  <a:gd name="T11" fmla="*/ 0 h 286"/>
                  <a:gd name="T12" fmla="*/ 0 w 138"/>
                  <a:gd name="T13" fmla="*/ 0 h 28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8" h="286">
                    <a:moveTo>
                      <a:pt x="0" y="0"/>
                    </a:moveTo>
                    <a:lnTo>
                      <a:pt x="68" y="144"/>
                    </a:lnTo>
                    <a:lnTo>
                      <a:pt x="0" y="286"/>
                    </a:lnTo>
                    <a:lnTo>
                      <a:pt x="70" y="286"/>
                    </a:lnTo>
                    <a:lnTo>
                      <a:pt x="138" y="144"/>
                    </a:lnTo>
                    <a:lnTo>
                      <a:pt x="7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139" name="Freeform 8"/>
              <p:cNvSpPr>
                <a:spLocks/>
              </p:cNvSpPr>
              <p:nvPr/>
            </p:nvSpPr>
            <p:spPr bwMode="auto">
              <a:xfrm>
                <a:off x="819151" y="5672138"/>
                <a:ext cx="233363" cy="454025"/>
              </a:xfrm>
              <a:custGeom>
                <a:avLst/>
                <a:gdLst>
                  <a:gd name="T0" fmla="*/ 0 w 136"/>
                  <a:gd name="T1" fmla="*/ 0 h 286"/>
                  <a:gd name="T2" fmla="*/ 2147483647 w 136"/>
                  <a:gd name="T3" fmla="*/ 2147483647 h 286"/>
                  <a:gd name="T4" fmla="*/ 0 w 136"/>
                  <a:gd name="T5" fmla="*/ 2147483647 h 286"/>
                  <a:gd name="T6" fmla="*/ 2147483647 w 136"/>
                  <a:gd name="T7" fmla="*/ 2147483647 h 286"/>
                  <a:gd name="T8" fmla="*/ 2147483647 w 136"/>
                  <a:gd name="T9" fmla="*/ 2147483647 h 286"/>
                  <a:gd name="T10" fmla="*/ 2147483647 w 136"/>
                  <a:gd name="T11" fmla="*/ 0 h 286"/>
                  <a:gd name="T12" fmla="*/ 0 w 136"/>
                  <a:gd name="T13" fmla="*/ 0 h 28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 h="286">
                    <a:moveTo>
                      <a:pt x="0" y="0"/>
                    </a:moveTo>
                    <a:lnTo>
                      <a:pt x="68" y="144"/>
                    </a:lnTo>
                    <a:lnTo>
                      <a:pt x="0" y="286"/>
                    </a:lnTo>
                    <a:lnTo>
                      <a:pt x="68" y="286"/>
                    </a:lnTo>
                    <a:lnTo>
                      <a:pt x="136" y="144"/>
                    </a:lnTo>
                    <a:lnTo>
                      <a:pt x="68"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48136" name="Freeform 9"/>
            <p:cNvSpPr>
              <a:spLocks/>
            </p:cNvSpPr>
            <p:nvPr/>
          </p:nvSpPr>
          <p:spPr bwMode="auto">
            <a:xfrm>
              <a:off x="1055688" y="5637540"/>
              <a:ext cx="8502650" cy="523220"/>
            </a:xfrm>
            <a:custGeom>
              <a:avLst/>
              <a:gdLst>
                <a:gd name="T0" fmla="*/ 0 w 4942"/>
                <a:gd name="T1" fmla="*/ 0 h 286"/>
                <a:gd name="T2" fmla="*/ 2147483647 w 4942"/>
                <a:gd name="T3" fmla="*/ 2147483647 h 286"/>
                <a:gd name="T4" fmla="*/ 0 w 4942"/>
                <a:gd name="T5" fmla="*/ 2147483647 h 286"/>
                <a:gd name="T6" fmla="*/ 2147483647 w 4942"/>
                <a:gd name="T7" fmla="*/ 2147483647 h 286"/>
                <a:gd name="T8" fmla="*/ 2147483647 w 4942"/>
                <a:gd name="T9" fmla="*/ 0 h 286"/>
                <a:gd name="T10" fmla="*/ 0 w 4942"/>
                <a:gd name="T11" fmla="*/ 0 h 286"/>
                <a:gd name="T12" fmla="*/ 0 60000 65536"/>
                <a:gd name="T13" fmla="*/ 0 60000 65536"/>
                <a:gd name="T14" fmla="*/ 0 60000 65536"/>
                <a:gd name="T15" fmla="*/ 0 60000 65536"/>
                <a:gd name="T16" fmla="*/ 0 60000 65536"/>
                <a:gd name="T17" fmla="*/ 0 60000 65536"/>
                <a:gd name="T18" fmla="*/ 0 w 4942"/>
                <a:gd name="T19" fmla="*/ 0 h 286"/>
                <a:gd name="T20" fmla="*/ 4942 w 4942"/>
                <a:gd name="T21" fmla="*/ 286 h 286"/>
              </a:gdLst>
              <a:ahLst/>
              <a:cxnLst>
                <a:cxn ang="T12">
                  <a:pos x="T0" y="T1"/>
                </a:cxn>
                <a:cxn ang="T13">
                  <a:pos x="T2" y="T3"/>
                </a:cxn>
                <a:cxn ang="T14">
                  <a:pos x="T4" y="T5"/>
                </a:cxn>
                <a:cxn ang="T15">
                  <a:pos x="T6" y="T7"/>
                </a:cxn>
                <a:cxn ang="T16">
                  <a:pos x="T8" y="T9"/>
                </a:cxn>
                <a:cxn ang="T17">
                  <a:pos x="T10" y="T11"/>
                </a:cxn>
              </a:cxnLst>
              <a:rect l="T18" t="T19" r="T20" b="T21"/>
              <a:pathLst>
                <a:path w="4942" h="286">
                  <a:moveTo>
                    <a:pt x="0" y="0"/>
                  </a:moveTo>
                  <a:lnTo>
                    <a:pt x="69" y="144"/>
                  </a:lnTo>
                  <a:lnTo>
                    <a:pt x="0" y="286"/>
                  </a:lnTo>
                  <a:lnTo>
                    <a:pt x="4942" y="286"/>
                  </a:lnTo>
                  <a:lnTo>
                    <a:pt x="4942"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216000" tIns="36000" bIns="3600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Bef>
                  <a:spcPct val="0"/>
                </a:spcBef>
                <a:buClrTx/>
                <a:buFontTx/>
                <a:buNone/>
              </a:pPr>
              <a:r>
                <a:rPr lang="de-DE" altLang="en-US" sz="1200">
                  <a:solidFill>
                    <a:srgbClr val="FFFFFF"/>
                  </a:solidFill>
                </a:rPr>
                <a:t>Profil ryzyka inwestora jest zazwyczaj asymetryczny, tj. straty są ważone w większym stopniu.</a:t>
              </a:r>
            </a:p>
          </p:txBody>
        </p:sp>
      </p:grpSp>
      <p:sp>
        <p:nvSpPr>
          <p:cNvPr id="2" name="Title 1">
            <a:extLst>
              <a:ext uri="{FF2B5EF4-FFF2-40B4-BE49-F238E27FC236}">
                <a16:creationId xmlns:a16="http://schemas.microsoft.com/office/drawing/2014/main" id="{531A5A1D-049F-9D86-3188-01BF9A88D688}"/>
              </a:ext>
            </a:extLst>
          </p:cNvPr>
          <p:cNvSpPr>
            <a:spLocks noGrp="1"/>
          </p:cNvSpPr>
          <p:nvPr>
            <p:ph type="title"/>
          </p:nvPr>
        </p:nvSpPr>
        <p:spPr>
          <a:xfrm>
            <a:off x="395926" y="457274"/>
            <a:ext cx="9944006" cy="791565"/>
          </a:xfrm>
        </p:spPr>
        <p:txBody>
          <a:bodyPr/>
          <a:lstStyle/>
          <a:p>
            <a:pPr eaLnBrk="1" hangingPunct="1">
              <a:spcBef>
                <a:spcPct val="0"/>
              </a:spcBef>
            </a:pPr>
            <a:r>
              <a:rPr lang="de-DE" altLang="de-DE" sz="2800" dirty="0" err="1">
                <a:solidFill>
                  <a:schemeClr val="tx2"/>
                </a:solidFill>
              </a:rPr>
              <a:t>Awersja</a:t>
            </a:r>
            <a:r>
              <a:rPr lang="de-DE" altLang="de-DE" sz="2800" dirty="0">
                <a:solidFill>
                  <a:schemeClr val="tx2"/>
                </a:solidFill>
              </a:rPr>
              <a:t> do </a:t>
            </a:r>
            <a:r>
              <a:rPr lang="de-DE" altLang="de-DE" sz="2800" dirty="0" err="1">
                <a:solidFill>
                  <a:schemeClr val="tx2"/>
                </a:solidFill>
              </a:rPr>
              <a:t>strat</a:t>
            </a:r>
            <a:endParaRPr lang="de-DE" altLang="de-DE" sz="2800" dirty="0">
              <a:solidFill>
                <a:schemeClr val="tx2"/>
              </a:solidFill>
            </a:endParaRPr>
          </a:p>
        </p:txBody>
      </p:sp>
      <p:sp>
        <p:nvSpPr>
          <p:cNvPr id="3" name="Text Placeholder 2">
            <a:extLst>
              <a:ext uri="{FF2B5EF4-FFF2-40B4-BE49-F238E27FC236}">
                <a16:creationId xmlns:a16="http://schemas.microsoft.com/office/drawing/2014/main" id="{26453D8B-6695-A00A-26C5-ECE5B1FB41A2}"/>
              </a:ext>
            </a:extLst>
          </p:cNvPr>
          <p:cNvSpPr>
            <a:spLocks noGrp="1"/>
          </p:cNvSpPr>
          <p:nvPr>
            <p:ph type="body" sz="quarter" idx="22"/>
          </p:nvPr>
        </p:nvSpPr>
        <p:spPr/>
        <p:txBody>
          <a:bodyPr/>
          <a:lstStyle/>
          <a:p>
            <a:endParaRPr lang="de-DE"/>
          </a:p>
        </p:txBody>
      </p:sp>
      <p:sp>
        <p:nvSpPr>
          <p:cNvPr id="4" name="pole tekstowe 3">
            <a:extLst>
              <a:ext uri="{FF2B5EF4-FFF2-40B4-BE49-F238E27FC236}">
                <a16:creationId xmlns:a16="http://schemas.microsoft.com/office/drawing/2014/main" id="{EEA14575-8FB4-DA05-1AE4-9894D64A3B0E}"/>
              </a:ext>
            </a:extLst>
          </p:cNvPr>
          <p:cNvSpPr txBox="1"/>
          <p:nvPr/>
        </p:nvSpPr>
        <p:spPr>
          <a:xfrm>
            <a:off x="4476750" y="1146261"/>
            <a:ext cx="1276350" cy="656590"/>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sz="1200" b="1" dirty="0"/>
              <a:t>Zadowolenie/ satysfakcja</a:t>
            </a:r>
          </a:p>
          <a:p>
            <a:pPr algn="l">
              <a:spcBef>
                <a:spcPts val="360"/>
              </a:spcBef>
              <a:spcAft>
                <a:spcPts val="360"/>
              </a:spcAft>
              <a:buClr>
                <a:schemeClr val="tx2"/>
              </a:buClr>
              <a:tabLst/>
            </a:pPr>
            <a:endParaRPr lang="pl-PL" sz="1200" b="1" dirty="0"/>
          </a:p>
        </p:txBody>
      </p:sp>
      <p:sp>
        <p:nvSpPr>
          <p:cNvPr id="5" name="pole tekstowe 4">
            <a:extLst>
              <a:ext uri="{FF2B5EF4-FFF2-40B4-BE49-F238E27FC236}">
                <a16:creationId xmlns:a16="http://schemas.microsoft.com/office/drawing/2014/main" id="{86F0C024-5396-9C52-7224-10DAEA45BB83}"/>
              </a:ext>
            </a:extLst>
          </p:cNvPr>
          <p:cNvSpPr txBox="1"/>
          <p:nvPr/>
        </p:nvSpPr>
        <p:spPr>
          <a:xfrm>
            <a:off x="1490664" y="3180655"/>
            <a:ext cx="1276350" cy="184666"/>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sz="1200" b="1" dirty="0"/>
              <a:t>Strata</a:t>
            </a:r>
          </a:p>
        </p:txBody>
      </p:sp>
      <p:sp>
        <p:nvSpPr>
          <p:cNvPr id="6" name="pole tekstowe 5">
            <a:extLst>
              <a:ext uri="{FF2B5EF4-FFF2-40B4-BE49-F238E27FC236}">
                <a16:creationId xmlns:a16="http://schemas.microsoft.com/office/drawing/2014/main" id="{EF0F156F-3830-08A4-25BE-82DF87E2C01F}"/>
              </a:ext>
            </a:extLst>
          </p:cNvPr>
          <p:cNvSpPr txBox="1"/>
          <p:nvPr/>
        </p:nvSpPr>
        <p:spPr>
          <a:xfrm>
            <a:off x="8854157" y="3174126"/>
            <a:ext cx="1276350" cy="184666"/>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sz="1200" b="1" dirty="0"/>
              <a:t>Zyski</a:t>
            </a:r>
          </a:p>
        </p:txBody>
      </p:sp>
      <p:sp>
        <p:nvSpPr>
          <p:cNvPr id="7" name="pole tekstowe 6">
            <a:extLst>
              <a:ext uri="{FF2B5EF4-FFF2-40B4-BE49-F238E27FC236}">
                <a16:creationId xmlns:a16="http://schemas.microsoft.com/office/drawing/2014/main" id="{30D7705F-C7A0-1B3F-E110-ADAD6DEF2C93}"/>
              </a:ext>
            </a:extLst>
          </p:cNvPr>
          <p:cNvSpPr txBox="1"/>
          <p:nvPr/>
        </p:nvSpPr>
        <p:spPr>
          <a:xfrm>
            <a:off x="4724400" y="5270087"/>
            <a:ext cx="1028700" cy="184666"/>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sz="1200" b="1" dirty="0"/>
              <a:t>Ból/ porażka</a:t>
            </a:r>
          </a:p>
        </p:txBody>
      </p:sp>
      <p:sp>
        <p:nvSpPr>
          <p:cNvPr id="8" name="pole tekstowe 7">
            <a:extLst>
              <a:ext uri="{FF2B5EF4-FFF2-40B4-BE49-F238E27FC236}">
                <a16:creationId xmlns:a16="http://schemas.microsoft.com/office/drawing/2014/main" id="{B842B2EC-51D5-51C7-1A2C-D2C4635C78D3}"/>
              </a:ext>
            </a:extLst>
          </p:cNvPr>
          <p:cNvSpPr txBox="1"/>
          <p:nvPr/>
        </p:nvSpPr>
        <p:spPr>
          <a:xfrm>
            <a:off x="6488114" y="3725787"/>
            <a:ext cx="1665286" cy="369332"/>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sz="1200" b="1" dirty="0"/>
              <a:t>Początkowa inwestycja</a:t>
            </a:r>
          </a:p>
        </p:txBody>
      </p:sp>
      <p:sp>
        <p:nvSpPr>
          <p:cNvPr id="9" name="pole tekstowe 8">
            <a:extLst>
              <a:ext uri="{FF2B5EF4-FFF2-40B4-BE49-F238E27FC236}">
                <a16:creationId xmlns:a16="http://schemas.microsoft.com/office/drawing/2014/main" id="{1ADE4271-3C7C-76D5-D223-094B5554C095}"/>
              </a:ext>
            </a:extLst>
          </p:cNvPr>
          <p:cNvSpPr txBox="1"/>
          <p:nvPr/>
        </p:nvSpPr>
        <p:spPr>
          <a:xfrm>
            <a:off x="1511303" y="4300972"/>
            <a:ext cx="1862930" cy="246221"/>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altLang="pl-PL" sz="1600" b="1" dirty="0">
                <a:solidFill>
                  <a:srgbClr val="FF0000"/>
                </a:solidFill>
                <a:latin typeface="+mn-lt"/>
              </a:rPr>
              <a:t>R</a:t>
            </a:r>
            <a:r>
              <a:rPr kumimoji="0" lang="pl-PL" altLang="pl-PL" sz="1600" b="1" i="0" u="none" strike="noStrike" cap="none" normalizeH="0" baseline="0" dirty="0">
                <a:ln>
                  <a:noFill/>
                </a:ln>
                <a:solidFill>
                  <a:srgbClr val="FF0000"/>
                </a:solidFill>
                <a:effectLst/>
                <a:latin typeface="+mn-lt"/>
              </a:rPr>
              <a:t>osnące straty</a:t>
            </a:r>
          </a:p>
        </p:txBody>
      </p:sp>
      <p:sp>
        <p:nvSpPr>
          <p:cNvPr id="11" name="pole tekstowe 10">
            <a:extLst>
              <a:ext uri="{FF2B5EF4-FFF2-40B4-BE49-F238E27FC236}">
                <a16:creationId xmlns:a16="http://schemas.microsoft.com/office/drawing/2014/main" id="{CB1A113B-FA7A-CF4F-10C3-9CBF33F28A40}"/>
              </a:ext>
            </a:extLst>
          </p:cNvPr>
          <p:cNvSpPr txBox="1"/>
          <p:nvPr/>
        </p:nvSpPr>
        <p:spPr>
          <a:xfrm>
            <a:off x="1520033" y="4547637"/>
            <a:ext cx="2690017" cy="246221"/>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altLang="pl-PL" sz="1600" b="1" dirty="0">
                <a:solidFill>
                  <a:srgbClr val="FF0000"/>
                </a:solidFill>
                <a:latin typeface="+mn-lt"/>
              </a:rPr>
              <a:t>-&gt; ograniczona wrażliwość</a:t>
            </a:r>
            <a:endParaRPr kumimoji="0" lang="pl-PL" altLang="pl-PL" sz="1600" b="1" i="0" u="none" strike="noStrike" cap="none" normalizeH="0" baseline="0" dirty="0">
              <a:ln>
                <a:noFill/>
              </a:ln>
              <a:solidFill>
                <a:srgbClr val="FF0000"/>
              </a:solidFill>
              <a:effectLst/>
              <a:latin typeface="+mn-lt"/>
            </a:endParaRPr>
          </a:p>
        </p:txBody>
      </p:sp>
      <p:sp>
        <p:nvSpPr>
          <p:cNvPr id="12" name="pole tekstowe 11">
            <a:extLst>
              <a:ext uri="{FF2B5EF4-FFF2-40B4-BE49-F238E27FC236}">
                <a16:creationId xmlns:a16="http://schemas.microsoft.com/office/drawing/2014/main" id="{BE249BAC-878F-1322-DB5C-CE2C9A33DDFE}"/>
              </a:ext>
            </a:extLst>
          </p:cNvPr>
          <p:cNvSpPr txBox="1"/>
          <p:nvPr/>
        </p:nvSpPr>
        <p:spPr>
          <a:xfrm>
            <a:off x="6991227" y="2073132"/>
            <a:ext cx="1862930" cy="246221"/>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altLang="pl-PL" sz="1600" b="1" dirty="0">
                <a:solidFill>
                  <a:schemeClr val="bg1">
                    <a:lumMod val="50000"/>
                  </a:schemeClr>
                </a:solidFill>
                <a:latin typeface="+mn-lt"/>
              </a:rPr>
              <a:t>R</a:t>
            </a:r>
            <a:r>
              <a:rPr kumimoji="0" lang="pl-PL" altLang="pl-PL" sz="1600" b="1" i="0" u="none" strike="noStrike" cap="none" normalizeH="0" baseline="0" dirty="0">
                <a:ln>
                  <a:noFill/>
                </a:ln>
                <a:solidFill>
                  <a:schemeClr val="bg1">
                    <a:lumMod val="50000"/>
                  </a:schemeClr>
                </a:solidFill>
                <a:effectLst/>
                <a:latin typeface="+mn-lt"/>
              </a:rPr>
              <a:t>osnące zyski</a:t>
            </a:r>
          </a:p>
        </p:txBody>
      </p:sp>
      <p:sp>
        <p:nvSpPr>
          <p:cNvPr id="13" name="pole tekstowe 12">
            <a:extLst>
              <a:ext uri="{FF2B5EF4-FFF2-40B4-BE49-F238E27FC236}">
                <a16:creationId xmlns:a16="http://schemas.microsoft.com/office/drawing/2014/main" id="{3F2E3621-B110-F006-41DE-A3FCCC4B6890}"/>
              </a:ext>
            </a:extLst>
          </p:cNvPr>
          <p:cNvSpPr txBox="1"/>
          <p:nvPr/>
        </p:nvSpPr>
        <p:spPr>
          <a:xfrm>
            <a:off x="7269499" y="2320067"/>
            <a:ext cx="1862930" cy="246221"/>
          </a:xfrm>
          <a:prstGeom prst="rect">
            <a:avLst/>
          </a:prstGeom>
          <a:solidFill>
            <a:schemeClr val="bg1"/>
          </a:solidFill>
        </p:spPr>
        <p:txBody>
          <a:bodyPr wrap="square" lIns="0" tIns="0" rIns="0" bIns="0" rtlCol="0">
            <a:spAutoFit/>
          </a:bodyPr>
          <a:lstStyle/>
          <a:p>
            <a:pPr algn="l">
              <a:spcBef>
                <a:spcPts val="360"/>
              </a:spcBef>
              <a:spcAft>
                <a:spcPts val="360"/>
              </a:spcAft>
              <a:buClr>
                <a:schemeClr val="tx2"/>
              </a:buClr>
              <a:tabLst/>
            </a:pPr>
            <a:r>
              <a:rPr lang="pl-PL" altLang="pl-PL" sz="1600" b="1" dirty="0">
                <a:solidFill>
                  <a:schemeClr val="bg1">
                    <a:lumMod val="50000"/>
                  </a:schemeClr>
                </a:solidFill>
                <a:latin typeface="+mn-lt"/>
              </a:rPr>
              <a:t>Mała użyteczność</a:t>
            </a:r>
            <a:endParaRPr kumimoji="0" lang="pl-PL" altLang="pl-PL" sz="1600" b="1" i="0" u="none" strike="noStrike" cap="none" normalizeH="0" baseline="0" dirty="0">
              <a:ln>
                <a:noFill/>
              </a:ln>
              <a:solidFill>
                <a:schemeClr val="bg1">
                  <a:lumMod val="50000"/>
                </a:schemeClr>
              </a:solidFill>
              <a:effectLst/>
              <a:latin typeface="+mn-lt"/>
            </a:endParaRPr>
          </a:p>
        </p:txBody>
      </p:sp>
    </p:spTree>
    <p:extLst>
      <p:ext uri="{BB962C8B-B14F-4D97-AF65-F5344CB8AC3E}">
        <p14:creationId xmlns:p14="http://schemas.microsoft.com/office/powerpoint/2010/main" val="33894063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t;Chart&gt;&lt;ImageInfo ChartType=&quot;None&quot; Version=&quot;5.34.1270.0&quot; GUID=&quot;0fdb35ceca4c4becb20581cbaed351f7&quot; DsId=&quot;ZAGF054&quot; T1SubID=&quot;&quot; Width=&quot;1193&quot; Height=&quot;478&quot; Format=&quot;emf&quot; ChartGroupUID=&quot;5fd4bd4b-acbe-4c38-91c2-751ec944cacd&quot; GroupName=&quot;GCMTR&quot; ChartName=&quot;BeFi_ExampleTelekom&quot; ChartStyleName=&quot;&quot; GroupNameEncoded=&quot;GCMTR&quot; ChartNameEncoded=&quot;BeFi_ExampleTelekom&quot; ChartStyleNameEncoded=&quot;&quot; ShortCode=&quot;&quot; ChartOwner=&quot;ZAGF054&quot; TemplateId=&quot;&quot; TemplateName=&quot;&quot; TemplateNameEncoded=&quot;&quot; EditionId=&quot;&quot; EditionGenerationDate=&quot;&quot; RefreshDate=&quot;18.09.2024 08:31:42&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38&quot; RightMargin=&quot;38&quot; TopMargin=&quot;248&quot; FootMargin=&quot;76&quot; Orientation=&quot;landscape&quot; FileNameTemplate=&quot;&quot; ImageFileName=&quot;&quot; ChartTitle=&quot;&quot; DoStretch=&quot;true&quot; Pr=&quot;&quot; RetrieveParams=&quot;&quot; /&gt;&lt;/Chart&gt;">
            <a:extLst>
              <a:ext uri="{FF2B5EF4-FFF2-40B4-BE49-F238E27FC236}">
                <a16:creationId xmlns:a16="http://schemas.microsoft.com/office/drawing/2014/main" id="{F73C9E43-F15D-6594-2A56-505129E8661E}"/>
              </a:ext>
            </a:extLst>
          </p:cNvPr>
          <p:cNvPicPr>
            <a:picLocks/>
          </p:cNvPicPr>
          <p:nvPr/>
        </p:nvPicPr>
        <p:blipFill>
          <a:blip r:embed="rId3"/>
          <a:stretch>
            <a:fillRect/>
          </a:stretch>
        </p:blipFill>
        <p:spPr>
          <a:xfrm>
            <a:off x="395926" y="1544136"/>
            <a:ext cx="11368799" cy="4556125"/>
          </a:xfrm>
          <a:prstGeom prst="rect">
            <a:avLst/>
          </a:prstGeom>
          <a:solidFill>
            <a:srgbClr val="FFFFFF"/>
          </a:solidFill>
          <a:ln>
            <a:noFill/>
          </a:ln>
        </p:spPr>
      </p:pic>
      <p:sp>
        <p:nvSpPr>
          <p:cNvPr id="13" name="Rectangle 12"/>
          <p:cNvSpPr>
            <a:spLocks noChangeArrowheads="1"/>
          </p:cNvSpPr>
          <p:nvPr/>
        </p:nvSpPr>
        <p:spPr bwMode="auto">
          <a:xfrm>
            <a:off x="2069432" y="2078386"/>
            <a:ext cx="327898" cy="33226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
        <p:nvSpPr>
          <p:cNvPr id="14" name="Rectangle 13"/>
          <p:cNvSpPr>
            <a:spLocks noChangeArrowheads="1"/>
          </p:cNvSpPr>
          <p:nvPr/>
        </p:nvSpPr>
        <p:spPr bwMode="auto">
          <a:xfrm>
            <a:off x="3379107" y="2042155"/>
            <a:ext cx="1055234" cy="33226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
        <p:nvSpPr>
          <p:cNvPr id="9" name="Rectangle 8">
            <a:extLst>
              <a:ext uri="{FF2B5EF4-FFF2-40B4-BE49-F238E27FC236}">
                <a16:creationId xmlns:a16="http://schemas.microsoft.com/office/drawing/2014/main" id="{BB237B26-DA8A-3080-69D7-A601229EA425}"/>
              </a:ext>
            </a:extLst>
          </p:cNvPr>
          <p:cNvSpPr>
            <a:spLocks noChangeArrowheads="1"/>
          </p:cNvSpPr>
          <p:nvPr/>
        </p:nvSpPr>
        <p:spPr bwMode="auto">
          <a:xfrm>
            <a:off x="2397330" y="1968103"/>
            <a:ext cx="2126544" cy="32416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
        <p:nvSpPr>
          <p:cNvPr id="3" name="Text Placeholder 2">
            <a:extLst>
              <a:ext uri="{FF2B5EF4-FFF2-40B4-BE49-F238E27FC236}">
                <a16:creationId xmlns:a16="http://schemas.microsoft.com/office/drawing/2014/main" id="{253A234A-6824-9856-538A-EBD6B3C2D857}"/>
              </a:ext>
            </a:extLst>
          </p:cNvPr>
          <p:cNvSpPr txBox="1">
            <a:spLocks/>
          </p:cNvSpPr>
          <p:nvPr/>
        </p:nvSpPr>
        <p:spPr>
          <a:xfrm>
            <a:off x="186643" y="6328848"/>
            <a:ext cx="10633847" cy="374400"/>
          </a:xfrm>
          <a:prstGeom prst="rect">
            <a:avLst/>
          </a:prstGeom>
        </p:spPr>
        <p:txBody>
          <a:bodyPr/>
          <a:lstStyle>
            <a:lvl1pPr marL="180000" marR="0" indent="-180000" algn="l" defTabSz="1038977" rtl="0" eaLnBrk="1" fontAlgn="base" latinLnBrk="0" hangingPunct="1">
              <a:lnSpc>
                <a:spcPct val="100000"/>
              </a:lnSpc>
              <a:spcBef>
                <a:spcPts val="360"/>
              </a:spcBef>
              <a:spcAft>
                <a:spcPts val="360"/>
              </a:spcAft>
              <a:buClr>
                <a:schemeClr val="tx2"/>
              </a:buClr>
              <a:buSzTx/>
              <a:buFont typeface="Arial" panose="020B0604020202020204" pitchFamily="34" charset="0"/>
              <a:buChar char="•"/>
              <a:tabLst>
                <a:tab pos="203827" algn="l"/>
              </a:tabLst>
              <a:defRPr sz="1200" baseline="0">
                <a:solidFill>
                  <a:schemeClr val="tx2"/>
                </a:solidFill>
                <a:latin typeface="Arial" panose="020B0604020202020204" pitchFamily="34" charset="0"/>
                <a:ea typeface="+mn-ea"/>
                <a:cs typeface="+mn-cs"/>
              </a:defRPr>
            </a:lvl1pPr>
            <a:lvl2pPr marL="36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2pPr>
            <a:lvl3pPr marL="54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3pPr>
            <a:lvl4pPr marL="72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4pPr>
            <a:lvl5pPr marL="90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5pPr>
            <a:lvl6pPr marL="1289702"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6pPr>
            <a:lvl7pPr marL="1809191"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7pPr>
            <a:lvl8pPr marL="2328678"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8pPr>
            <a:lvl9pPr marL="2848166"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9pPr>
          </a:lstStyle>
          <a:p>
            <a:pPr>
              <a:spcBef>
                <a:spcPct val="100000"/>
              </a:spcBef>
              <a:buClrTx/>
              <a:buFont typeface="Wingdings" pitchFamily="2" charset="2"/>
              <a:buNone/>
            </a:pPr>
            <a:r>
              <a:rPr lang="en-US" altLang="de-DE" sz="800" dirty="0">
                <a:latin typeface="Arial Narrow" panose="020B0606020202030204" pitchFamily="34" charset="0"/>
              </a:rPr>
              <a:t>Wyniki osiągnięte w przeszłości nie są wiarygodnym wskaźnikiem przyszłych wyników</a:t>
            </a:r>
            <a:r>
              <a:rPr lang="de-DE" altLang="de-DE" sz="800" dirty="0">
                <a:latin typeface="Arial Narrow" panose="020B0606020202030204" pitchFamily="34" charset="0"/>
              </a:rPr>
              <a:t>. </a:t>
            </a:r>
            <a:endParaRPr lang="de-DE" altLang="en-US" sz="800" dirty="0">
              <a:latin typeface="Arial Narrow" panose="020B0606020202030204" pitchFamily="34" charset="0"/>
            </a:endParaRPr>
          </a:p>
        </p:txBody>
      </p:sp>
      <p:sp>
        <p:nvSpPr>
          <p:cNvPr id="12" name="Rectangle 11">
            <a:extLst>
              <a:ext uri="{FF2B5EF4-FFF2-40B4-BE49-F238E27FC236}">
                <a16:creationId xmlns:a16="http://schemas.microsoft.com/office/drawing/2014/main" id="{1E73186D-2530-EE27-C641-EC87F28ABA23}"/>
              </a:ext>
            </a:extLst>
          </p:cNvPr>
          <p:cNvSpPr>
            <a:spLocks noChangeArrowheads="1"/>
          </p:cNvSpPr>
          <p:nvPr/>
        </p:nvSpPr>
        <p:spPr bwMode="auto">
          <a:xfrm>
            <a:off x="4523874" y="2123118"/>
            <a:ext cx="6756935" cy="32416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Tree>
    <p:extLst>
      <p:ext uri="{BB962C8B-B14F-4D97-AF65-F5344CB8AC3E}">
        <p14:creationId xmlns:p14="http://schemas.microsoft.com/office/powerpoint/2010/main" val="42403870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xit" presetSubtype="4" fill="hold" grpId="0" nodeType="clickEffect">
                                  <p:stCondLst>
                                    <p:cond delay="0"/>
                                  </p:stCondLst>
                                  <p:childTnLst>
                                    <p:anim calcmode="lin" valueType="num">
                                      <p:cBhvr additive="base">
                                        <p:cTn id="6" dur="500"/>
                                        <p:tgtEl>
                                          <p:spTgt spid="13"/>
                                        </p:tgtEl>
                                        <p:attrNameLst>
                                          <p:attrName>ppt_x</p:attrName>
                                        </p:attrNameLst>
                                      </p:cBhvr>
                                      <p:tavLst>
                                        <p:tav tm="0">
                                          <p:val>
                                            <p:strVal val="ppt_x"/>
                                          </p:val>
                                        </p:tav>
                                        <p:tav tm="100000">
                                          <p:val>
                                            <p:strVal val="ppt_x"/>
                                          </p:val>
                                        </p:tav>
                                      </p:tavLst>
                                    </p:anim>
                                    <p:anim calcmode="lin" valueType="num">
                                      <p:cBhvr additive="base">
                                        <p:cTn id="7" dur="500"/>
                                        <p:tgtEl>
                                          <p:spTgt spid="13"/>
                                        </p:tgtEl>
                                        <p:attrNameLst>
                                          <p:attrName>ppt_y</p:attrName>
                                        </p:attrNameLst>
                                      </p:cBhvr>
                                      <p:tavLst>
                                        <p:tav tm="0">
                                          <p:val>
                                            <p:strVal val="ppt_y"/>
                                          </p:val>
                                        </p:tav>
                                        <p:tav tm="100000">
                                          <p:val>
                                            <p:strVal val="1+ppt_h/2"/>
                                          </p:val>
                                        </p:tav>
                                      </p:tavLst>
                                    </p:anim>
                                    <p:set>
                                      <p:cBhvr>
                                        <p:cTn id="8" dur="1" fill="hold">
                                          <p:stCondLst>
                                            <p:cond delay="499"/>
                                          </p:stCondLst>
                                        </p:cTn>
                                        <p:tgtEl>
                                          <p:spTgt spid="13"/>
                                        </p:tgtEl>
                                        <p:attrNameLst>
                                          <p:attrName>style.visibility</p:attrName>
                                        </p:attrNameLst>
                                      </p:cBhvr>
                                      <p:to>
                                        <p:strVal val="hidden"/>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42" presetClass="exit" presetSubtype="0" fill="hold" grpId="0" nodeType="clickEffect">
                                  <p:stCondLst>
                                    <p:cond delay="0"/>
                                  </p:stCondLst>
                                  <p:childTnLst>
                                    <p:animEffect transition="out" filter="fade">
                                      <p:cBhvr>
                                        <p:cTn id="12" dur="1000"/>
                                        <p:tgtEl>
                                          <p:spTgt spid="14"/>
                                        </p:tgtEl>
                                      </p:cBhvr>
                                    </p:animEffect>
                                    <p:anim calcmode="lin" valueType="num">
                                      <p:cBhvr>
                                        <p:cTn id="13" dur="1000"/>
                                        <p:tgtEl>
                                          <p:spTgt spid="14"/>
                                        </p:tgtEl>
                                        <p:attrNameLst>
                                          <p:attrName>ppt_x</p:attrName>
                                        </p:attrNameLst>
                                      </p:cBhvr>
                                      <p:tavLst>
                                        <p:tav tm="0">
                                          <p:val>
                                            <p:strVal val="ppt_x"/>
                                          </p:val>
                                        </p:tav>
                                        <p:tav tm="100000">
                                          <p:val>
                                            <p:strVal val="ppt_x"/>
                                          </p:val>
                                        </p:tav>
                                      </p:tavLst>
                                    </p:anim>
                                    <p:anim calcmode="lin" valueType="num">
                                      <p:cBhvr>
                                        <p:cTn id="14" dur="1000"/>
                                        <p:tgtEl>
                                          <p:spTgt spid="14"/>
                                        </p:tgtEl>
                                        <p:attrNameLst>
                                          <p:attrName>ppt_y</p:attrName>
                                        </p:attrNameLst>
                                      </p:cBhvr>
                                      <p:tavLst>
                                        <p:tav tm="0">
                                          <p:val>
                                            <p:strVal val="ppt_y"/>
                                          </p:val>
                                        </p:tav>
                                        <p:tav tm="100000">
                                          <p:val>
                                            <p:strVal val="ppt_y+.1"/>
                                          </p:val>
                                        </p:tav>
                                      </p:tavLst>
                                    </p:anim>
                                    <p:set>
                                      <p:cBhvr>
                                        <p:cTn id="15" dur="1" fill="hold">
                                          <p:stCondLst>
                                            <p:cond delay="999"/>
                                          </p:stCondLst>
                                        </p:cTn>
                                        <p:tgtEl>
                                          <p:spTgt spid="14"/>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42" presetClass="exit" presetSubtype="0" fill="hold" grpId="0" nodeType="clickEffect">
                                  <p:stCondLst>
                                    <p:cond delay="0"/>
                                  </p:stCondLst>
                                  <p:childTnLst>
                                    <p:animEffect transition="out" filter="fade">
                                      <p:cBhvr>
                                        <p:cTn id="19" dur="1000"/>
                                        <p:tgtEl>
                                          <p:spTgt spid="9"/>
                                        </p:tgtEl>
                                      </p:cBhvr>
                                    </p:animEffect>
                                    <p:anim calcmode="lin" valueType="num">
                                      <p:cBhvr>
                                        <p:cTn id="20" dur="1000"/>
                                        <p:tgtEl>
                                          <p:spTgt spid="9"/>
                                        </p:tgtEl>
                                        <p:attrNameLst>
                                          <p:attrName>ppt_x</p:attrName>
                                        </p:attrNameLst>
                                      </p:cBhvr>
                                      <p:tavLst>
                                        <p:tav tm="0">
                                          <p:val>
                                            <p:strVal val="ppt_x"/>
                                          </p:val>
                                        </p:tav>
                                        <p:tav tm="100000">
                                          <p:val>
                                            <p:strVal val="ppt_x"/>
                                          </p:val>
                                        </p:tav>
                                      </p:tavLst>
                                    </p:anim>
                                    <p:anim calcmode="lin" valueType="num">
                                      <p:cBhvr>
                                        <p:cTn id="21" dur="1000"/>
                                        <p:tgtEl>
                                          <p:spTgt spid="9"/>
                                        </p:tgtEl>
                                        <p:attrNameLst>
                                          <p:attrName>ppt_y</p:attrName>
                                        </p:attrNameLst>
                                      </p:cBhvr>
                                      <p:tavLst>
                                        <p:tav tm="0">
                                          <p:val>
                                            <p:strVal val="ppt_y"/>
                                          </p:val>
                                        </p:tav>
                                        <p:tav tm="100000">
                                          <p:val>
                                            <p:strVal val="ppt_y+.1"/>
                                          </p:val>
                                        </p:tav>
                                      </p:tavLst>
                                    </p:anim>
                                    <p:set>
                                      <p:cBhvr>
                                        <p:cTn id="22" dur="1" fill="hold">
                                          <p:stCondLst>
                                            <p:cond delay="999"/>
                                          </p:stCondLst>
                                        </p:cTn>
                                        <p:tgtEl>
                                          <p:spTgt spid="9"/>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42" presetClass="exit" presetSubtype="0" fill="hold" grpId="0" nodeType="clickEffect">
                                  <p:stCondLst>
                                    <p:cond delay="0"/>
                                  </p:stCondLst>
                                  <p:childTnLst>
                                    <p:animEffect transition="out" filter="fade">
                                      <p:cBhvr>
                                        <p:cTn id="26" dur="1000"/>
                                        <p:tgtEl>
                                          <p:spTgt spid="12"/>
                                        </p:tgtEl>
                                      </p:cBhvr>
                                    </p:animEffect>
                                    <p:anim calcmode="lin" valueType="num">
                                      <p:cBhvr>
                                        <p:cTn id="27" dur="1000"/>
                                        <p:tgtEl>
                                          <p:spTgt spid="12"/>
                                        </p:tgtEl>
                                        <p:attrNameLst>
                                          <p:attrName>ppt_x</p:attrName>
                                        </p:attrNameLst>
                                      </p:cBhvr>
                                      <p:tavLst>
                                        <p:tav tm="0">
                                          <p:val>
                                            <p:strVal val="ppt_x"/>
                                          </p:val>
                                        </p:tav>
                                        <p:tav tm="100000">
                                          <p:val>
                                            <p:strVal val="ppt_x"/>
                                          </p:val>
                                        </p:tav>
                                      </p:tavLst>
                                    </p:anim>
                                    <p:anim calcmode="lin" valueType="num">
                                      <p:cBhvr>
                                        <p:cTn id="28" dur="1000"/>
                                        <p:tgtEl>
                                          <p:spTgt spid="12"/>
                                        </p:tgtEl>
                                        <p:attrNameLst>
                                          <p:attrName>ppt_y</p:attrName>
                                        </p:attrNameLst>
                                      </p:cBhvr>
                                      <p:tavLst>
                                        <p:tav tm="0">
                                          <p:val>
                                            <p:strVal val="ppt_y"/>
                                          </p:val>
                                        </p:tav>
                                        <p:tav tm="100000">
                                          <p:val>
                                            <p:strVal val="ppt_y+.1"/>
                                          </p:val>
                                        </p:tav>
                                      </p:tavLst>
                                    </p:anim>
                                    <p:set>
                                      <p:cBhvr>
                                        <p:cTn id="29" dur="1" fill="hold">
                                          <p:stCondLst>
                                            <p:cond delay="9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9" grpId="0" animBg="1"/>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pPr eaLnBrk="1" hangingPunct="1"/>
            <a:r>
              <a:rPr lang="de-DE" altLang="en-US"/>
              <a:t>Szczęście - Chciwość - Euforia - Strach</a:t>
            </a:r>
          </a:p>
        </p:txBody>
      </p:sp>
      <p:sp>
        <p:nvSpPr>
          <p:cNvPr id="3" name="Text Placeholder 2">
            <a:extLst>
              <a:ext uri="{FF2B5EF4-FFF2-40B4-BE49-F238E27FC236}">
                <a16:creationId xmlns:a16="http://schemas.microsoft.com/office/drawing/2014/main" id="{07B10FAA-21CF-F506-76D7-F799119A24A0}"/>
              </a:ext>
            </a:extLst>
          </p:cNvPr>
          <p:cNvSpPr>
            <a:spLocks noGrp="1"/>
          </p:cNvSpPr>
          <p:nvPr>
            <p:ph type="body" sz="quarter" idx="26"/>
          </p:nvPr>
        </p:nvSpPr>
        <p:spPr/>
        <p:txBody>
          <a:bodyPr/>
          <a:lstStyle/>
          <a:p>
            <a:pPr eaLnBrk="1" hangingPunct="1">
              <a:spcBef>
                <a:spcPct val="100000"/>
              </a:spcBef>
              <a:buClrTx/>
              <a:buFont typeface="Wingdings" pitchFamily="2" charset="2"/>
              <a:buNone/>
            </a:pPr>
            <a:r>
              <a:rPr lang="de-DE" altLang="en-US" sz="800" dirty="0"/>
              <a:t>Źródło: Datastream; AllianzGI </a:t>
            </a:r>
            <a:r>
              <a:rPr lang="en-US" altLang="de-DE" sz="800" dirty="0"/>
              <a:t>Global Capital Markets &amp; Thematic Research i Deutsche Bundesbank. </a:t>
            </a:r>
            <a:br>
              <a:rPr lang="en-US" altLang="de-DE" sz="800" dirty="0"/>
            </a:br>
            <a:r>
              <a:rPr lang="en-US" altLang="de-DE" dirty="0"/>
              <a:t>Wyniki osiągnięte w przeszłości nie są wiarygodnym wskaźnikiem przyszłych wyników</a:t>
            </a:r>
            <a:r>
              <a:rPr lang="de-DE" altLang="de-DE" dirty="0"/>
              <a:t>. </a:t>
            </a:r>
            <a:r>
              <a:rPr lang="en-US" dirty="0"/>
              <a:t>Przyszłe wyniki podlegają opodatkowaniu, które zależy od osobistej sytuacji każdego inwestora i które może ulec zmianie w przyszłości.</a:t>
            </a:r>
            <a:endParaRPr lang="de-DE" altLang="en-US" sz="800" dirty="0">
              <a:highlight>
                <a:srgbClr val="FF00FF"/>
              </a:highlight>
            </a:endParaRPr>
          </a:p>
        </p:txBody>
      </p:sp>
      <p:sp>
        <p:nvSpPr>
          <p:cNvPr id="52227" name="Rectangle 7"/>
          <p:cNvSpPr>
            <a:spLocks noChangeArrowheads="1"/>
          </p:cNvSpPr>
          <p:nvPr/>
        </p:nvSpPr>
        <p:spPr bwMode="auto">
          <a:xfrm>
            <a:off x="501357" y="2137319"/>
            <a:ext cx="70961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r>
              <a:rPr lang="de-DE" altLang="en-US" sz="900" dirty="0"/>
              <a:t>Mio. Euro </a:t>
            </a:r>
            <a:endParaRPr lang="de-DE" altLang="de-DE" sz="900" dirty="0"/>
          </a:p>
        </p:txBody>
      </p:sp>
      <p:sp>
        <p:nvSpPr>
          <p:cNvPr id="52228" name="Rectangle 9"/>
          <p:cNvSpPr>
            <a:spLocks noChangeArrowheads="1"/>
          </p:cNvSpPr>
          <p:nvPr/>
        </p:nvSpPr>
        <p:spPr bwMode="auto">
          <a:xfrm>
            <a:off x="10421937" y="2023019"/>
            <a:ext cx="5048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r>
              <a:rPr lang="de-DE" altLang="en-US" sz="900" dirty="0"/>
              <a:t>Punkty</a:t>
            </a:r>
            <a:endParaRPr lang="de-DE" altLang="de-DE" sz="900" dirty="0"/>
          </a:p>
        </p:txBody>
      </p:sp>
      <p:sp>
        <p:nvSpPr>
          <p:cNvPr id="52230" name="Rechteck 1"/>
          <p:cNvSpPr>
            <a:spLocks noChangeArrowheads="1"/>
          </p:cNvSpPr>
          <p:nvPr/>
        </p:nvSpPr>
        <p:spPr bwMode="auto">
          <a:xfrm>
            <a:off x="1500188" y="5689600"/>
            <a:ext cx="9174162" cy="280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endParaRPr lang="de-DE" altLang="de-DE"/>
          </a:p>
        </p:txBody>
      </p:sp>
      <p:sp>
        <p:nvSpPr>
          <p:cNvPr id="52232" name="Text Placeholder 3"/>
          <p:cNvSpPr txBox="1">
            <a:spLocks/>
          </p:cNvSpPr>
          <p:nvPr/>
        </p:nvSpPr>
        <p:spPr bwMode="auto">
          <a:xfrm>
            <a:off x="1379539" y="1612900"/>
            <a:ext cx="92106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chemeClr val="tx2"/>
              </a:buClr>
              <a:buFont typeface="Wingdings" pitchFamily="2" charset="2"/>
              <a:buChar char="§"/>
              <a:defRPr sz="1400">
                <a:solidFill>
                  <a:schemeClr val="tx1"/>
                </a:solidFill>
                <a:latin typeface="Arial" charset="0"/>
              </a:defRPr>
            </a:lvl1pPr>
            <a:lvl2pPr marL="361950" indent="-177800" eaLnBrk="0" hangingPunct="0">
              <a:buClr>
                <a:schemeClr val="tx2"/>
              </a:buClr>
              <a:buChar char="-"/>
              <a:defRPr sz="1400">
                <a:solidFill>
                  <a:schemeClr val="tx1"/>
                </a:solidFill>
                <a:latin typeface="Arial" charset="0"/>
              </a:defRPr>
            </a:lvl2pPr>
            <a:lvl3pPr marL="541338" indent="-177800" eaLnBrk="0" hangingPunct="0">
              <a:buClr>
                <a:schemeClr val="tx2"/>
              </a:buClr>
              <a:buChar char="-"/>
              <a:defRPr sz="1400">
                <a:solidFill>
                  <a:schemeClr val="tx1"/>
                </a:solidFill>
                <a:latin typeface="Arial" charset="0"/>
              </a:defRPr>
            </a:lvl3pPr>
            <a:lvl4pPr marL="720725" indent="-177800" eaLnBrk="0" hangingPunct="0">
              <a:buClr>
                <a:schemeClr val="tx2"/>
              </a:buClr>
              <a:buChar char="-"/>
              <a:defRPr sz="1400">
                <a:solidFill>
                  <a:schemeClr val="tx1"/>
                </a:solidFill>
                <a:latin typeface="Arial" charset="0"/>
              </a:defRPr>
            </a:lvl4pPr>
            <a:lvl5pPr marL="901700" indent="-179388" eaLnBrk="0" hangingPunct="0">
              <a:buClr>
                <a:schemeClr val="tx2"/>
              </a:buClr>
              <a:buChar char="-"/>
              <a:defRPr sz="1400">
                <a:solidFill>
                  <a:schemeClr val="tx1"/>
                </a:solidFill>
                <a:latin typeface="Arial" charset="0"/>
              </a:defRPr>
            </a:lvl5pPr>
            <a:lvl6pPr marL="1358900" indent="-179388" eaLnBrk="0" fontAlgn="base" hangingPunct="0">
              <a:spcBef>
                <a:spcPct val="50000"/>
              </a:spcBef>
              <a:spcAft>
                <a:spcPct val="0"/>
              </a:spcAft>
              <a:buClr>
                <a:schemeClr val="tx2"/>
              </a:buClr>
              <a:buChar char="-"/>
              <a:defRPr sz="1400">
                <a:solidFill>
                  <a:schemeClr val="tx1"/>
                </a:solidFill>
                <a:latin typeface="Arial" charset="0"/>
              </a:defRPr>
            </a:lvl6pPr>
            <a:lvl7pPr marL="1816100" indent="-179388" eaLnBrk="0" fontAlgn="base" hangingPunct="0">
              <a:spcBef>
                <a:spcPct val="50000"/>
              </a:spcBef>
              <a:spcAft>
                <a:spcPct val="0"/>
              </a:spcAft>
              <a:buClr>
                <a:schemeClr val="tx2"/>
              </a:buClr>
              <a:buChar char="-"/>
              <a:defRPr sz="1400">
                <a:solidFill>
                  <a:schemeClr val="tx1"/>
                </a:solidFill>
                <a:latin typeface="Arial" charset="0"/>
              </a:defRPr>
            </a:lvl7pPr>
            <a:lvl8pPr marL="2273300" indent="-179388" eaLnBrk="0" fontAlgn="base" hangingPunct="0">
              <a:spcBef>
                <a:spcPct val="50000"/>
              </a:spcBef>
              <a:spcAft>
                <a:spcPct val="0"/>
              </a:spcAft>
              <a:buClr>
                <a:schemeClr val="tx2"/>
              </a:buClr>
              <a:buChar char="-"/>
              <a:defRPr sz="1400">
                <a:solidFill>
                  <a:schemeClr val="tx1"/>
                </a:solidFill>
                <a:latin typeface="Arial" charset="0"/>
              </a:defRPr>
            </a:lvl8pPr>
            <a:lvl9pPr marL="2730500" indent="-179388" eaLnBrk="0" fontAlgn="base" hangingPunct="0">
              <a:spcBef>
                <a:spcPct val="50000"/>
              </a:spcBef>
              <a:spcAft>
                <a:spcPct val="0"/>
              </a:spcAft>
              <a:buClr>
                <a:schemeClr val="tx2"/>
              </a:buClr>
              <a:buChar char="-"/>
              <a:defRPr sz="1400">
                <a:solidFill>
                  <a:schemeClr val="tx1"/>
                </a:solidFill>
                <a:latin typeface="Arial" charset="0"/>
              </a:defRPr>
            </a:lvl9pPr>
          </a:lstStyle>
          <a:p>
            <a:pPr>
              <a:buFont typeface="Wingdings" pitchFamily="2" charset="2"/>
              <a:buNone/>
            </a:pPr>
            <a:r>
              <a:rPr lang="de-DE" altLang="en-US" b="1"/>
              <a:t>Napływ środków netto do publicznych funduszy inwestycyjnych w Niemczech a wyniki indeksu DAX</a:t>
            </a:r>
          </a:p>
        </p:txBody>
      </p:sp>
      <p:pic>
        <p:nvPicPr>
          <p:cNvPr id="5" name="Picture 1" descr="&lt;Chart&gt;&lt;ImageInfo ChartType=&quot;&quot; Version=&quot;5.34.1270.0&quot; GUID=&quot;f2f5f06c9e824590a141311c81b48466&quot; DsId=&quot;XDIT902&quot; T1SubID=&quot;&quot; Width=&quot;1116&quot; Height=&quot;385&quot; Format=&quot;emf&quot; ChartGroupUID=&quot;2f839bc8-f50a-4c51-a12f-97740b1ad719&quot; GroupName=&quot;CMTR&quot; ChartName=&quot;NMA Aktienfonds &amp;amp; DAX j/j_englisch&quot; ChartStyleName=&quot;&quot; GroupNameEncoded=&quot;CMTR&quot; ChartNameEncoded=&quot;NMA+Aktienfonds+%26+DAX+j%2fj_englisch&quot; ChartStyleNameEncoded=&quot;&quot; ShortCode=&quot;&quot; ChartOwner=&quot;XDIT902&quot; TemplateId=&quot;&quot; TemplateName=&quot;&quot; TemplateNameEncoded=&quot;&quot; EditionId=&quot;&quot; EditionGenerationDate=&quot;&quot; RefreshDate=&quot;18.09.2024 08:31:42&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quot; DoStretch=&quot;true&quot; Pr=&quot;&quot; RetrieveParams=&quot;&quot; /&gt;&lt;/Chart&gt;">
            <a:extLst>
              <a:ext uri="{FF2B5EF4-FFF2-40B4-BE49-F238E27FC236}">
                <a16:creationId xmlns:a16="http://schemas.microsoft.com/office/drawing/2014/main" id="{87CA5E9A-9F4C-E8EF-5549-A8A358627CFB}"/>
              </a:ext>
            </a:extLst>
          </p:cNvPr>
          <p:cNvPicPr>
            <a:picLocks/>
          </p:cNvPicPr>
          <p:nvPr/>
        </p:nvPicPr>
        <p:blipFill>
          <a:blip r:embed="rId3"/>
          <a:stretch>
            <a:fillRect/>
          </a:stretch>
        </p:blipFill>
        <p:spPr>
          <a:xfrm>
            <a:off x="395925" y="2385512"/>
            <a:ext cx="10636691" cy="3670299"/>
          </a:xfrm>
          <a:prstGeom prst="rect">
            <a:avLst/>
          </a:prstGeom>
          <a:solidFill>
            <a:srgbClr val="FFFFFF"/>
          </a:solidFill>
          <a:ln>
            <a:noFill/>
          </a:ln>
        </p:spPr>
      </p:pic>
    </p:spTree>
    <p:extLst>
      <p:ext uri="{BB962C8B-B14F-4D97-AF65-F5344CB8AC3E}">
        <p14:creationId xmlns:p14="http://schemas.microsoft.com/office/powerpoint/2010/main" val="1443881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p:txBody>
          <a:bodyPr/>
          <a:lstStyle/>
          <a:p>
            <a:r>
              <a:rPr lang="pl-PL" altLang="en-US" dirty="0"/>
              <a:t>Zbyt duża pewność siebie</a:t>
            </a:r>
            <a:r>
              <a:rPr lang="de-DE" altLang="en-US" dirty="0"/>
              <a:t>:</a:t>
            </a:r>
            <a:br>
              <a:rPr lang="de-DE" altLang="en-US" dirty="0"/>
            </a:br>
            <a:r>
              <a:rPr lang="pl-PL" altLang="en-US" dirty="0"/>
              <a:t>Istnieją tylko dobrzy kierowcy</a:t>
            </a:r>
            <a:r>
              <a:rPr lang="de-DE" altLang="en-US" dirty="0"/>
              <a:t>!</a:t>
            </a:r>
            <a:endParaRPr lang="de-DE" altLang="de-DE" dirty="0"/>
          </a:p>
        </p:txBody>
      </p:sp>
      <p:sp>
        <p:nvSpPr>
          <p:cNvPr id="44036" name="Textfeld 3"/>
          <p:cNvSpPr txBox="1">
            <a:spLocks noChangeArrowheads="1"/>
          </p:cNvSpPr>
          <p:nvPr/>
        </p:nvSpPr>
        <p:spPr bwMode="auto">
          <a:xfrm>
            <a:off x="11049001" y="6069013"/>
            <a:ext cx="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Clr>
                <a:srgbClr val="003087"/>
              </a:buClr>
              <a:buFont typeface="Wingdings" pitchFamily="2" charset="2"/>
              <a:buNone/>
            </a:pPr>
            <a:endParaRPr lang="en-GB" altLang="de-DE">
              <a:solidFill>
                <a:srgbClr val="000000"/>
              </a:solidFill>
            </a:endParaRPr>
          </a:p>
        </p:txBody>
      </p:sp>
      <p:grpSp>
        <p:nvGrpSpPr>
          <p:cNvPr id="8" name="Gruppieren 7"/>
          <p:cNvGrpSpPr>
            <a:grpSpLocks/>
          </p:cNvGrpSpPr>
          <p:nvPr/>
        </p:nvGrpSpPr>
        <p:grpSpPr bwMode="auto">
          <a:xfrm>
            <a:off x="7969251" y="3000375"/>
            <a:ext cx="1273175" cy="1011238"/>
            <a:chOff x="6826261" y="2755986"/>
            <a:chExt cx="1272414" cy="1010802"/>
          </a:xfrm>
        </p:grpSpPr>
        <p:sp>
          <p:nvSpPr>
            <p:cNvPr id="44053" name="Ellipse 10"/>
            <p:cNvSpPr>
              <a:spLocks noChangeArrowheads="1"/>
            </p:cNvSpPr>
            <p:nvPr/>
          </p:nvSpPr>
          <p:spPr bwMode="auto">
            <a:xfrm>
              <a:off x="6826261" y="2755986"/>
              <a:ext cx="419860" cy="296372"/>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44054" name="Ellipse 165"/>
            <p:cNvSpPr>
              <a:spLocks noChangeArrowheads="1"/>
            </p:cNvSpPr>
            <p:nvPr/>
          </p:nvSpPr>
          <p:spPr bwMode="auto">
            <a:xfrm>
              <a:off x="7368609" y="3052358"/>
              <a:ext cx="298066" cy="2104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44055" name="Ellipse 166"/>
            <p:cNvSpPr>
              <a:spLocks noChangeArrowheads="1"/>
            </p:cNvSpPr>
            <p:nvPr/>
          </p:nvSpPr>
          <p:spPr bwMode="auto">
            <a:xfrm>
              <a:off x="7954675" y="3658788"/>
              <a:ext cx="144000" cy="1080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44056" name="Ellipse 167"/>
            <p:cNvSpPr>
              <a:spLocks noChangeArrowheads="1"/>
            </p:cNvSpPr>
            <p:nvPr/>
          </p:nvSpPr>
          <p:spPr bwMode="auto">
            <a:xfrm>
              <a:off x="7665004" y="3317955"/>
              <a:ext cx="216000" cy="1440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grpSp>
      <p:grpSp>
        <p:nvGrpSpPr>
          <p:cNvPr id="12" name="Gruppieren 11"/>
          <p:cNvGrpSpPr>
            <a:grpSpLocks/>
          </p:cNvGrpSpPr>
          <p:nvPr/>
        </p:nvGrpSpPr>
        <p:grpSpPr bwMode="auto">
          <a:xfrm flipH="1">
            <a:off x="3527425" y="3125788"/>
            <a:ext cx="1030288" cy="908050"/>
            <a:chOff x="6731508" y="2690668"/>
            <a:chExt cx="1197903" cy="978836"/>
          </a:xfrm>
        </p:grpSpPr>
        <p:sp>
          <p:nvSpPr>
            <p:cNvPr id="44049" name="Ellipse 168"/>
            <p:cNvSpPr>
              <a:spLocks noChangeArrowheads="1"/>
            </p:cNvSpPr>
            <p:nvPr/>
          </p:nvSpPr>
          <p:spPr bwMode="auto">
            <a:xfrm>
              <a:off x="6731508" y="2690668"/>
              <a:ext cx="419860" cy="296372"/>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44050" name="Ellipse 169"/>
            <p:cNvSpPr>
              <a:spLocks noChangeArrowheads="1"/>
            </p:cNvSpPr>
            <p:nvPr/>
          </p:nvSpPr>
          <p:spPr bwMode="auto">
            <a:xfrm>
              <a:off x="7204267" y="3003199"/>
              <a:ext cx="298066" cy="2104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44051" name="Ellipse 170"/>
            <p:cNvSpPr>
              <a:spLocks noChangeArrowheads="1"/>
            </p:cNvSpPr>
            <p:nvPr/>
          </p:nvSpPr>
          <p:spPr bwMode="auto">
            <a:xfrm>
              <a:off x="7785411" y="3561504"/>
              <a:ext cx="144000" cy="1080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44052" name="Ellipse 171"/>
            <p:cNvSpPr>
              <a:spLocks noChangeArrowheads="1"/>
            </p:cNvSpPr>
            <p:nvPr/>
          </p:nvSpPr>
          <p:spPr bwMode="auto">
            <a:xfrm>
              <a:off x="7533411" y="3267402"/>
              <a:ext cx="216000" cy="1440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grpSp>
      <p:grpSp>
        <p:nvGrpSpPr>
          <p:cNvPr id="9" name="Gruppieren 8"/>
          <p:cNvGrpSpPr>
            <a:grpSpLocks/>
          </p:cNvGrpSpPr>
          <p:nvPr/>
        </p:nvGrpSpPr>
        <p:grpSpPr bwMode="auto">
          <a:xfrm>
            <a:off x="6329363" y="3603626"/>
            <a:ext cx="215900" cy="366713"/>
            <a:chOff x="5186106" y="3359715"/>
            <a:chExt cx="216000" cy="366522"/>
          </a:xfrm>
        </p:grpSpPr>
        <p:sp>
          <p:nvSpPr>
            <p:cNvPr id="44047" name="Ellipse 174"/>
            <p:cNvSpPr>
              <a:spLocks noChangeArrowheads="1"/>
            </p:cNvSpPr>
            <p:nvPr/>
          </p:nvSpPr>
          <p:spPr bwMode="auto">
            <a:xfrm>
              <a:off x="5222106" y="3618237"/>
              <a:ext cx="144000" cy="1080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44048" name="Ellipse 175"/>
            <p:cNvSpPr>
              <a:spLocks noChangeArrowheads="1"/>
            </p:cNvSpPr>
            <p:nvPr/>
          </p:nvSpPr>
          <p:spPr bwMode="auto">
            <a:xfrm>
              <a:off x="5186106" y="3359715"/>
              <a:ext cx="216000" cy="1440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grpSp>
      <p:grpSp>
        <p:nvGrpSpPr>
          <p:cNvPr id="13" name="Gruppieren 12"/>
          <p:cNvGrpSpPr>
            <a:grpSpLocks/>
          </p:cNvGrpSpPr>
          <p:nvPr/>
        </p:nvGrpSpPr>
        <p:grpSpPr bwMode="auto">
          <a:xfrm>
            <a:off x="4491038" y="1509714"/>
            <a:ext cx="3471862" cy="2046287"/>
            <a:chOff x="3347428" y="1265479"/>
            <a:chExt cx="3472643" cy="2046083"/>
          </a:xfrm>
        </p:grpSpPr>
        <p:sp>
          <p:nvSpPr>
            <p:cNvPr id="44045" name="Ellipse 9"/>
            <p:cNvSpPr>
              <a:spLocks noChangeArrowheads="1"/>
            </p:cNvSpPr>
            <p:nvPr/>
          </p:nvSpPr>
          <p:spPr bwMode="auto">
            <a:xfrm rot="21369280" flipH="1">
              <a:off x="3347428" y="1265479"/>
              <a:ext cx="3472643" cy="2046083"/>
            </a:xfrm>
            <a:prstGeom prst="ellipse">
              <a:avLst/>
            </a:prstGeom>
            <a:solidFill>
              <a:schemeClr val="bg1"/>
            </a:solidFill>
            <a:ln w="571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pic>
          <p:nvPicPr>
            <p:cNvPr id="4404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16967">
              <a:off x="3725494" y="1421092"/>
              <a:ext cx="2727747" cy="1587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 name="Grafik 5"/>
          <p:cNvPicPr>
            <a:picLocks noChangeAspect="1"/>
          </p:cNvPicPr>
          <p:nvPr/>
        </p:nvPicPr>
        <p:blipFill>
          <a:blip r:embed="rId4">
            <a:extLst>
              <a:ext uri="{28A0092B-C50C-407E-A947-70E740481C1C}">
                <a14:useLocalDpi xmlns:a14="http://schemas.microsoft.com/office/drawing/2010/main" val="0"/>
              </a:ext>
            </a:extLst>
          </a:blip>
          <a:srcRect l="1678" r="69124"/>
          <a:stretch>
            <a:fillRect/>
          </a:stretch>
        </p:blipFill>
        <p:spPr bwMode="auto">
          <a:xfrm>
            <a:off x="1400175" y="4114801"/>
            <a:ext cx="2838450"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20"/>
          <p:cNvPicPr>
            <a:picLocks noChangeAspect="1"/>
          </p:cNvPicPr>
          <p:nvPr/>
        </p:nvPicPr>
        <p:blipFill>
          <a:blip r:embed="rId4">
            <a:extLst>
              <a:ext uri="{28A0092B-C50C-407E-A947-70E740481C1C}">
                <a14:useLocalDpi xmlns:a14="http://schemas.microsoft.com/office/drawing/2010/main" val="0"/>
              </a:ext>
            </a:extLst>
          </a:blip>
          <a:srcRect l="34978" r="35825"/>
          <a:stretch>
            <a:fillRect/>
          </a:stretch>
        </p:blipFill>
        <p:spPr bwMode="auto">
          <a:xfrm>
            <a:off x="4649788" y="4114801"/>
            <a:ext cx="2836862"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p:nvPicPr>
        <p:blipFill>
          <a:blip r:embed="rId4">
            <a:extLst>
              <a:ext uri="{28A0092B-C50C-407E-A947-70E740481C1C}">
                <a14:useLocalDpi xmlns:a14="http://schemas.microsoft.com/office/drawing/2010/main" val="0"/>
              </a:ext>
            </a:extLst>
          </a:blip>
          <a:srcRect l="68156" r="2644"/>
          <a:stretch>
            <a:fillRect/>
          </a:stretch>
        </p:blipFill>
        <p:spPr bwMode="auto">
          <a:xfrm>
            <a:off x="7993063" y="4114801"/>
            <a:ext cx="2836862"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Gerader Verbinder 14"/>
          <p:cNvCxnSpPr/>
          <p:nvPr/>
        </p:nvCxnSpPr>
        <p:spPr bwMode="auto">
          <a:xfrm>
            <a:off x="1166813" y="5651500"/>
            <a:ext cx="9885362" cy="0"/>
          </a:xfrm>
          <a:prstGeom prst="line">
            <a:avLst/>
          </a:prstGeom>
          <a:noFill/>
          <a:ln w="6350" cap="flat" cmpd="sng" algn="ctr">
            <a:solidFill>
              <a:schemeClr val="tx1">
                <a:lumMod val="95000"/>
                <a:lumOff val="5000"/>
              </a:schemeClr>
            </a:solidFill>
            <a:prstDash val="solid"/>
            <a:round/>
            <a:headEnd type="none" w="med" len="med"/>
            <a:tailEnd type="none" w="med" len="med"/>
          </a:ln>
          <a:effectLst/>
        </p:spPr>
      </p:cxnSp>
    </p:spTree>
    <p:extLst>
      <p:ext uri="{BB962C8B-B14F-4D97-AF65-F5344CB8AC3E}">
        <p14:creationId xmlns:p14="http://schemas.microsoft.com/office/powerpoint/2010/main" val="40409638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52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anim calcmode="lin" valueType="num">
                                      <p:cBhvr>
                                        <p:cTn id="10" dur="500" fill="hold"/>
                                        <p:tgtEl>
                                          <p:spTgt spid="6"/>
                                        </p:tgtEl>
                                        <p:attrNameLst>
                                          <p:attrName>ppt_x</p:attrName>
                                        </p:attrNameLst>
                                      </p:cBhvr>
                                      <p:tavLst>
                                        <p:tav tm="0">
                                          <p:val>
                                            <p:fltVal val="0.5"/>
                                          </p:val>
                                        </p:tav>
                                        <p:tav tm="100000">
                                          <p:val>
                                            <p:strVal val="#ppt_x"/>
                                          </p:val>
                                        </p:tav>
                                      </p:tavLst>
                                    </p:anim>
                                    <p:anim calcmode="lin" valueType="num">
                                      <p:cBhvr>
                                        <p:cTn id="11" dur="500" fill="hold"/>
                                        <p:tgtEl>
                                          <p:spTgt spid="6"/>
                                        </p:tgtEl>
                                        <p:attrNameLst>
                                          <p:attrName>ppt_y</p:attrName>
                                        </p:attrNameLst>
                                      </p:cBhvr>
                                      <p:tavLst>
                                        <p:tav tm="0">
                                          <p:val>
                                            <p:fltVal val="0.5"/>
                                          </p:val>
                                        </p:tav>
                                        <p:tav tm="100000">
                                          <p:val>
                                            <p:strVal val="#ppt_y"/>
                                          </p:val>
                                        </p:tav>
                                      </p:tavLst>
                                    </p:anim>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22" presetClass="entr" presetSubtype="4"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par>
                                <p:cTn id="18" presetID="53" presetClass="entr" presetSubtype="528" fill="hold" nodeType="withEffect">
                                  <p:stCondLst>
                                    <p:cond delay="150"/>
                                  </p:stCondLst>
                                  <p:childTnLst>
                                    <p:set>
                                      <p:cBhvr>
                                        <p:cTn id="19" dur="1" fill="hold">
                                          <p:stCondLst>
                                            <p:cond delay="0"/>
                                          </p:stCondLst>
                                        </p:cTn>
                                        <p:tgtEl>
                                          <p:spTgt spid="21"/>
                                        </p:tgtEl>
                                        <p:attrNameLst>
                                          <p:attrName>style.visibility</p:attrName>
                                        </p:attrNameLst>
                                      </p:cBhvr>
                                      <p:to>
                                        <p:strVal val="visible"/>
                                      </p:to>
                                    </p:set>
                                    <p:anim calcmode="lin" valueType="num">
                                      <p:cBhvr>
                                        <p:cTn id="20" dur="500" fill="hold"/>
                                        <p:tgtEl>
                                          <p:spTgt spid="21"/>
                                        </p:tgtEl>
                                        <p:attrNameLst>
                                          <p:attrName>ppt_w</p:attrName>
                                        </p:attrNameLst>
                                      </p:cBhvr>
                                      <p:tavLst>
                                        <p:tav tm="0">
                                          <p:val>
                                            <p:fltVal val="0"/>
                                          </p:val>
                                        </p:tav>
                                        <p:tav tm="100000">
                                          <p:val>
                                            <p:strVal val="#ppt_w"/>
                                          </p:val>
                                        </p:tav>
                                      </p:tavLst>
                                    </p:anim>
                                    <p:anim calcmode="lin" valueType="num">
                                      <p:cBhvr>
                                        <p:cTn id="21" dur="500" fill="hold"/>
                                        <p:tgtEl>
                                          <p:spTgt spid="21"/>
                                        </p:tgtEl>
                                        <p:attrNameLst>
                                          <p:attrName>ppt_h</p:attrName>
                                        </p:attrNameLst>
                                      </p:cBhvr>
                                      <p:tavLst>
                                        <p:tav tm="0">
                                          <p:val>
                                            <p:fltVal val="0"/>
                                          </p:val>
                                        </p:tav>
                                        <p:tav tm="100000">
                                          <p:val>
                                            <p:strVal val="#ppt_h"/>
                                          </p:val>
                                        </p:tav>
                                      </p:tavLst>
                                    </p:anim>
                                    <p:animEffect transition="in" filter="fade">
                                      <p:cBhvr>
                                        <p:cTn id="22" dur="500"/>
                                        <p:tgtEl>
                                          <p:spTgt spid="21"/>
                                        </p:tgtEl>
                                      </p:cBhvr>
                                    </p:animEffect>
                                    <p:anim calcmode="lin" valueType="num">
                                      <p:cBhvr>
                                        <p:cTn id="23" dur="500" fill="hold"/>
                                        <p:tgtEl>
                                          <p:spTgt spid="21"/>
                                        </p:tgtEl>
                                        <p:attrNameLst>
                                          <p:attrName>ppt_x</p:attrName>
                                        </p:attrNameLst>
                                      </p:cBhvr>
                                      <p:tavLst>
                                        <p:tav tm="0">
                                          <p:val>
                                            <p:fltVal val="0.5"/>
                                          </p:val>
                                        </p:tav>
                                        <p:tav tm="100000">
                                          <p:val>
                                            <p:strVal val="#ppt_x"/>
                                          </p:val>
                                        </p:tav>
                                      </p:tavLst>
                                    </p:anim>
                                    <p:anim calcmode="lin" valueType="num">
                                      <p:cBhvr>
                                        <p:cTn id="24" dur="500" fill="hold"/>
                                        <p:tgtEl>
                                          <p:spTgt spid="21"/>
                                        </p:tgtEl>
                                        <p:attrNameLst>
                                          <p:attrName>ppt_y</p:attrName>
                                        </p:attrNameLst>
                                      </p:cBhvr>
                                      <p:tavLst>
                                        <p:tav tm="0">
                                          <p:val>
                                            <p:fltVal val="0.5"/>
                                          </p:val>
                                        </p:tav>
                                        <p:tav tm="100000">
                                          <p:val>
                                            <p:strVal val="#ppt_y"/>
                                          </p:val>
                                        </p:tav>
                                      </p:tavLst>
                                    </p:anim>
                                  </p:childTnLst>
                                </p:cTn>
                              </p:par>
                              <p:par>
                                <p:cTn id="25" presetID="10" presetClass="entr" presetSubtype="0" fill="hold" nodeType="withEffect">
                                  <p:stCondLst>
                                    <p:cond delay="15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53" presetClass="entr" presetSubtype="528" fill="hold" nodeType="withEffect">
                                  <p:stCondLst>
                                    <p:cond delay="300"/>
                                  </p:stCondLst>
                                  <p:childTnLst>
                                    <p:set>
                                      <p:cBhvr>
                                        <p:cTn id="29" dur="1" fill="hold">
                                          <p:stCondLst>
                                            <p:cond delay="0"/>
                                          </p:stCondLst>
                                        </p:cTn>
                                        <p:tgtEl>
                                          <p:spTgt spid="22"/>
                                        </p:tgtEl>
                                        <p:attrNameLst>
                                          <p:attrName>style.visibility</p:attrName>
                                        </p:attrNameLst>
                                      </p:cBhvr>
                                      <p:to>
                                        <p:strVal val="visible"/>
                                      </p:to>
                                    </p:set>
                                    <p:anim calcmode="lin" valueType="num">
                                      <p:cBhvr>
                                        <p:cTn id="30" dur="500" fill="hold"/>
                                        <p:tgtEl>
                                          <p:spTgt spid="22"/>
                                        </p:tgtEl>
                                        <p:attrNameLst>
                                          <p:attrName>ppt_w</p:attrName>
                                        </p:attrNameLst>
                                      </p:cBhvr>
                                      <p:tavLst>
                                        <p:tav tm="0">
                                          <p:val>
                                            <p:fltVal val="0"/>
                                          </p:val>
                                        </p:tav>
                                        <p:tav tm="100000">
                                          <p:val>
                                            <p:strVal val="#ppt_w"/>
                                          </p:val>
                                        </p:tav>
                                      </p:tavLst>
                                    </p:anim>
                                    <p:anim calcmode="lin" valueType="num">
                                      <p:cBhvr>
                                        <p:cTn id="31" dur="500" fill="hold"/>
                                        <p:tgtEl>
                                          <p:spTgt spid="22"/>
                                        </p:tgtEl>
                                        <p:attrNameLst>
                                          <p:attrName>ppt_h</p:attrName>
                                        </p:attrNameLst>
                                      </p:cBhvr>
                                      <p:tavLst>
                                        <p:tav tm="0">
                                          <p:val>
                                            <p:fltVal val="0"/>
                                          </p:val>
                                        </p:tav>
                                        <p:tav tm="100000">
                                          <p:val>
                                            <p:strVal val="#ppt_h"/>
                                          </p:val>
                                        </p:tav>
                                      </p:tavLst>
                                    </p:anim>
                                    <p:animEffect transition="in" filter="fade">
                                      <p:cBhvr>
                                        <p:cTn id="32" dur="500"/>
                                        <p:tgtEl>
                                          <p:spTgt spid="22"/>
                                        </p:tgtEl>
                                      </p:cBhvr>
                                    </p:animEffect>
                                    <p:anim calcmode="lin" valueType="num">
                                      <p:cBhvr>
                                        <p:cTn id="33" dur="500" fill="hold"/>
                                        <p:tgtEl>
                                          <p:spTgt spid="22"/>
                                        </p:tgtEl>
                                        <p:attrNameLst>
                                          <p:attrName>ppt_x</p:attrName>
                                        </p:attrNameLst>
                                      </p:cBhvr>
                                      <p:tavLst>
                                        <p:tav tm="0">
                                          <p:val>
                                            <p:fltVal val="0.5"/>
                                          </p:val>
                                        </p:tav>
                                        <p:tav tm="100000">
                                          <p:val>
                                            <p:strVal val="#ppt_x"/>
                                          </p:val>
                                        </p:tav>
                                      </p:tavLst>
                                    </p:anim>
                                    <p:anim calcmode="lin" valueType="num">
                                      <p:cBhvr>
                                        <p:cTn id="34" dur="500" fill="hold"/>
                                        <p:tgtEl>
                                          <p:spTgt spid="22"/>
                                        </p:tgtEl>
                                        <p:attrNameLst>
                                          <p:attrName>ppt_y</p:attrName>
                                        </p:attrNameLst>
                                      </p:cBhvr>
                                      <p:tavLst>
                                        <p:tav tm="0">
                                          <p:val>
                                            <p:fltVal val="0.5"/>
                                          </p:val>
                                        </p:tav>
                                        <p:tav tm="100000">
                                          <p:val>
                                            <p:strVal val="#ppt_y"/>
                                          </p:val>
                                        </p:tav>
                                      </p:tavLst>
                                    </p:anim>
                                  </p:childTnLst>
                                </p:cTn>
                              </p:par>
                              <p:par>
                                <p:cTn id="35" presetID="10" presetClass="entr" presetSubtype="0" fill="hold" nodeType="withEffect">
                                  <p:stCondLst>
                                    <p:cond delay="3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22" presetClass="entr" presetSubtype="4" fill="hold"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down)">
                                      <p:cBhvr>
                                        <p:cTn id="42" dur="500"/>
                                        <p:tgtEl>
                                          <p:spTgt spid="12"/>
                                        </p:tgtEl>
                                      </p:cBhvr>
                                    </p:animEffect>
                                  </p:childTnLst>
                                </p:cTn>
                              </p:par>
                              <p:par>
                                <p:cTn id="43" presetID="22" presetClass="entr" presetSubtype="4" fill="hold" nodeType="with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wipe(down)">
                                      <p:cBhvr>
                                        <p:cTn id="45" dur="500"/>
                                        <p:tgtEl>
                                          <p:spTgt spid="9"/>
                                        </p:tgtEl>
                                      </p:cBhvr>
                                    </p:animEffect>
                                  </p:childTnLst>
                                </p:cTn>
                              </p:par>
                              <p:par>
                                <p:cTn id="46" presetID="22" presetClass="entr" presetSubtype="4" fill="hold" nodeType="with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wipe(down)">
                                      <p:cBhvr>
                                        <p:cTn id="48" dur="500"/>
                                        <p:tgtEl>
                                          <p:spTgt spid="8"/>
                                        </p:tgtEl>
                                      </p:cBhvr>
                                    </p:animEffect>
                                  </p:childTnLst>
                                </p:cTn>
                              </p:par>
                            </p:childTnLst>
                          </p:cTn>
                        </p:par>
                        <p:par>
                          <p:cTn id="49" fill="hold" nodeType="afterGroup">
                            <p:stCondLst>
                              <p:cond delay="500"/>
                            </p:stCondLst>
                            <p:childTnLst>
                              <p:par>
                                <p:cTn id="50" presetID="10" presetClass="entr" presetSubtype="0" fill="hold"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7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2"/>
          <p:cNvSpPr>
            <a:spLocks noChangeArrowheads="1"/>
          </p:cNvSpPr>
          <p:nvPr/>
        </p:nvSpPr>
        <p:spPr bwMode="auto">
          <a:xfrm>
            <a:off x="1435100" y="2029915"/>
            <a:ext cx="9232900" cy="4244975"/>
          </a:xfrm>
          <a:prstGeom prst="rect">
            <a:avLst/>
          </a:prstGeom>
          <a:solidFill>
            <a:srgbClr val="DEDFE0"/>
          </a:solidFill>
          <a:ln>
            <a:noFill/>
          </a:ln>
          <a:effectLst/>
          <a:extLst>
            <a:ext uri="{91240B29-F687-4F45-9708-019B960494DF}">
              <a14:hiddenLine xmlns:a14="http://schemas.microsoft.com/office/drawing/2010/main" w="1270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endParaRPr lang="en-US" altLang="de-DE"/>
          </a:p>
        </p:txBody>
      </p:sp>
      <p:sp>
        <p:nvSpPr>
          <p:cNvPr id="49156" name="Rectangle 3"/>
          <p:cNvSpPr>
            <a:spLocks noGrp="1" noChangeArrowheads="1"/>
          </p:cNvSpPr>
          <p:nvPr>
            <p:ph type="title"/>
          </p:nvPr>
        </p:nvSpPr>
        <p:spPr>
          <a:xfrm>
            <a:off x="398770" y="248857"/>
            <a:ext cx="9944006" cy="791565"/>
          </a:xfrm>
        </p:spPr>
        <p:txBody>
          <a:bodyPr/>
          <a:lstStyle/>
          <a:p>
            <a:pPr eaLnBrk="1" hangingPunct="1"/>
            <a:r>
              <a:rPr lang="de-DE" altLang="en-US" dirty="0" err="1"/>
              <a:t>Iluzja</a:t>
            </a:r>
            <a:r>
              <a:rPr lang="de-DE" altLang="en-US" dirty="0"/>
              <a:t> </a:t>
            </a:r>
            <a:r>
              <a:rPr lang="de-DE" altLang="en-US" dirty="0" err="1"/>
              <a:t>kontroli</a:t>
            </a:r>
            <a:r>
              <a:rPr lang="de-DE" altLang="en-US" dirty="0"/>
              <a:t> i </a:t>
            </a:r>
            <a:r>
              <a:rPr lang="de-DE" altLang="en-US" dirty="0" err="1"/>
              <a:t>wiedzy</a:t>
            </a:r>
            <a:br>
              <a:rPr lang="de-DE" altLang="en-US" dirty="0"/>
            </a:br>
            <a:r>
              <a:rPr lang="de-DE" altLang="en-US" dirty="0" err="1"/>
              <a:t>Przykład</a:t>
            </a:r>
            <a:r>
              <a:rPr lang="de-DE" altLang="en-US" dirty="0"/>
              <a:t>: "</a:t>
            </a:r>
            <a:r>
              <a:rPr lang="de-DE" altLang="en-US" dirty="0" err="1"/>
              <a:t>Efekt</a:t>
            </a:r>
            <a:r>
              <a:rPr lang="de-DE" altLang="en-US" dirty="0"/>
              <a:t> </a:t>
            </a:r>
            <a:r>
              <a:rPr lang="de-DE" altLang="en-US" dirty="0" err="1"/>
              <a:t>indyka</a:t>
            </a:r>
            <a:r>
              <a:rPr lang="de-DE" altLang="en-US" dirty="0"/>
              <a:t>"</a:t>
            </a:r>
            <a:endParaRPr lang="en-US" altLang="en-US" dirty="0"/>
          </a:p>
        </p:txBody>
      </p:sp>
      <p:sp>
        <p:nvSpPr>
          <p:cNvPr id="5" name="Text Placeholder 4">
            <a:extLst>
              <a:ext uri="{FF2B5EF4-FFF2-40B4-BE49-F238E27FC236}">
                <a16:creationId xmlns:a16="http://schemas.microsoft.com/office/drawing/2014/main" id="{39C4E786-65E1-9C87-FF4E-17D71D1AABEB}"/>
              </a:ext>
            </a:extLst>
          </p:cNvPr>
          <p:cNvSpPr>
            <a:spLocks noGrp="1"/>
          </p:cNvSpPr>
          <p:nvPr>
            <p:ph type="body" sz="quarter" idx="24"/>
          </p:nvPr>
        </p:nvSpPr>
        <p:spPr/>
        <p:txBody>
          <a:bodyPr/>
          <a:lstStyle/>
          <a:p>
            <a:pPr>
              <a:spcBef>
                <a:spcPts val="420"/>
              </a:spcBef>
              <a:spcAft>
                <a:spcPts val="0"/>
              </a:spcAft>
              <a:buNone/>
              <a:defRPr/>
            </a:pPr>
            <a:r>
              <a:rPr lang="en-US" altLang="en-US" b="1" dirty="0">
                <a:latin typeface="+mn-lt"/>
              </a:rPr>
              <a:t>"</a:t>
            </a:r>
            <a:r>
              <a:rPr lang="en-US" altLang="en-US" b="1" dirty="0" err="1">
                <a:latin typeface="+mn-lt"/>
              </a:rPr>
              <a:t>Maszynka</a:t>
            </a:r>
            <a:r>
              <a:rPr lang="en-US" altLang="en-US" b="1" dirty="0">
                <a:latin typeface="+mn-lt"/>
              </a:rPr>
              <a:t> do </a:t>
            </a:r>
            <a:r>
              <a:rPr lang="pl-PL" altLang="en-US" b="1" dirty="0">
                <a:latin typeface="+mn-lt"/>
              </a:rPr>
              <a:t>robienia </a:t>
            </a:r>
            <a:r>
              <a:rPr lang="en-US" altLang="en-US" b="1" dirty="0" err="1">
                <a:latin typeface="+mn-lt"/>
              </a:rPr>
              <a:t>pieniędzy</a:t>
            </a:r>
            <a:r>
              <a:rPr lang="en-US" altLang="en-US" b="1" dirty="0">
                <a:latin typeface="+mn-lt"/>
              </a:rPr>
              <a:t>" </a:t>
            </a:r>
            <a:r>
              <a:rPr lang="en-US" altLang="en-US" b="1" dirty="0" err="1">
                <a:latin typeface="+mn-lt"/>
              </a:rPr>
              <a:t>lub</a:t>
            </a:r>
            <a:r>
              <a:rPr lang="en-US" altLang="en-US" b="1" dirty="0">
                <a:latin typeface="+mn-lt"/>
              </a:rPr>
              <a:t>: "</a:t>
            </a:r>
            <a:r>
              <a:rPr lang="en-US" altLang="en-US" b="1" dirty="0" err="1">
                <a:latin typeface="+mn-lt"/>
              </a:rPr>
              <a:t>Życie</a:t>
            </a:r>
            <a:r>
              <a:rPr lang="en-US" altLang="en-US" b="1" dirty="0">
                <a:latin typeface="+mn-lt"/>
              </a:rPr>
              <a:t> </a:t>
            </a:r>
            <a:r>
              <a:rPr lang="en-US" altLang="en-US" b="1" dirty="0" err="1">
                <a:latin typeface="+mn-lt"/>
              </a:rPr>
              <a:t>przed</a:t>
            </a:r>
            <a:r>
              <a:rPr lang="en-US" altLang="en-US" b="1" dirty="0">
                <a:latin typeface="+mn-lt"/>
              </a:rPr>
              <a:t> </a:t>
            </a:r>
            <a:r>
              <a:rPr lang="en-US" altLang="en-US" b="1" dirty="0" err="1">
                <a:latin typeface="+mn-lt"/>
              </a:rPr>
              <a:t>Świętem</a:t>
            </a:r>
            <a:r>
              <a:rPr lang="en-US" altLang="en-US" b="1" dirty="0">
                <a:latin typeface="+mn-lt"/>
              </a:rPr>
              <a:t> </a:t>
            </a:r>
            <a:r>
              <a:rPr lang="en-US" altLang="en-US" b="1" dirty="0" err="1">
                <a:latin typeface="+mn-lt"/>
              </a:rPr>
              <a:t>Dziękczynienia</a:t>
            </a:r>
            <a:r>
              <a:rPr lang="en-US" altLang="en-US" b="1" dirty="0">
                <a:latin typeface="+mn-lt"/>
              </a:rPr>
              <a:t>"</a:t>
            </a:r>
          </a:p>
        </p:txBody>
      </p:sp>
      <p:sp>
        <p:nvSpPr>
          <p:cNvPr id="3" name="Text Placeholder 2">
            <a:extLst>
              <a:ext uri="{FF2B5EF4-FFF2-40B4-BE49-F238E27FC236}">
                <a16:creationId xmlns:a16="http://schemas.microsoft.com/office/drawing/2014/main" id="{50C4FE57-E8CE-3338-9E64-2B411735B3B0}"/>
              </a:ext>
            </a:extLst>
          </p:cNvPr>
          <p:cNvSpPr>
            <a:spLocks noGrp="1"/>
          </p:cNvSpPr>
          <p:nvPr>
            <p:ph type="body" sz="quarter" idx="22"/>
          </p:nvPr>
        </p:nvSpPr>
        <p:spPr/>
        <p:txBody>
          <a:bodyPr/>
          <a:lstStyle/>
          <a:p>
            <a:pPr eaLnBrk="1" hangingPunct="1">
              <a:spcBef>
                <a:spcPct val="100000"/>
              </a:spcBef>
              <a:buClrTx/>
              <a:buFontTx/>
              <a:buNone/>
            </a:pPr>
            <a:r>
              <a:rPr lang="de-DE" altLang="en-US" sz="800"/>
              <a:t>Źródło: Datastream; Ilustracje: AllianzGI Global Capital Market &amp; Thematic Research</a:t>
            </a:r>
            <a:endParaRPr lang="de-DE" altLang="en-US" sz="800" dirty="0"/>
          </a:p>
        </p:txBody>
      </p:sp>
      <p:pic>
        <p:nvPicPr>
          <p:cNvPr id="49159" name="Picture 6" descr="Abbildung_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9100" y="2290265"/>
            <a:ext cx="8813800" cy="3806825"/>
          </a:xfrm>
          <a:prstGeom prst="rect">
            <a:avLst/>
          </a:prstGeom>
          <a:solidFill>
            <a:srgbClr val="DEDFE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49160" name="Rectangle 7"/>
          <p:cNvSpPr>
            <a:spLocks noChangeArrowheads="1"/>
          </p:cNvSpPr>
          <p:nvPr/>
        </p:nvSpPr>
        <p:spPr bwMode="auto">
          <a:xfrm>
            <a:off x="4887914" y="2218827"/>
            <a:ext cx="3432175" cy="1223963"/>
          </a:xfrm>
          <a:prstGeom prst="rect">
            <a:avLst/>
          </a:prstGeom>
          <a:solidFill>
            <a:srgbClr val="DCDCDC"/>
          </a:solidFill>
          <a:ln>
            <a:noFill/>
          </a:ln>
          <a:effectLst/>
          <a:extLs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algn="ctr" eaLnBrk="1" hangingPunct="1">
              <a:buClrTx/>
              <a:buFontTx/>
              <a:buNone/>
            </a:pPr>
            <a:endParaRPr lang="en-US" altLang="en-US">
              <a:solidFill>
                <a:schemeClr val="bg2"/>
              </a:solidFill>
            </a:endParaRPr>
          </a:p>
        </p:txBody>
      </p:sp>
      <p:sp>
        <p:nvSpPr>
          <p:cNvPr id="1530888" name="Line 8"/>
          <p:cNvSpPr>
            <a:spLocks noChangeShapeType="1"/>
          </p:cNvSpPr>
          <p:nvPr/>
        </p:nvSpPr>
        <p:spPr bwMode="auto">
          <a:xfrm>
            <a:off x="10079038" y="2617289"/>
            <a:ext cx="0" cy="2736850"/>
          </a:xfrm>
          <a:prstGeom prst="line">
            <a:avLst/>
          </a:prstGeom>
          <a:noFill/>
          <a:ln w="76200">
            <a:solidFill>
              <a:srgbClr val="DEDF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en-US"/>
          </a:p>
        </p:txBody>
      </p:sp>
      <p:pic>
        <p:nvPicPr>
          <p:cNvPr id="1530890" name="Picture 10" descr="truthahn-080211-xl"/>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86914" y="4739776"/>
            <a:ext cx="911225" cy="92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3" name="Text Box 11"/>
          <p:cNvSpPr txBox="1">
            <a:spLocks noChangeArrowheads="1"/>
          </p:cNvSpPr>
          <p:nvPr/>
        </p:nvSpPr>
        <p:spPr bwMode="auto">
          <a:xfrm rot="-5400000">
            <a:off x="1245689" y="4035462"/>
            <a:ext cx="1088439" cy="184666"/>
          </a:xfrm>
          <a:prstGeom prst="rect">
            <a:avLst/>
          </a:prstGeom>
          <a:solidFill>
            <a:srgbClr val="DEDFE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Font typeface="Wingdings" pitchFamily="2" charset="2"/>
              <a:buNone/>
            </a:pPr>
            <a:r>
              <a:rPr lang="de-DE" altLang="en-US" sz="1200" b="1"/>
              <a:t>Wartość portfela</a:t>
            </a:r>
          </a:p>
        </p:txBody>
      </p:sp>
      <p:pic>
        <p:nvPicPr>
          <p:cNvPr id="13" name="Picture 9"/>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62238" y="2485527"/>
            <a:ext cx="1885950" cy="19145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52725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xit" presetSubtype="4" fill="hold" grpId="0" nodeType="clickEffect">
                                  <p:stCondLst>
                                    <p:cond delay="0"/>
                                  </p:stCondLst>
                                  <p:childTnLst>
                                    <p:anim calcmode="lin" valueType="num">
                                      <p:cBhvr additive="base">
                                        <p:cTn id="6" dur="500"/>
                                        <p:tgtEl>
                                          <p:spTgt spid="1530888"/>
                                        </p:tgtEl>
                                        <p:attrNameLst>
                                          <p:attrName>ppt_x</p:attrName>
                                        </p:attrNameLst>
                                      </p:cBhvr>
                                      <p:tavLst>
                                        <p:tav tm="0">
                                          <p:val>
                                            <p:strVal val="ppt_x"/>
                                          </p:val>
                                        </p:tav>
                                        <p:tav tm="100000">
                                          <p:val>
                                            <p:strVal val="ppt_x"/>
                                          </p:val>
                                        </p:tav>
                                      </p:tavLst>
                                    </p:anim>
                                    <p:anim calcmode="lin" valueType="num">
                                      <p:cBhvr additive="base">
                                        <p:cTn id="7" dur="500"/>
                                        <p:tgtEl>
                                          <p:spTgt spid="1530888"/>
                                        </p:tgtEl>
                                        <p:attrNameLst>
                                          <p:attrName>ppt_y</p:attrName>
                                        </p:attrNameLst>
                                      </p:cBhvr>
                                      <p:tavLst>
                                        <p:tav tm="0">
                                          <p:val>
                                            <p:strVal val="ppt_y"/>
                                          </p:val>
                                        </p:tav>
                                        <p:tav tm="100000">
                                          <p:val>
                                            <p:strVal val="1+ppt_h/2"/>
                                          </p:val>
                                        </p:tav>
                                      </p:tavLst>
                                    </p:anim>
                                    <p:set>
                                      <p:cBhvr>
                                        <p:cTn id="8" dur="1" fill="hold">
                                          <p:stCondLst>
                                            <p:cond delay="499"/>
                                          </p:stCondLst>
                                        </p:cTn>
                                        <p:tgtEl>
                                          <p:spTgt spid="1530888"/>
                                        </p:tgtEl>
                                        <p:attrNameLst>
                                          <p:attrName>style.visibility</p:attrName>
                                        </p:attrNameLst>
                                      </p:cBhvr>
                                      <p:to>
                                        <p:strVal val="hidden"/>
                                      </p:to>
                                    </p:set>
                                  </p:childTnLst>
                                </p:cTn>
                              </p:par>
                              <p:par>
                                <p:cTn id="9" presetID="2" presetClass="entr" presetSubtype="2" fill="hold" nodeType="withEffect">
                                  <p:stCondLst>
                                    <p:cond delay="0"/>
                                  </p:stCondLst>
                                  <p:childTnLst>
                                    <p:set>
                                      <p:cBhvr>
                                        <p:cTn id="10" dur="1" fill="hold">
                                          <p:stCondLst>
                                            <p:cond delay="0"/>
                                          </p:stCondLst>
                                        </p:cTn>
                                        <p:tgtEl>
                                          <p:spTgt spid="1530890"/>
                                        </p:tgtEl>
                                        <p:attrNameLst>
                                          <p:attrName>style.visibility</p:attrName>
                                        </p:attrNameLst>
                                      </p:cBhvr>
                                      <p:to>
                                        <p:strVal val="visible"/>
                                      </p:to>
                                    </p:set>
                                    <p:anim calcmode="lin" valueType="num">
                                      <p:cBhvr additive="base">
                                        <p:cTn id="11" dur="500" fill="hold"/>
                                        <p:tgtEl>
                                          <p:spTgt spid="1530890"/>
                                        </p:tgtEl>
                                        <p:attrNameLst>
                                          <p:attrName>ppt_x</p:attrName>
                                        </p:attrNameLst>
                                      </p:cBhvr>
                                      <p:tavLst>
                                        <p:tav tm="0">
                                          <p:val>
                                            <p:strVal val="1+#ppt_w/2"/>
                                          </p:val>
                                        </p:tav>
                                        <p:tav tm="100000">
                                          <p:val>
                                            <p:strVal val="#ppt_x"/>
                                          </p:val>
                                        </p:tav>
                                      </p:tavLst>
                                    </p:anim>
                                    <p:anim calcmode="lin" valueType="num">
                                      <p:cBhvr additive="base">
                                        <p:cTn id="12" dur="500" fill="hold"/>
                                        <p:tgtEl>
                                          <p:spTgt spid="1530890"/>
                                        </p:tgtEl>
                                        <p:attrNameLst>
                                          <p:attrName>ppt_y</p:attrName>
                                        </p:attrNameLst>
                                      </p:cBhvr>
                                      <p:tavLst>
                                        <p:tav tm="0">
                                          <p:val>
                                            <p:strVal val="#ppt_y"/>
                                          </p:val>
                                        </p:tav>
                                        <p:tav tm="100000">
                                          <p:val>
                                            <p:strVal val="#ppt_y"/>
                                          </p:val>
                                        </p:tav>
                                      </p:tavLst>
                                    </p:anim>
                                  </p:childTnLst>
                                </p:cTn>
                              </p:par>
                              <p:par>
                                <p:cTn id="13" presetID="1" presetClass="entr" presetSubtype="0" fill="hold" nodeType="withEffect">
                                  <p:stCondLst>
                                    <p:cond delay="100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088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3"/>
          <p:cNvSpPr>
            <a:spLocks noChangeArrowheads="1"/>
          </p:cNvSpPr>
          <p:nvPr/>
        </p:nvSpPr>
        <p:spPr bwMode="auto">
          <a:xfrm>
            <a:off x="1382714" y="5740400"/>
            <a:ext cx="9577387" cy="541338"/>
          </a:xfrm>
          <a:prstGeom prst="rect">
            <a:avLst/>
          </a:prstGeom>
          <a:solidFill>
            <a:schemeClr val="bg1"/>
          </a:solidFill>
          <a:ln>
            <a:noFill/>
          </a:ln>
          <a:effectLst/>
          <a:extLs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endParaRPr lang="en-US" altLang="de-DE"/>
          </a:p>
        </p:txBody>
      </p:sp>
      <p:pic>
        <p:nvPicPr>
          <p:cNvPr id="50181"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8669" y="1172448"/>
            <a:ext cx="5871542" cy="398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2"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08839" y="2413498"/>
            <a:ext cx="3384550" cy="224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3" name="Text Box 11"/>
          <p:cNvSpPr txBox="1">
            <a:spLocks noChangeArrowheads="1"/>
          </p:cNvSpPr>
          <p:nvPr/>
        </p:nvSpPr>
        <p:spPr bwMode="auto">
          <a:xfrm rot="-5400000">
            <a:off x="733749" y="3004159"/>
            <a:ext cx="84478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Font typeface="Wingdings" pitchFamily="2" charset="2"/>
              <a:buNone/>
            </a:pPr>
            <a:r>
              <a:rPr lang="de-DE" altLang="en-US" dirty="0" err="1"/>
              <a:t>Częstotliwość</a:t>
            </a:r>
            <a:endParaRPr lang="de-DE" altLang="en-US" dirty="0"/>
          </a:p>
        </p:txBody>
      </p:sp>
      <p:sp>
        <p:nvSpPr>
          <p:cNvPr id="50184" name="Text Box 12"/>
          <p:cNvSpPr txBox="1">
            <a:spLocks noChangeArrowheads="1"/>
          </p:cNvSpPr>
          <p:nvPr/>
        </p:nvSpPr>
        <p:spPr bwMode="auto">
          <a:xfrm>
            <a:off x="2849547" y="5060235"/>
            <a:ext cx="254556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Font typeface="Wingdings" pitchFamily="2" charset="2"/>
              <a:buNone/>
            </a:pPr>
            <a:r>
              <a:rPr lang="de-DE" altLang="en-US" dirty="0" err="1"/>
              <a:t>Miesięczne</a:t>
            </a:r>
            <a:r>
              <a:rPr lang="de-DE" altLang="en-US" dirty="0"/>
              <a:t> </a:t>
            </a:r>
            <a:r>
              <a:rPr lang="de-DE" altLang="en-US" dirty="0" err="1"/>
              <a:t>zwroty</a:t>
            </a:r>
            <a:r>
              <a:rPr lang="de-DE" altLang="en-US" dirty="0"/>
              <a:t> Money </a:t>
            </a:r>
            <a:r>
              <a:rPr lang="de-DE" altLang="en-US" dirty="0" err="1"/>
              <a:t>Machine</a:t>
            </a:r>
            <a:endParaRPr lang="de-DE" altLang="en-US" dirty="0"/>
          </a:p>
        </p:txBody>
      </p:sp>
      <p:sp>
        <p:nvSpPr>
          <p:cNvPr id="50185" name="Rectangle 14"/>
          <p:cNvSpPr>
            <a:spLocks noChangeArrowheads="1"/>
          </p:cNvSpPr>
          <p:nvPr/>
        </p:nvSpPr>
        <p:spPr bwMode="auto">
          <a:xfrm>
            <a:off x="1485901" y="636588"/>
            <a:ext cx="7808913"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Bef>
                <a:spcPct val="0"/>
              </a:spcBef>
              <a:buClrTx/>
              <a:buFontTx/>
              <a:buNone/>
            </a:pPr>
            <a:endParaRPr lang="en-US" altLang="en-US" sz="2000" dirty="0">
              <a:solidFill>
                <a:schemeClr val="tx2"/>
              </a:solidFill>
            </a:endParaRPr>
          </a:p>
        </p:txBody>
      </p:sp>
      <p:grpSp>
        <p:nvGrpSpPr>
          <p:cNvPr id="50186" name="Gruppieren 8"/>
          <p:cNvGrpSpPr>
            <a:grpSpLocks/>
          </p:cNvGrpSpPr>
          <p:nvPr/>
        </p:nvGrpSpPr>
        <p:grpSpPr bwMode="auto">
          <a:xfrm>
            <a:off x="1382714" y="5568493"/>
            <a:ext cx="9210675" cy="522288"/>
            <a:chOff x="347663" y="5637540"/>
            <a:chExt cx="9210675" cy="523220"/>
          </a:xfrm>
        </p:grpSpPr>
        <p:grpSp>
          <p:nvGrpSpPr>
            <p:cNvPr id="50187" name="Gruppieren 9"/>
            <p:cNvGrpSpPr>
              <a:grpSpLocks/>
            </p:cNvGrpSpPr>
            <p:nvPr/>
          </p:nvGrpSpPr>
          <p:grpSpPr bwMode="auto">
            <a:xfrm>
              <a:off x="347663" y="5637541"/>
              <a:ext cx="704851" cy="523219"/>
              <a:chOff x="347663" y="5672138"/>
              <a:chExt cx="704851" cy="454025"/>
            </a:xfrm>
          </p:grpSpPr>
          <p:sp>
            <p:nvSpPr>
              <p:cNvPr id="50189" name="Freeform 6"/>
              <p:cNvSpPr>
                <a:spLocks/>
              </p:cNvSpPr>
              <p:nvPr/>
            </p:nvSpPr>
            <p:spPr bwMode="auto">
              <a:xfrm>
                <a:off x="347663" y="5672138"/>
                <a:ext cx="233363" cy="454025"/>
              </a:xfrm>
              <a:custGeom>
                <a:avLst/>
                <a:gdLst>
                  <a:gd name="T0" fmla="*/ 0 w 136"/>
                  <a:gd name="T1" fmla="*/ 0 h 286"/>
                  <a:gd name="T2" fmla="*/ 2147483647 w 136"/>
                  <a:gd name="T3" fmla="*/ 2147483647 h 286"/>
                  <a:gd name="T4" fmla="*/ 0 w 136"/>
                  <a:gd name="T5" fmla="*/ 2147483647 h 286"/>
                  <a:gd name="T6" fmla="*/ 2147483647 w 136"/>
                  <a:gd name="T7" fmla="*/ 2147483647 h 286"/>
                  <a:gd name="T8" fmla="*/ 2147483647 w 136"/>
                  <a:gd name="T9" fmla="*/ 2147483647 h 286"/>
                  <a:gd name="T10" fmla="*/ 2147483647 w 136"/>
                  <a:gd name="T11" fmla="*/ 0 h 286"/>
                  <a:gd name="T12" fmla="*/ 0 w 136"/>
                  <a:gd name="T13" fmla="*/ 0 h 28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 h="286">
                    <a:moveTo>
                      <a:pt x="0" y="0"/>
                    </a:moveTo>
                    <a:lnTo>
                      <a:pt x="68" y="144"/>
                    </a:lnTo>
                    <a:lnTo>
                      <a:pt x="0" y="286"/>
                    </a:lnTo>
                    <a:lnTo>
                      <a:pt x="68" y="286"/>
                    </a:lnTo>
                    <a:lnTo>
                      <a:pt x="136" y="144"/>
                    </a:lnTo>
                    <a:lnTo>
                      <a:pt x="68"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190" name="Freeform 7"/>
              <p:cNvSpPr>
                <a:spLocks/>
              </p:cNvSpPr>
              <p:nvPr/>
            </p:nvSpPr>
            <p:spPr bwMode="auto">
              <a:xfrm>
                <a:off x="581026" y="5672138"/>
                <a:ext cx="238125" cy="454025"/>
              </a:xfrm>
              <a:custGeom>
                <a:avLst/>
                <a:gdLst>
                  <a:gd name="T0" fmla="*/ 0 w 138"/>
                  <a:gd name="T1" fmla="*/ 0 h 286"/>
                  <a:gd name="T2" fmla="*/ 2147483647 w 138"/>
                  <a:gd name="T3" fmla="*/ 2147483647 h 286"/>
                  <a:gd name="T4" fmla="*/ 0 w 138"/>
                  <a:gd name="T5" fmla="*/ 2147483647 h 286"/>
                  <a:gd name="T6" fmla="*/ 2147483647 w 138"/>
                  <a:gd name="T7" fmla="*/ 2147483647 h 286"/>
                  <a:gd name="T8" fmla="*/ 2147483647 w 138"/>
                  <a:gd name="T9" fmla="*/ 2147483647 h 286"/>
                  <a:gd name="T10" fmla="*/ 2147483647 w 138"/>
                  <a:gd name="T11" fmla="*/ 0 h 286"/>
                  <a:gd name="T12" fmla="*/ 0 w 138"/>
                  <a:gd name="T13" fmla="*/ 0 h 28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8" h="286">
                    <a:moveTo>
                      <a:pt x="0" y="0"/>
                    </a:moveTo>
                    <a:lnTo>
                      <a:pt x="68" y="144"/>
                    </a:lnTo>
                    <a:lnTo>
                      <a:pt x="0" y="286"/>
                    </a:lnTo>
                    <a:lnTo>
                      <a:pt x="70" y="286"/>
                    </a:lnTo>
                    <a:lnTo>
                      <a:pt x="138" y="144"/>
                    </a:lnTo>
                    <a:lnTo>
                      <a:pt x="7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191" name="Freeform 8"/>
              <p:cNvSpPr>
                <a:spLocks/>
              </p:cNvSpPr>
              <p:nvPr/>
            </p:nvSpPr>
            <p:spPr bwMode="auto">
              <a:xfrm>
                <a:off x="819151" y="5672138"/>
                <a:ext cx="233363" cy="454025"/>
              </a:xfrm>
              <a:custGeom>
                <a:avLst/>
                <a:gdLst>
                  <a:gd name="T0" fmla="*/ 0 w 136"/>
                  <a:gd name="T1" fmla="*/ 0 h 286"/>
                  <a:gd name="T2" fmla="*/ 2147483647 w 136"/>
                  <a:gd name="T3" fmla="*/ 2147483647 h 286"/>
                  <a:gd name="T4" fmla="*/ 0 w 136"/>
                  <a:gd name="T5" fmla="*/ 2147483647 h 286"/>
                  <a:gd name="T6" fmla="*/ 2147483647 w 136"/>
                  <a:gd name="T7" fmla="*/ 2147483647 h 286"/>
                  <a:gd name="T8" fmla="*/ 2147483647 w 136"/>
                  <a:gd name="T9" fmla="*/ 2147483647 h 286"/>
                  <a:gd name="T10" fmla="*/ 2147483647 w 136"/>
                  <a:gd name="T11" fmla="*/ 0 h 286"/>
                  <a:gd name="T12" fmla="*/ 0 w 136"/>
                  <a:gd name="T13" fmla="*/ 0 h 28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6" h="286">
                    <a:moveTo>
                      <a:pt x="0" y="0"/>
                    </a:moveTo>
                    <a:lnTo>
                      <a:pt x="68" y="144"/>
                    </a:lnTo>
                    <a:lnTo>
                      <a:pt x="0" y="286"/>
                    </a:lnTo>
                    <a:lnTo>
                      <a:pt x="68" y="286"/>
                    </a:lnTo>
                    <a:lnTo>
                      <a:pt x="136" y="144"/>
                    </a:lnTo>
                    <a:lnTo>
                      <a:pt x="68"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50188" name="Freeform 9"/>
            <p:cNvSpPr>
              <a:spLocks/>
            </p:cNvSpPr>
            <p:nvPr/>
          </p:nvSpPr>
          <p:spPr bwMode="auto">
            <a:xfrm>
              <a:off x="1055688" y="5637540"/>
              <a:ext cx="8502650" cy="523220"/>
            </a:xfrm>
            <a:custGeom>
              <a:avLst/>
              <a:gdLst>
                <a:gd name="T0" fmla="*/ 0 w 4942"/>
                <a:gd name="T1" fmla="*/ 0 h 286"/>
                <a:gd name="T2" fmla="*/ 2147483647 w 4942"/>
                <a:gd name="T3" fmla="*/ 2147483647 h 286"/>
                <a:gd name="T4" fmla="*/ 0 w 4942"/>
                <a:gd name="T5" fmla="*/ 2147483647 h 286"/>
                <a:gd name="T6" fmla="*/ 2147483647 w 4942"/>
                <a:gd name="T7" fmla="*/ 2147483647 h 286"/>
                <a:gd name="T8" fmla="*/ 2147483647 w 4942"/>
                <a:gd name="T9" fmla="*/ 0 h 286"/>
                <a:gd name="T10" fmla="*/ 0 w 4942"/>
                <a:gd name="T11" fmla="*/ 0 h 286"/>
                <a:gd name="T12" fmla="*/ 0 60000 65536"/>
                <a:gd name="T13" fmla="*/ 0 60000 65536"/>
                <a:gd name="T14" fmla="*/ 0 60000 65536"/>
                <a:gd name="T15" fmla="*/ 0 60000 65536"/>
                <a:gd name="T16" fmla="*/ 0 60000 65536"/>
                <a:gd name="T17" fmla="*/ 0 60000 65536"/>
                <a:gd name="T18" fmla="*/ 0 w 4942"/>
                <a:gd name="T19" fmla="*/ 0 h 286"/>
                <a:gd name="T20" fmla="*/ 4942 w 4942"/>
                <a:gd name="T21" fmla="*/ 286 h 286"/>
              </a:gdLst>
              <a:ahLst/>
              <a:cxnLst>
                <a:cxn ang="T12">
                  <a:pos x="T0" y="T1"/>
                </a:cxn>
                <a:cxn ang="T13">
                  <a:pos x="T2" y="T3"/>
                </a:cxn>
                <a:cxn ang="T14">
                  <a:pos x="T4" y="T5"/>
                </a:cxn>
                <a:cxn ang="T15">
                  <a:pos x="T6" y="T7"/>
                </a:cxn>
                <a:cxn ang="T16">
                  <a:pos x="T8" y="T9"/>
                </a:cxn>
                <a:cxn ang="T17">
                  <a:pos x="T10" y="T11"/>
                </a:cxn>
              </a:cxnLst>
              <a:rect l="T18" t="T19" r="T20" b="T21"/>
              <a:pathLst>
                <a:path w="4942" h="286">
                  <a:moveTo>
                    <a:pt x="0" y="0"/>
                  </a:moveTo>
                  <a:lnTo>
                    <a:pt x="69" y="144"/>
                  </a:lnTo>
                  <a:lnTo>
                    <a:pt x="0" y="286"/>
                  </a:lnTo>
                  <a:lnTo>
                    <a:pt x="4942" y="286"/>
                  </a:lnTo>
                  <a:lnTo>
                    <a:pt x="4942"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216000" tIns="36000" bIns="3600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Bef>
                  <a:spcPct val="0"/>
                </a:spcBef>
                <a:buClrTx/>
                <a:buFontTx/>
                <a:buNone/>
              </a:pPr>
              <a:r>
                <a:rPr lang="en-GB" altLang="en-US" sz="1200" dirty="0">
                  <a:solidFill>
                    <a:srgbClr val="FFFFFF"/>
                  </a:solidFill>
                </a:rPr>
                <a:t>Inwestor ponosi "</a:t>
              </a:r>
              <a:r>
                <a:rPr lang="en-GB" altLang="en-US" sz="1200" dirty="0" err="1">
                  <a:solidFill>
                    <a:srgbClr val="FFFFFF"/>
                  </a:solidFill>
                </a:rPr>
                <a:t>ryzyko</a:t>
              </a:r>
              <a:r>
                <a:rPr lang="en-GB" altLang="en-US" sz="1200" dirty="0">
                  <a:solidFill>
                    <a:srgbClr val="FFFFFF"/>
                  </a:solidFill>
                </a:rPr>
                <a:t> </a:t>
              </a:r>
              <a:r>
                <a:rPr lang="pl-PL" altLang="en-US" sz="1200" dirty="0">
                  <a:solidFill>
                    <a:srgbClr val="FFFFFF"/>
                  </a:solidFill>
                </a:rPr>
                <a:t>grubego </a:t>
              </a:r>
              <a:r>
                <a:rPr lang="en-GB" altLang="en-US" sz="1200" dirty="0" err="1">
                  <a:solidFill>
                    <a:srgbClr val="FFFFFF"/>
                  </a:solidFill>
                </a:rPr>
                <a:t>ogona</a:t>
              </a:r>
              <a:r>
                <a:rPr lang="en-GB" altLang="en-US" sz="1200" dirty="0">
                  <a:solidFill>
                    <a:srgbClr val="FFFFFF"/>
                  </a:solidFill>
                </a:rPr>
                <a:t>" i uzyskuje atrakcyjne zwroty</a:t>
              </a:r>
            </a:p>
          </p:txBody>
        </p:sp>
      </p:grpSp>
      <p:sp>
        <p:nvSpPr>
          <p:cNvPr id="2" name="Title 1">
            <a:extLst>
              <a:ext uri="{FF2B5EF4-FFF2-40B4-BE49-F238E27FC236}">
                <a16:creationId xmlns:a16="http://schemas.microsoft.com/office/drawing/2014/main" id="{275300C0-A6DA-BBDF-5DBA-9F7E214552AB}"/>
              </a:ext>
            </a:extLst>
          </p:cNvPr>
          <p:cNvSpPr>
            <a:spLocks noGrp="1"/>
          </p:cNvSpPr>
          <p:nvPr>
            <p:ph type="title"/>
          </p:nvPr>
        </p:nvSpPr>
        <p:spPr>
          <a:xfrm>
            <a:off x="398769" y="441114"/>
            <a:ext cx="10307329" cy="791565"/>
          </a:xfrm>
        </p:spPr>
        <p:txBody>
          <a:bodyPr/>
          <a:lstStyle/>
          <a:p>
            <a:pPr eaLnBrk="1" hangingPunct="1">
              <a:spcBef>
                <a:spcPct val="0"/>
              </a:spcBef>
            </a:pPr>
            <a:r>
              <a:rPr lang="de-DE" altLang="en-US" sz="2800" dirty="0" err="1">
                <a:solidFill>
                  <a:schemeClr val="tx2"/>
                </a:solidFill>
              </a:rPr>
              <a:t>Jakie</a:t>
            </a:r>
            <a:r>
              <a:rPr lang="de-DE" altLang="en-US" sz="2800" dirty="0">
                <a:solidFill>
                  <a:schemeClr val="tx2"/>
                </a:solidFill>
              </a:rPr>
              <a:t> </a:t>
            </a:r>
            <a:r>
              <a:rPr lang="de-DE" altLang="en-US" sz="2800" dirty="0" err="1">
                <a:solidFill>
                  <a:schemeClr val="tx2"/>
                </a:solidFill>
              </a:rPr>
              <a:t>jest</a:t>
            </a:r>
            <a:r>
              <a:rPr lang="de-DE" altLang="en-US" sz="2800" dirty="0">
                <a:solidFill>
                  <a:schemeClr val="tx2"/>
                </a:solidFill>
              </a:rPr>
              <a:t> </a:t>
            </a:r>
            <a:r>
              <a:rPr lang="de-DE" altLang="en-US" sz="2800" dirty="0" err="1">
                <a:solidFill>
                  <a:schemeClr val="tx2"/>
                </a:solidFill>
              </a:rPr>
              <a:t>ryzyko</a:t>
            </a:r>
            <a:r>
              <a:rPr lang="de-DE" altLang="en-US" sz="2800" dirty="0">
                <a:solidFill>
                  <a:schemeClr val="tx2"/>
                </a:solidFill>
              </a:rPr>
              <a:t> </a:t>
            </a:r>
            <a:r>
              <a:rPr lang="de-DE" altLang="en-US" sz="2800" dirty="0" err="1">
                <a:solidFill>
                  <a:schemeClr val="tx2"/>
                </a:solidFill>
              </a:rPr>
              <a:t>związane</a:t>
            </a:r>
            <a:r>
              <a:rPr lang="de-DE" altLang="en-US" sz="2800" dirty="0">
                <a:solidFill>
                  <a:schemeClr val="tx2"/>
                </a:solidFill>
              </a:rPr>
              <a:t> z </a:t>
            </a:r>
            <a:r>
              <a:rPr lang="pl-PL" altLang="en-US" sz="2800" dirty="0">
                <a:solidFill>
                  <a:schemeClr val="tx2"/>
                </a:solidFill>
              </a:rPr>
              <a:t>„</a:t>
            </a:r>
            <a:r>
              <a:rPr lang="de-DE" altLang="en-US" sz="2800" dirty="0" err="1">
                <a:solidFill>
                  <a:schemeClr val="tx2"/>
                </a:solidFill>
              </a:rPr>
              <a:t>maszyn</a:t>
            </a:r>
            <a:r>
              <a:rPr lang="pl-PL" altLang="en-US" sz="2800" dirty="0">
                <a:solidFill>
                  <a:schemeClr val="tx2"/>
                </a:solidFill>
              </a:rPr>
              <a:t>k</a:t>
            </a:r>
            <a:r>
              <a:rPr lang="de-DE" altLang="en-US" sz="2800" dirty="0">
                <a:solidFill>
                  <a:schemeClr val="tx2"/>
                </a:solidFill>
              </a:rPr>
              <a:t>ą do </a:t>
            </a:r>
            <a:r>
              <a:rPr lang="pl-PL" altLang="en-US" sz="2800" dirty="0">
                <a:solidFill>
                  <a:schemeClr val="tx2"/>
                </a:solidFill>
              </a:rPr>
              <a:t>robienia </a:t>
            </a:r>
            <a:r>
              <a:rPr lang="de-DE" altLang="en-US" sz="2800" dirty="0" err="1">
                <a:solidFill>
                  <a:schemeClr val="tx2"/>
                </a:solidFill>
              </a:rPr>
              <a:t>pieniędzy</a:t>
            </a:r>
            <a:r>
              <a:rPr lang="de-DE" altLang="en-US" sz="2800" dirty="0">
                <a:solidFill>
                  <a:schemeClr val="tx2"/>
                </a:solidFill>
              </a:rPr>
              <a:t>?</a:t>
            </a:r>
            <a:endParaRPr lang="en-US" altLang="en-US" sz="2800" dirty="0">
              <a:solidFill>
                <a:schemeClr val="tx2"/>
              </a:solidFill>
            </a:endParaRPr>
          </a:p>
        </p:txBody>
      </p:sp>
      <p:sp>
        <p:nvSpPr>
          <p:cNvPr id="3" name="Text Placeholder 2">
            <a:extLst>
              <a:ext uri="{FF2B5EF4-FFF2-40B4-BE49-F238E27FC236}">
                <a16:creationId xmlns:a16="http://schemas.microsoft.com/office/drawing/2014/main" id="{B5E513CE-99BA-E795-0EC9-5DAA269FF58B}"/>
              </a:ext>
            </a:extLst>
          </p:cNvPr>
          <p:cNvSpPr>
            <a:spLocks noGrp="1"/>
          </p:cNvSpPr>
          <p:nvPr>
            <p:ph type="body" sz="quarter" idx="22"/>
          </p:nvPr>
        </p:nvSpPr>
        <p:spPr>
          <a:xfrm>
            <a:off x="398770" y="6239250"/>
            <a:ext cx="10633847" cy="373805"/>
          </a:xfrm>
        </p:spPr>
        <p:txBody>
          <a:bodyPr/>
          <a:lstStyle/>
          <a:p>
            <a:pPr>
              <a:buClrTx/>
              <a:buFontTx/>
              <a:buNone/>
            </a:pPr>
            <a:r>
              <a:rPr lang="de-DE" altLang="en-US" sz="800" dirty="0" err="1">
                <a:ea typeface="ＭＳ Ｐゴシック" pitchFamily="34" charset="-128"/>
              </a:rPr>
              <a:t>Źródło</a:t>
            </a:r>
            <a:r>
              <a:rPr lang="de-DE" altLang="en-US" sz="800" dirty="0">
                <a:ea typeface="ＭＳ Ｐゴシック" pitchFamily="34" charset="-128"/>
              </a:rPr>
              <a:t>: </a:t>
            </a:r>
            <a:r>
              <a:rPr lang="de-DE" altLang="en-US" sz="800" dirty="0" err="1">
                <a:ea typeface="ＭＳ Ｐゴシック" pitchFamily="34" charset="-128"/>
              </a:rPr>
              <a:t>risklab</a:t>
            </a:r>
            <a:r>
              <a:rPr lang="de-DE" altLang="en-US" sz="800" dirty="0">
                <a:ea typeface="ＭＳ Ｐゴシック" pitchFamily="34" charset="-128"/>
              </a:rPr>
              <a:t>; </a:t>
            </a:r>
            <a:r>
              <a:rPr lang="de-DE" altLang="en-US" sz="800" dirty="0" err="1">
                <a:ea typeface="ＭＳ Ｐゴシック" pitchFamily="34" charset="-128"/>
              </a:rPr>
              <a:t>Ilustracje</a:t>
            </a:r>
            <a:r>
              <a:rPr lang="de-DE" altLang="en-US" sz="800" dirty="0">
                <a:ea typeface="ＭＳ Ｐゴシック" pitchFamily="34" charset="-128"/>
              </a:rPr>
              <a:t>: AllianzGI Global Capital </a:t>
            </a:r>
            <a:r>
              <a:rPr lang="de-DE" altLang="en-US" sz="800" dirty="0" err="1">
                <a:ea typeface="ＭＳ Ｐゴシック" pitchFamily="34" charset="-128"/>
              </a:rPr>
              <a:t>Markets</a:t>
            </a:r>
            <a:r>
              <a:rPr lang="de-DE" altLang="en-US" sz="800" dirty="0">
                <a:ea typeface="ＭＳ Ｐゴシック" pitchFamily="34" charset="-128"/>
              </a:rPr>
              <a:t> &amp; </a:t>
            </a:r>
            <a:r>
              <a:rPr lang="de-DE" altLang="en-US" sz="800" dirty="0" err="1">
                <a:ea typeface="ＭＳ Ｐゴシック" pitchFamily="34" charset="-128"/>
              </a:rPr>
              <a:t>Thematic</a:t>
            </a:r>
            <a:r>
              <a:rPr lang="de-DE" altLang="en-US" sz="800" dirty="0">
                <a:ea typeface="ＭＳ Ｐゴシック" pitchFamily="34" charset="-128"/>
              </a:rPr>
              <a:t> Research</a:t>
            </a:r>
          </a:p>
        </p:txBody>
      </p:sp>
    </p:spTree>
    <p:extLst>
      <p:ext uri="{BB962C8B-B14F-4D97-AF65-F5344CB8AC3E}">
        <p14:creationId xmlns:p14="http://schemas.microsoft.com/office/powerpoint/2010/main" val="42708036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Frau  Mini"/>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2801" y="3387724"/>
            <a:ext cx="1192213" cy="277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Frau"/>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82801" y="3387724"/>
            <a:ext cx="1192213" cy="277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Grafik 4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568451" y="2419348"/>
            <a:ext cx="906463" cy="361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7" name="Titel 1"/>
          <p:cNvSpPr>
            <a:spLocks noGrp="1"/>
          </p:cNvSpPr>
          <p:nvPr>
            <p:ph type="title"/>
          </p:nvPr>
        </p:nvSpPr>
        <p:spPr/>
        <p:txBody>
          <a:bodyPr/>
          <a:lstStyle/>
          <a:p>
            <a:r>
              <a:rPr lang="pl-PL" altLang="de-DE" dirty="0"/>
              <a:t>Efekt ramowania – „</a:t>
            </a:r>
            <a:r>
              <a:rPr lang="de-DE" altLang="de-DE" dirty="0"/>
              <a:t>Framing</a:t>
            </a:r>
            <a:r>
              <a:rPr lang="pl-PL" altLang="de-DE" dirty="0"/>
              <a:t>”</a:t>
            </a:r>
            <a:endParaRPr lang="de-DE" altLang="de-DE" dirty="0"/>
          </a:p>
        </p:txBody>
      </p:sp>
      <p:pic>
        <p:nvPicPr>
          <p:cNvPr id="5" name="Mercedes"/>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783389" y="4367211"/>
            <a:ext cx="4116387" cy="18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SUV"/>
          <p:cNvPicPr>
            <a:picLocks noChangeAspect="1"/>
          </p:cNvPicPr>
          <p:nvPr/>
        </p:nvPicPr>
        <p:blipFill>
          <a:blip r:embed="rId7">
            <a:extLst>
              <a:ext uri="{28A0092B-C50C-407E-A947-70E740481C1C}">
                <a14:useLocalDpi xmlns:a14="http://schemas.microsoft.com/office/drawing/2010/main" val="0"/>
              </a:ext>
            </a:extLst>
          </a:blip>
          <a:srcRect l="4881" r="5074"/>
          <a:stretch>
            <a:fillRect/>
          </a:stretch>
        </p:blipFill>
        <p:spPr bwMode="auto">
          <a:xfrm>
            <a:off x="5947609" y="4059235"/>
            <a:ext cx="3935413" cy="229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mini F"/>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435100" y="3962399"/>
            <a:ext cx="3860800"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Linie"/>
          <p:cNvCxnSpPr/>
          <p:nvPr/>
        </p:nvCxnSpPr>
        <p:spPr bwMode="auto">
          <a:xfrm>
            <a:off x="-3063875" y="6157911"/>
            <a:ext cx="24720550" cy="0"/>
          </a:xfrm>
          <a:prstGeom prst="line">
            <a:avLst/>
          </a:prstGeom>
          <a:noFill/>
          <a:ln w="6350" cap="flat" cmpd="sng" algn="ctr">
            <a:solidFill>
              <a:schemeClr val="tx1">
                <a:lumMod val="85000"/>
                <a:lumOff val="15000"/>
              </a:schemeClr>
            </a:solidFill>
            <a:prstDash val="solid"/>
            <a:round/>
            <a:headEnd type="none" w="med" len="med"/>
            <a:tailEnd type="none" w="med" len="med"/>
          </a:ln>
          <a:effectLst/>
        </p:spPr>
      </p:cxnSp>
      <p:grpSp>
        <p:nvGrpSpPr>
          <p:cNvPr id="7" name="Gruppieren 6"/>
          <p:cNvGrpSpPr>
            <a:grpSpLocks/>
          </p:cNvGrpSpPr>
          <p:nvPr/>
        </p:nvGrpSpPr>
        <p:grpSpPr bwMode="auto">
          <a:xfrm>
            <a:off x="2924175" y="1352549"/>
            <a:ext cx="4425950" cy="2408237"/>
            <a:chOff x="3890024" y="820729"/>
            <a:chExt cx="4425617" cy="2407821"/>
          </a:xfrm>
        </p:grpSpPr>
        <p:grpSp>
          <p:nvGrpSpPr>
            <p:cNvPr id="38925" name="Gruppieren 12"/>
            <p:cNvGrpSpPr>
              <a:grpSpLocks/>
            </p:cNvGrpSpPr>
            <p:nvPr/>
          </p:nvGrpSpPr>
          <p:grpSpPr bwMode="auto">
            <a:xfrm flipH="1">
              <a:off x="3890024" y="2320932"/>
              <a:ext cx="1030952" cy="907618"/>
              <a:chOff x="6731508" y="2690668"/>
              <a:chExt cx="1197903" cy="978836"/>
            </a:xfrm>
          </p:grpSpPr>
          <p:sp>
            <p:nvSpPr>
              <p:cNvPr id="38929" name="Ellipse 13"/>
              <p:cNvSpPr>
                <a:spLocks noChangeArrowheads="1"/>
              </p:cNvSpPr>
              <p:nvPr/>
            </p:nvSpPr>
            <p:spPr bwMode="auto">
              <a:xfrm>
                <a:off x="6731508" y="2690668"/>
                <a:ext cx="419860" cy="296372"/>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38930" name="Ellipse 14"/>
              <p:cNvSpPr>
                <a:spLocks noChangeArrowheads="1"/>
              </p:cNvSpPr>
              <p:nvPr/>
            </p:nvSpPr>
            <p:spPr bwMode="auto">
              <a:xfrm>
                <a:off x="7204267" y="3003199"/>
                <a:ext cx="298066" cy="2104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38931" name="Ellipse 15"/>
              <p:cNvSpPr>
                <a:spLocks noChangeArrowheads="1"/>
              </p:cNvSpPr>
              <p:nvPr/>
            </p:nvSpPr>
            <p:spPr bwMode="auto">
              <a:xfrm>
                <a:off x="7785411" y="3561504"/>
                <a:ext cx="144000" cy="1080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sp>
            <p:nvSpPr>
              <p:cNvPr id="38932" name="Ellipse 16"/>
              <p:cNvSpPr>
                <a:spLocks noChangeArrowheads="1"/>
              </p:cNvSpPr>
              <p:nvPr/>
            </p:nvSpPr>
            <p:spPr bwMode="auto">
              <a:xfrm>
                <a:off x="7533411" y="3267402"/>
                <a:ext cx="216000" cy="144000"/>
              </a:xfrm>
              <a:prstGeom prst="ellipse">
                <a:avLst/>
              </a:prstGeom>
              <a:solidFill>
                <a:schemeClr val="bg1"/>
              </a:solidFill>
              <a:ln w="190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grpSp>
        <p:grpSp>
          <p:nvGrpSpPr>
            <p:cNvPr id="38926" name="Gruppieren 2"/>
            <p:cNvGrpSpPr>
              <a:grpSpLocks/>
            </p:cNvGrpSpPr>
            <p:nvPr/>
          </p:nvGrpSpPr>
          <p:grpSpPr bwMode="auto">
            <a:xfrm>
              <a:off x="4842998" y="820729"/>
              <a:ext cx="3472643" cy="2046083"/>
              <a:chOff x="4842998" y="820729"/>
              <a:chExt cx="3472643" cy="2046083"/>
            </a:xfrm>
          </p:grpSpPr>
          <p:sp>
            <p:nvSpPr>
              <p:cNvPr id="38927" name="Ellipse 17"/>
              <p:cNvSpPr>
                <a:spLocks noChangeArrowheads="1"/>
              </p:cNvSpPr>
              <p:nvPr/>
            </p:nvSpPr>
            <p:spPr bwMode="auto">
              <a:xfrm rot="21369280" flipH="1">
                <a:off x="4842998" y="820729"/>
                <a:ext cx="3472643" cy="2046083"/>
              </a:xfrm>
              <a:prstGeom prst="ellipse">
                <a:avLst/>
              </a:prstGeom>
              <a:solidFill>
                <a:schemeClr val="bg1"/>
              </a:solidFill>
              <a:ln w="57150" algn="ctr">
                <a:solidFill>
                  <a:schemeClr val="tx1"/>
                </a:solidFill>
                <a:round/>
                <a:headEnd/>
                <a:tailEnd/>
              </a:ln>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Font typeface="Wingdings" pitchFamily="2" charset="2"/>
                  <a:buNone/>
                </a:pPr>
                <a:endParaRPr lang="de-DE" altLang="de-DE"/>
              </a:p>
            </p:txBody>
          </p:sp>
          <p:pic>
            <p:nvPicPr>
              <p:cNvPr id="38928" name="mini"/>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435996" y="1148209"/>
                <a:ext cx="2286645" cy="1249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22" name="RM5"/>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446292" y="3994149"/>
            <a:ext cx="3162300"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mini S"/>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389064" y="3962399"/>
            <a:ext cx="3906837" cy="235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339955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5" presetClass="path" presetSubtype="0" repeatCount="2000" accel="50000" decel="50000" fill="hold" nodeType="withEffect">
                                  <p:stCondLst>
                                    <p:cond delay="0"/>
                                  </p:stCondLst>
                                  <p:childTnLst>
                                    <p:animMotion origin="layout" path="M 1.25E-6 -1.48148E-6 L -1.74401 -1.48148E-6 " pathEditMode="relative" rAng="0" ptsTypes="AA">
                                      <p:cBhvr>
                                        <p:cTn id="6" dur="3000" fill="hold"/>
                                        <p:tgtEl>
                                          <p:spTgt spid="6"/>
                                        </p:tgtEl>
                                        <p:attrNameLst>
                                          <p:attrName>ppt_x</p:attrName>
                                          <p:attrName>ppt_y</p:attrName>
                                        </p:attrNameLst>
                                      </p:cBhvr>
                                      <p:rCtr x="-87201" y="0"/>
                                    </p:animMotion>
                                  </p:childTnLst>
                                </p:cTn>
                              </p:par>
                              <p:par>
                                <p:cTn id="7" presetID="35" presetClass="path" presetSubtype="0" repeatCount="2000" accel="50000" decel="50000" fill="hold" nodeType="withEffect">
                                  <p:stCondLst>
                                    <p:cond delay="1500"/>
                                  </p:stCondLst>
                                  <p:childTnLst>
                                    <p:animMotion origin="layout" path="M -2.08333E-7 1.85185E-6 L -1.84167 1.85185E-6 " pathEditMode="relative" rAng="0" ptsTypes="AA">
                                      <p:cBhvr>
                                        <p:cTn id="8" dur="3000" fill="hold"/>
                                        <p:tgtEl>
                                          <p:spTgt spid="5"/>
                                        </p:tgtEl>
                                        <p:attrNameLst>
                                          <p:attrName>ppt_x</p:attrName>
                                          <p:attrName>ppt_y</p:attrName>
                                        </p:attrNameLst>
                                      </p:cBhvr>
                                      <p:rCtr x="-92083" y="0"/>
                                    </p:animMotion>
                                  </p:childTnLst>
                                </p:cTn>
                              </p:par>
                              <p:par>
                                <p:cTn id="9" presetID="2" presetClass="entr" presetSubtype="2" decel="52000" fill="hold" nodeType="withEffect">
                                  <p:stCondLst>
                                    <p:cond delay="30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2000" fill="hold"/>
                                        <p:tgtEl>
                                          <p:spTgt spid="12"/>
                                        </p:tgtEl>
                                        <p:attrNameLst>
                                          <p:attrName>ppt_x</p:attrName>
                                        </p:attrNameLst>
                                      </p:cBhvr>
                                      <p:tavLst>
                                        <p:tav tm="0">
                                          <p:val>
                                            <p:strVal val="1+#ppt_w/2"/>
                                          </p:val>
                                        </p:tav>
                                        <p:tav tm="100000">
                                          <p:val>
                                            <p:strVal val="#ppt_x"/>
                                          </p:val>
                                        </p:tav>
                                      </p:tavLst>
                                    </p:anim>
                                    <p:anim calcmode="lin" valueType="num">
                                      <p:cBhvr additive="base">
                                        <p:cTn id="12" dur="2000" fill="hold"/>
                                        <p:tgtEl>
                                          <p:spTgt spid="12"/>
                                        </p:tgtEl>
                                        <p:attrNameLst>
                                          <p:attrName>ppt_y</p:attrName>
                                        </p:attrNameLst>
                                      </p:cBhvr>
                                      <p:tavLst>
                                        <p:tav tm="0">
                                          <p:val>
                                            <p:strVal val="#ppt_y"/>
                                          </p:val>
                                        </p:tav>
                                        <p:tav tm="100000">
                                          <p:val>
                                            <p:strVal val="#ppt_y"/>
                                          </p:val>
                                        </p:tav>
                                      </p:tavLst>
                                    </p:anim>
                                  </p:childTnLst>
                                </p:cTn>
                              </p:par>
                              <p:par>
                                <p:cTn id="13" presetID="1" presetClass="exit" presetSubtype="0" fill="hold" nodeType="withEffect">
                                  <p:stCondLst>
                                    <p:cond delay="5000"/>
                                  </p:stCondLst>
                                  <p:childTnLst>
                                    <p:set>
                                      <p:cBhvr>
                                        <p:cTn id="14" dur="1" fill="hold">
                                          <p:stCondLst>
                                            <p:cond delay="0"/>
                                          </p:stCondLst>
                                        </p:cTn>
                                        <p:tgtEl>
                                          <p:spTgt spid="12"/>
                                        </p:tgtEl>
                                        <p:attrNameLst>
                                          <p:attrName>style.visibility</p:attrName>
                                        </p:attrNameLst>
                                      </p:cBhvr>
                                      <p:to>
                                        <p:strVal val="hidden"/>
                                      </p:to>
                                    </p:set>
                                  </p:childTnLst>
                                </p:cTn>
                              </p:par>
                              <p:par>
                                <p:cTn id="15" presetID="1" presetClass="entr" presetSubtype="0" fill="hold" nodeType="withEffect">
                                  <p:stCondLst>
                                    <p:cond delay="500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xit" presetSubtype="0" fill="hold" nodeType="withEffect">
                                  <p:stCondLst>
                                    <p:cond delay="6500"/>
                                  </p:stCondLst>
                                  <p:childTnLst>
                                    <p:set>
                                      <p:cBhvr>
                                        <p:cTn id="18" dur="1" fill="hold">
                                          <p:stCondLst>
                                            <p:cond delay="0"/>
                                          </p:stCondLst>
                                        </p:cTn>
                                        <p:tgtEl>
                                          <p:spTgt spid="40"/>
                                        </p:tgtEl>
                                        <p:attrNameLst>
                                          <p:attrName>style.visibility</p:attrName>
                                        </p:attrNameLst>
                                      </p:cBhvr>
                                      <p:to>
                                        <p:strVal val="hidden"/>
                                      </p:to>
                                    </p:set>
                                  </p:childTnLst>
                                </p:cTn>
                              </p:par>
                              <p:par>
                                <p:cTn id="19" presetID="1" presetClass="entr" presetSubtype="0" fill="hold" nodeType="withEffect">
                                  <p:stCondLst>
                                    <p:cond delay="6500"/>
                                  </p:stCondLst>
                                  <p:childTnLst>
                                    <p:set>
                                      <p:cBhvr>
                                        <p:cTn id="20" dur="1" fill="hold">
                                          <p:stCondLst>
                                            <p:cond delay="0"/>
                                          </p:stCondLst>
                                        </p:cTn>
                                        <p:tgtEl>
                                          <p:spTgt spid="12"/>
                                        </p:tgtEl>
                                        <p:attrNameLst>
                                          <p:attrName>style.visibility</p:attrName>
                                        </p:attrNameLst>
                                      </p:cBhvr>
                                      <p:to>
                                        <p:strVal val="visible"/>
                                      </p:to>
                                    </p:set>
                                  </p:childTnLst>
                                </p:cTn>
                              </p:par>
                              <p:par>
                                <p:cTn id="21" presetID="2" presetClass="exit" presetSubtype="8" accel="100000" fill="hold" nodeType="withEffect">
                                  <p:stCondLst>
                                    <p:cond delay="6500"/>
                                  </p:stCondLst>
                                  <p:childTnLst>
                                    <p:anim calcmode="lin" valueType="num">
                                      <p:cBhvr additive="base">
                                        <p:cTn id="22" dur="2000"/>
                                        <p:tgtEl>
                                          <p:spTgt spid="12"/>
                                        </p:tgtEl>
                                        <p:attrNameLst>
                                          <p:attrName>ppt_x</p:attrName>
                                        </p:attrNameLst>
                                      </p:cBhvr>
                                      <p:tavLst>
                                        <p:tav tm="0">
                                          <p:val>
                                            <p:strVal val="ppt_x"/>
                                          </p:val>
                                        </p:tav>
                                        <p:tav tm="100000">
                                          <p:val>
                                            <p:strVal val="0-ppt_w/2"/>
                                          </p:val>
                                        </p:tav>
                                      </p:tavLst>
                                    </p:anim>
                                    <p:anim calcmode="lin" valueType="num">
                                      <p:cBhvr additive="base">
                                        <p:cTn id="23" dur="2000"/>
                                        <p:tgtEl>
                                          <p:spTgt spid="12"/>
                                        </p:tgtEl>
                                        <p:attrNameLst>
                                          <p:attrName>ppt_y</p:attrName>
                                        </p:attrNameLst>
                                      </p:cBhvr>
                                      <p:tavLst>
                                        <p:tav tm="0">
                                          <p:val>
                                            <p:strVal val="ppt_y"/>
                                          </p:val>
                                        </p:tav>
                                        <p:tav tm="100000">
                                          <p:val>
                                            <p:strVal val="ppt_y"/>
                                          </p:val>
                                        </p:tav>
                                      </p:tavLst>
                                    </p:anim>
                                    <p:set>
                                      <p:cBhvr>
                                        <p:cTn id="24" dur="1" fill="hold">
                                          <p:stCondLst>
                                            <p:cond delay="1999"/>
                                          </p:stCondLst>
                                        </p:cTn>
                                        <p:tgtEl>
                                          <p:spTgt spid="12"/>
                                        </p:tgtEl>
                                        <p:attrNameLst>
                                          <p:attrName>style.visibility</p:attrName>
                                        </p:attrNameLst>
                                      </p:cBhvr>
                                      <p:to>
                                        <p:strVal val="hidden"/>
                                      </p:to>
                                    </p:set>
                                  </p:childTnLst>
                                </p:cTn>
                              </p:par>
                              <p:par>
                                <p:cTn id="25" presetID="22" presetClass="entr" presetSubtype="8" fill="hold" nodeType="withEffect">
                                  <p:stCondLst>
                                    <p:cond delay="6500"/>
                                  </p:stCondLst>
                                  <p:childTnLst>
                                    <p:set>
                                      <p:cBhvr>
                                        <p:cTn id="26" dur="1" fill="hold">
                                          <p:stCondLst>
                                            <p:cond delay="0"/>
                                          </p:stCondLst>
                                        </p:cTn>
                                        <p:tgtEl>
                                          <p:spTgt spid="7"/>
                                        </p:tgtEl>
                                        <p:attrNameLst>
                                          <p:attrName>style.visibility</p:attrName>
                                        </p:attrNameLst>
                                      </p:cBhvr>
                                      <p:to>
                                        <p:strVal val="visible"/>
                                      </p:to>
                                    </p:set>
                                    <p:animEffect transition="in" filter="wipe(left)">
                                      <p:cBhvr>
                                        <p:cTn id="27" dur="500"/>
                                        <p:tgtEl>
                                          <p:spTgt spid="7"/>
                                        </p:tgtEl>
                                      </p:cBhvr>
                                    </p:animEffect>
                                  </p:childTnLst>
                                </p:cTn>
                              </p:par>
                              <p:par>
                                <p:cTn id="28" presetID="10" presetClass="exit" presetSubtype="0" fill="hold" nodeType="withEffect">
                                  <p:stCondLst>
                                    <p:cond delay="6500"/>
                                  </p:stCondLst>
                                  <p:childTnLst>
                                    <p:animEffect transition="out" filter="fade">
                                      <p:cBhvr>
                                        <p:cTn id="29" dur="100"/>
                                        <p:tgtEl>
                                          <p:spTgt spid="37"/>
                                        </p:tgtEl>
                                      </p:cBhvr>
                                    </p:animEffect>
                                    <p:set>
                                      <p:cBhvr>
                                        <p:cTn id="30" dur="1" fill="hold">
                                          <p:stCondLst>
                                            <p:cond delay="99"/>
                                          </p:stCondLst>
                                        </p:cTn>
                                        <p:tgtEl>
                                          <p:spTgt spid="37"/>
                                        </p:tgtEl>
                                        <p:attrNameLst>
                                          <p:attrName>style.visibility</p:attrName>
                                        </p:attrNameLst>
                                      </p:cBhvr>
                                      <p:to>
                                        <p:strVal val="hidden"/>
                                      </p:to>
                                    </p:set>
                                  </p:childTnLst>
                                </p:cTn>
                              </p:par>
                              <p:par>
                                <p:cTn id="31" presetID="10" presetClass="entr" presetSubtype="0" fill="hold" nodeType="withEffect">
                                  <p:stCondLst>
                                    <p:cond delay="650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100"/>
                                        <p:tgtEl>
                                          <p:spTgt spid="38"/>
                                        </p:tgtEl>
                                      </p:cBhvr>
                                    </p:animEffect>
                                  </p:childTnLst>
                                </p:cTn>
                              </p:par>
                              <p:par>
                                <p:cTn id="34" presetID="35" presetClass="path" presetSubtype="0" repeatCount="indefinite" accel="50000" decel="50000" fill="hold" nodeType="withEffect">
                                  <p:stCondLst>
                                    <p:cond delay="7250"/>
                                  </p:stCondLst>
                                  <p:childTnLst>
                                    <p:animMotion origin="layout" path="M -2.29167E-6 -1.85185E-6 L -1.59049 -1.85185E-6 " pathEditMode="relative" rAng="0" ptsTypes="AA">
                                      <p:cBhvr>
                                        <p:cTn id="35" dur="3000" fill="hold"/>
                                        <p:tgtEl>
                                          <p:spTgt spid="22"/>
                                        </p:tgtEl>
                                        <p:attrNameLst>
                                          <p:attrName>ppt_x</p:attrName>
                                          <p:attrName>ppt_y</p:attrName>
                                        </p:attrNameLst>
                                      </p:cBhvr>
                                      <p:rCtr x="-7951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el 1"/>
          <p:cNvSpPr>
            <a:spLocks noGrp="1"/>
          </p:cNvSpPr>
          <p:nvPr>
            <p:ph type="title"/>
          </p:nvPr>
        </p:nvSpPr>
        <p:spPr/>
        <p:txBody>
          <a:bodyPr/>
          <a:lstStyle/>
          <a:p>
            <a:r>
              <a:rPr lang="pl-PL" altLang="en-US" dirty="0"/>
              <a:t>Stado</a:t>
            </a:r>
            <a:r>
              <a:rPr lang="de-DE" altLang="en-US" dirty="0"/>
              <a:t>? </a:t>
            </a:r>
            <a:r>
              <a:rPr lang="pl-PL" altLang="en-US" dirty="0"/>
              <a:t>Nie podążaj za tłumem</a:t>
            </a:r>
            <a:endParaRPr lang="de-DE" altLang="en-US" dirty="0"/>
          </a:p>
        </p:txBody>
      </p:sp>
      <p:grpSp>
        <p:nvGrpSpPr>
          <p:cNvPr id="5" name="Gruppieren 4"/>
          <p:cNvGrpSpPr/>
          <p:nvPr/>
        </p:nvGrpSpPr>
        <p:grpSpPr>
          <a:xfrm rot="20720172">
            <a:off x="1615414" y="1196544"/>
            <a:ext cx="5494745" cy="5036521"/>
            <a:chOff x="3308447" y="1928532"/>
            <a:chExt cx="4322274" cy="4529444"/>
          </a:xfrm>
          <a:effectLst>
            <a:outerShdw blurRad="50800" dist="38100" dir="8100000" algn="tr" rotWithShape="0">
              <a:prstClr val="black">
                <a:alpha val="40000"/>
              </a:prstClr>
            </a:outerShdw>
          </a:effectLst>
        </p:grpSpPr>
        <p:pic>
          <p:nvPicPr>
            <p:cNvPr id="20" name="Grafik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84405" y="4528733"/>
              <a:ext cx="725284" cy="200960"/>
            </a:xfrm>
            <a:prstGeom prst="rect">
              <a:avLst/>
            </a:prstGeom>
          </p:spPr>
        </p:pic>
        <p:pic>
          <p:nvPicPr>
            <p:cNvPr id="43" name="Grafik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2623" y="4083036"/>
              <a:ext cx="818098" cy="226677"/>
            </a:xfrm>
            <a:prstGeom prst="rect">
              <a:avLst/>
            </a:prstGeom>
          </p:spPr>
        </p:pic>
        <p:pic>
          <p:nvPicPr>
            <p:cNvPr id="55" name="Grafik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84405" y="3663056"/>
              <a:ext cx="725284" cy="200960"/>
            </a:xfrm>
            <a:prstGeom prst="rect">
              <a:avLst/>
            </a:prstGeom>
          </p:spPr>
        </p:pic>
        <p:pic>
          <p:nvPicPr>
            <p:cNvPr id="56" name="Grafik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2867" y="4948713"/>
              <a:ext cx="725284" cy="200960"/>
            </a:xfrm>
            <a:prstGeom prst="rect">
              <a:avLst/>
            </a:prstGeom>
          </p:spPr>
        </p:pic>
        <p:pic>
          <p:nvPicPr>
            <p:cNvPr id="59" name="Grafik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2867" y="3243075"/>
              <a:ext cx="725284" cy="200960"/>
            </a:xfrm>
            <a:prstGeom prst="rect">
              <a:avLst/>
            </a:prstGeom>
          </p:spPr>
        </p:pic>
        <p:pic>
          <p:nvPicPr>
            <p:cNvPr id="60" name="Grafik 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4901" y="5368692"/>
              <a:ext cx="725284" cy="200960"/>
            </a:xfrm>
            <a:prstGeom prst="rect">
              <a:avLst/>
            </a:prstGeom>
          </p:spPr>
        </p:pic>
        <p:pic>
          <p:nvPicPr>
            <p:cNvPr id="61" name="Grafik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4901" y="2823095"/>
              <a:ext cx="725284" cy="200960"/>
            </a:xfrm>
            <a:prstGeom prst="rect">
              <a:avLst/>
            </a:prstGeom>
          </p:spPr>
        </p:pic>
        <p:pic>
          <p:nvPicPr>
            <p:cNvPr id="62" name="Grafik 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2867" y="4081754"/>
              <a:ext cx="725284" cy="200960"/>
            </a:xfrm>
            <a:prstGeom prst="rect">
              <a:avLst/>
            </a:prstGeom>
          </p:spPr>
        </p:pic>
        <p:pic>
          <p:nvPicPr>
            <p:cNvPr id="63" name="Grafik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3112" y="4080471"/>
              <a:ext cx="725284" cy="200960"/>
            </a:xfrm>
            <a:prstGeom prst="rect">
              <a:avLst/>
            </a:prstGeom>
          </p:spPr>
        </p:pic>
        <p:pic>
          <p:nvPicPr>
            <p:cNvPr id="64" name="Grafik 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4901" y="3663056"/>
              <a:ext cx="725284" cy="200960"/>
            </a:xfrm>
            <a:prstGeom prst="rect">
              <a:avLst/>
            </a:prstGeom>
          </p:spPr>
        </p:pic>
        <p:pic>
          <p:nvPicPr>
            <p:cNvPr id="65" name="Grafik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4901" y="4528733"/>
              <a:ext cx="725284" cy="200960"/>
            </a:xfrm>
            <a:prstGeom prst="rect">
              <a:avLst/>
            </a:prstGeom>
          </p:spPr>
        </p:pic>
        <p:pic>
          <p:nvPicPr>
            <p:cNvPr id="66" name="Grafik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3112" y="3245386"/>
              <a:ext cx="725284" cy="200960"/>
            </a:xfrm>
            <a:prstGeom prst="rect">
              <a:avLst/>
            </a:prstGeom>
          </p:spPr>
        </p:pic>
        <p:pic>
          <p:nvPicPr>
            <p:cNvPr id="67" name="Grafik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3112" y="4947176"/>
              <a:ext cx="725284" cy="200960"/>
            </a:xfrm>
            <a:prstGeom prst="rect">
              <a:avLst/>
            </a:prstGeom>
          </p:spPr>
        </p:pic>
        <p:pic>
          <p:nvPicPr>
            <p:cNvPr id="68" name="Grafik 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3230" y="3663056"/>
              <a:ext cx="725284" cy="200960"/>
            </a:xfrm>
            <a:prstGeom prst="rect">
              <a:avLst/>
            </a:prstGeom>
          </p:spPr>
        </p:pic>
        <p:pic>
          <p:nvPicPr>
            <p:cNvPr id="69" name="Grafik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3230" y="4528733"/>
              <a:ext cx="725284" cy="200960"/>
            </a:xfrm>
            <a:prstGeom prst="rect">
              <a:avLst/>
            </a:prstGeom>
          </p:spPr>
        </p:pic>
        <p:pic>
          <p:nvPicPr>
            <p:cNvPr id="70" name="Grafik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3230" y="5368692"/>
              <a:ext cx="725284" cy="200960"/>
            </a:xfrm>
            <a:prstGeom prst="rect">
              <a:avLst/>
            </a:prstGeom>
          </p:spPr>
        </p:pic>
        <p:pic>
          <p:nvPicPr>
            <p:cNvPr id="71" name="Grafik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3230" y="2823095"/>
              <a:ext cx="725284" cy="200960"/>
            </a:xfrm>
            <a:prstGeom prst="rect">
              <a:avLst/>
            </a:prstGeom>
          </p:spPr>
        </p:pic>
        <p:pic>
          <p:nvPicPr>
            <p:cNvPr id="72" name="Grafik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3356" y="4079188"/>
              <a:ext cx="725284" cy="200960"/>
            </a:xfrm>
            <a:prstGeom prst="rect">
              <a:avLst/>
            </a:prstGeom>
          </p:spPr>
        </p:pic>
        <p:pic>
          <p:nvPicPr>
            <p:cNvPr id="73" name="Grafik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3356" y="3243075"/>
              <a:ext cx="725284" cy="200960"/>
            </a:xfrm>
            <a:prstGeom prst="rect">
              <a:avLst/>
            </a:prstGeom>
          </p:spPr>
        </p:pic>
        <p:pic>
          <p:nvPicPr>
            <p:cNvPr id="76" name="Grafik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3356" y="4944866"/>
              <a:ext cx="725284" cy="200960"/>
            </a:xfrm>
            <a:prstGeom prst="rect">
              <a:avLst/>
            </a:prstGeom>
          </p:spPr>
        </p:pic>
        <p:pic>
          <p:nvPicPr>
            <p:cNvPr id="79" name="Grafik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08447" y="3663056"/>
              <a:ext cx="725284" cy="200960"/>
            </a:xfrm>
            <a:prstGeom prst="rect">
              <a:avLst/>
            </a:prstGeom>
          </p:spPr>
        </p:pic>
        <p:pic>
          <p:nvPicPr>
            <p:cNvPr id="80" name="Grafik 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08447" y="4528733"/>
              <a:ext cx="725284" cy="200960"/>
            </a:xfrm>
            <a:prstGeom prst="rect">
              <a:avLst/>
            </a:prstGeom>
          </p:spPr>
        </p:pic>
        <p:pic>
          <p:nvPicPr>
            <p:cNvPr id="81" name="Grafik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3356" y="5812854"/>
              <a:ext cx="725284" cy="200960"/>
            </a:xfrm>
            <a:prstGeom prst="rect">
              <a:avLst/>
            </a:prstGeom>
          </p:spPr>
        </p:pic>
        <p:pic>
          <p:nvPicPr>
            <p:cNvPr id="82" name="Grafik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3356" y="2370640"/>
              <a:ext cx="725284" cy="200960"/>
            </a:xfrm>
            <a:prstGeom prst="rect">
              <a:avLst/>
            </a:prstGeom>
          </p:spPr>
        </p:pic>
        <p:pic>
          <p:nvPicPr>
            <p:cNvPr id="83" name="Grafik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3112" y="5812854"/>
              <a:ext cx="725284" cy="200960"/>
            </a:xfrm>
            <a:prstGeom prst="rect">
              <a:avLst/>
            </a:prstGeom>
          </p:spPr>
        </p:pic>
        <p:pic>
          <p:nvPicPr>
            <p:cNvPr id="84" name="Grafik 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3112" y="2373756"/>
              <a:ext cx="725284" cy="200960"/>
            </a:xfrm>
            <a:prstGeom prst="rect">
              <a:avLst/>
            </a:prstGeom>
          </p:spPr>
        </p:pic>
        <p:pic>
          <p:nvPicPr>
            <p:cNvPr id="85" name="Grafik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08447" y="2823095"/>
              <a:ext cx="725284" cy="200960"/>
            </a:xfrm>
            <a:prstGeom prst="rect">
              <a:avLst/>
            </a:prstGeom>
          </p:spPr>
        </p:pic>
        <p:pic>
          <p:nvPicPr>
            <p:cNvPr id="86" name="Grafik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08447" y="5368692"/>
              <a:ext cx="725284" cy="200960"/>
            </a:xfrm>
            <a:prstGeom prst="rect">
              <a:avLst/>
            </a:prstGeom>
          </p:spPr>
        </p:pic>
        <p:pic>
          <p:nvPicPr>
            <p:cNvPr id="87" name="Grafik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3230" y="1928532"/>
              <a:ext cx="725284" cy="200960"/>
            </a:xfrm>
            <a:prstGeom prst="rect">
              <a:avLst/>
            </a:prstGeom>
          </p:spPr>
        </p:pic>
        <p:pic>
          <p:nvPicPr>
            <p:cNvPr id="88" name="Grafik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23230" y="6257016"/>
              <a:ext cx="725284" cy="200960"/>
            </a:xfrm>
            <a:prstGeom prst="rect">
              <a:avLst/>
            </a:prstGeom>
          </p:spPr>
        </p:pic>
      </p:grpSp>
      <p:pic>
        <p:nvPicPr>
          <p:cNvPr id="89" name="Grafik 88"/>
          <p:cNvPicPr>
            <a:picLocks noChangeAspect="1"/>
          </p:cNvPicPr>
          <p:nvPr/>
        </p:nvPicPr>
        <p:blipFill>
          <a:blip r:embed="rId5"/>
          <a:stretch>
            <a:fillRect/>
          </a:stretch>
        </p:blipFill>
        <p:spPr>
          <a:xfrm rot="21320346">
            <a:off x="6851651" y="581026"/>
            <a:ext cx="3990975" cy="2709863"/>
          </a:xfrm>
          <a:prstGeom prst="rect">
            <a:avLst/>
          </a:prstGeom>
          <a:effectLst>
            <a:outerShdw blurRad="50800" dist="38100" dir="8100000" algn="tr" rotWithShape="0">
              <a:prstClr val="black">
                <a:alpha val="40000"/>
              </a:prstClr>
            </a:outerShdw>
          </a:effectLst>
        </p:spPr>
      </p:pic>
      <p:sp>
        <p:nvSpPr>
          <p:cNvPr id="41990" name="Textfeld 3"/>
          <p:cNvSpPr txBox="1">
            <a:spLocks noChangeArrowheads="1"/>
          </p:cNvSpPr>
          <p:nvPr/>
        </p:nvSpPr>
        <p:spPr bwMode="auto">
          <a:xfrm>
            <a:off x="-415925" y="908050"/>
            <a:ext cx="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Aft>
                <a:spcPct val="25000"/>
              </a:spcAft>
              <a:buClr>
                <a:srgbClr val="003087"/>
              </a:buClr>
              <a:buFont typeface="Wingdings" pitchFamily="2" charset="2"/>
              <a:buNone/>
            </a:pPr>
            <a:endParaRPr lang="en-GB" altLang="en-US">
              <a:solidFill>
                <a:srgbClr val="000000"/>
              </a:solidFill>
            </a:endParaRPr>
          </a:p>
        </p:txBody>
      </p:sp>
    </p:spTree>
    <p:extLst>
      <p:ext uri="{BB962C8B-B14F-4D97-AF65-F5344CB8AC3E}">
        <p14:creationId xmlns:p14="http://schemas.microsoft.com/office/powerpoint/2010/main" val="215417805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0" presetClass="path" presetSubtype="0" accel="50000" decel="50000" fill="hold" nodeType="withEffect">
                                  <p:stCondLst>
                                    <p:cond delay="0"/>
                                  </p:stCondLst>
                                  <p:childTnLst>
                                    <p:animMotion origin="layout" path="M -0.16803 0.04771 L -0.03191 -0.01297 " pathEditMode="relative" rAng="0" ptsTypes="AA">
                                      <p:cBhvr>
                                        <p:cTn id="6" dur="4000" fill="hold"/>
                                        <p:tgtEl>
                                          <p:spTgt spid="5"/>
                                        </p:tgtEl>
                                        <p:attrNameLst>
                                          <p:attrName>ppt_x</p:attrName>
                                          <p:attrName>ppt_y</p:attrName>
                                        </p:attrNameLst>
                                      </p:cBhvr>
                                      <p:rCtr x="6798" y="-3034"/>
                                    </p:animMotion>
                                  </p:childTnLst>
                                </p:cTn>
                              </p:par>
                            </p:childTnLst>
                          </p:cTn>
                        </p:par>
                      </p:childTnLst>
                    </p:cTn>
                  </p:par>
                  <p:par>
                    <p:cTn id="7" fill="hold" nodeType="clickPar">
                      <p:stCondLst>
                        <p:cond delay="indefinite"/>
                      </p:stCondLst>
                      <p:childTnLst>
                        <p:par>
                          <p:cTn id="8" fill="hold" nodeType="withGroup">
                            <p:stCondLst>
                              <p:cond delay="0"/>
                            </p:stCondLst>
                            <p:childTnLst>
                              <p:par>
                                <p:cTn id="9" presetID="42" presetClass="path" presetSubtype="0" accel="50000" decel="50000" fill="hold" nodeType="clickEffect">
                                  <p:stCondLst>
                                    <p:cond delay="0"/>
                                  </p:stCondLst>
                                  <p:childTnLst>
                                    <p:animMotion origin="layout" path="M -0.3383 0.18634 L -2.05128E-6 -2.22222E-6 " pathEditMode="relative" rAng="0" ptsTypes="AA">
                                      <p:cBhvr>
                                        <p:cTn id="10" dur="500" spd="-100000" fill="hold"/>
                                        <p:tgtEl>
                                          <p:spTgt spid="89"/>
                                        </p:tgtEl>
                                        <p:attrNameLst>
                                          <p:attrName>ppt_x</p:attrName>
                                          <p:attrName>ppt_y</p:attrName>
                                        </p:attrNameLst>
                                      </p:cBhvr>
                                      <p:rCtr x="16907" y="-93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7"/>
          <p:cNvSpPr>
            <a:spLocks noGrp="1" noChangeArrowheads="1"/>
          </p:cNvSpPr>
          <p:nvPr>
            <p:ph type="title"/>
          </p:nvPr>
        </p:nvSpPr>
        <p:spPr/>
        <p:txBody>
          <a:bodyPr/>
          <a:lstStyle/>
          <a:p>
            <a:pPr eaLnBrk="1" hangingPunct="1"/>
            <a:r>
              <a:rPr lang="en-GB" altLang="en-US"/>
              <a:t>Wskaźniki nastrojów jako przeciwwskaźniki</a:t>
            </a:r>
          </a:p>
        </p:txBody>
      </p:sp>
      <p:sp>
        <p:nvSpPr>
          <p:cNvPr id="8" name="Text Placeholder 7">
            <a:extLst>
              <a:ext uri="{FF2B5EF4-FFF2-40B4-BE49-F238E27FC236}">
                <a16:creationId xmlns:a16="http://schemas.microsoft.com/office/drawing/2014/main" id="{0C8A888B-88E1-2265-23C7-6B1F4FD2EB78}"/>
              </a:ext>
            </a:extLst>
          </p:cNvPr>
          <p:cNvSpPr>
            <a:spLocks noGrp="1"/>
          </p:cNvSpPr>
          <p:nvPr>
            <p:ph type="body" sz="quarter" idx="24"/>
          </p:nvPr>
        </p:nvSpPr>
        <p:spPr/>
        <p:txBody>
          <a:bodyPr/>
          <a:lstStyle/>
          <a:p>
            <a:pPr>
              <a:spcBef>
                <a:spcPts val="425"/>
              </a:spcBef>
              <a:buNone/>
            </a:pPr>
            <a:r>
              <a:rPr lang="en-GB" altLang="en-US" b="1" dirty="0"/>
              <a:t>MSCI-Europe w porównaniu z nastrojami Amerykańskiego Stowarzyszenia Inwestorów Indywidualnych.</a:t>
            </a:r>
            <a:br>
              <a:rPr lang="en-GB" altLang="en-US" b="1" dirty="0"/>
            </a:br>
            <a:endParaRPr lang="en-GB" altLang="en-US" b="1" dirty="0"/>
          </a:p>
        </p:txBody>
      </p:sp>
      <p:sp>
        <p:nvSpPr>
          <p:cNvPr id="6" name="Text Placeholder 5">
            <a:extLst>
              <a:ext uri="{FF2B5EF4-FFF2-40B4-BE49-F238E27FC236}">
                <a16:creationId xmlns:a16="http://schemas.microsoft.com/office/drawing/2014/main" id="{946C1F9B-27CE-B513-6D80-8B7772BE6486}"/>
              </a:ext>
            </a:extLst>
          </p:cNvPr>
          <p:cNvSpPr>
            <a:spLocks noGrp="1"/>
          </p:cNvSpPr>
          <p:nvPr>
            <p:ph type="body" sz="quarter" idx="22"/>
          </p:nvPr>
        </p:nvSpPr>
        <p:spPr>
          <a:xfrm>
            <a:off x="395926" y="6235338"/>
            <a:ext cx="10633847" cy="373805"/>
          </a:xfrm>
        </p:spPr>
        <p:txBody>
          <a:bodyPr/>
          <a:lstStyle/>
          <a:p>
            <a:pPr eaLnBrk="1" hangingPunct="1">
              <a:spcBef>
                <a:spcPct val="100000"/>
              </a:spcBef>
              <a:buClrTx/>
              <a:buFont typeface="Wingdings" pitchFamily="2" charset="2"/>
              <a:buNone/>
            </a:pPr>
            <a:r>
              <a:rPr lang="de-DE" altLang="en-US" sz="800" dirty="0"/>
              <a:t>Źródło: Datastream; Ilustracje: Allianz GI </a:t>
            </a:r>
            <a:r>
              <a:rPr lang="en-US" altLang="de-DE" sz="800" dirty="0"/>
              <a:t>Global Capital Markets &amp; Thematic Research</a:t>
            </a:r>
            <a:r>
              <a:rPr lang="de-DE" altLang="de-DE" sz="800" dirty="0"/>
              <a:t>. </a:t>
            </a:r>
            <a:r>
              <a:rPr lang="en-US" altLang="de-DE" dirty="0"/>
              <a:t>Wyniki osiągnięte w przeszłości nie są wiarygodnym wskaźnikiem przyszłych wyników</a:t>
            </a:r>
            <a:r>
              <a:rPr lang="de-DE" altLang="de-DE" dirty="0"/>
              <a:t>. </a:t>
            </a:r>
            <a:r>
              <a:rPr lang="en-US" dirty="0"/>
              <a:t>Przyszłe wyniki podlegają opodatkowaniu, które zależy od osobistej sytuacji każdego inwestora i które może ulec zmianie w przyszłości.</a:t>
            </a:r>
            <a:endParaRPr lang="en-US" altLang="de-DE" dirty="0"/>
          </a:p>
        </p:txBody>
      </p:sp>
      <p:sp>
        <p:nvSpPr>
          <p:cNvPr id="17" name="Freeform 4"/>
          <p:cNvSpPr>
            <a:spLocks/>
          </p:cNvSpPr>
          <p:nvPr/>
        </p:nvSpPr>
        <p:spPr bwMode="gray">
          <a:xfrm>
            <a:off x="8878369" y="2598981"/>
            <a:ext cx="2420551" cy="2873375"/>
          </a:xfrm>
          <a:custGeom>
            <a:avLst/>
            <a:gdLst>
              <a:gd name="connsiteX0" fmla="*/ 0 w 10000"/>
              <a:gd name="connsiteY0" fmla="*/ 0 h 10000"/>
              <a:gd name="connsiteX1" fmla="*/ 0 w 10000"/>
              <a:gd name="connsiteY1" fmla="*/ 10000 h 10000"/>
              <a:gd name="connsiteX2" fmla="*/ 8492 w 10000"/>
              <a:gd name="connsiteY2" fmla="*/ 10000 h 10000"/>
              <a:gd name="connsiteX3" fmla="*/ 10000 w 10000"/>
              <a:gd name="connsiteY3" fmla="*/ 8815 h 10000"/>
              <a:gd name="connsiteX4" fmla="*/ 10000 w 10000"/>
              <a:gd name="connsiteY4" fmla="*/ 0 h 10000"/>
              <a:gd name="connsiteX5" fmla="*/ 0 w 10000"/>
              <a:gd name="connsiteY5" fmla="*/ 0 h 10000"/>
              <a:gd name="connsiteX0" fmla="*/ 0 w 10000"/>
              <a:gd name="connsiteY0" fmla="*/ 0 h 10000"/>
              <a:gd name="connsiteX1" fmla="*/ 0 w 10000"/>
              <a:gd name="connsiteY1" fmla="*/ 10000 h 10000"/>
              <a:gd name="connsiteX2" fmla="*/ 8492 w 10000"/>
              <a:gd name="connsiteY2" fmla="*/ 10000 h 10000"/>
              <a:gd name="connsiteX3" fmla="*/ 9978 w 10000"/>
              <a:gd name="connsiteY3" fmla="*/ 8597 h 10000"/>
              <a:gd name="connsiteX4" fmla="*/ 10000 w 10000"/>
              <a:gd name="connsiteY4" fmla="*/ 0 h 10000"/>
              <a:gd name="connsiteX5" fmla="*/ 0 w 10000"/>
              <a:gd name="connsiteY5" fmla="*/ 0 h 10000"/>
              <a:gd name="connsiteX0" fmla="*/ 0 w 9980"/>
              <a:gd name="connsiteY0" fmla="*/ 0 h 10000"/>
              <a:gd name="connsiteX1" fmla="*/ 0 w 9980"/>
              <a:gd name="connsiteY1" fmla="*/ 10000 h 10000"/>
              <a:gd name="connsiteX2" fmla="*/ 8492 w 9980"/>
              <a:gd name="connsiteY2" fmla="*/ 10000 h 10000"/>
              <a:gd name="connsiteX3" fmla="*/ 9978 w 9980"/>
              <a:gd name="connsiteY3" fmla="*/ 8597 h 10000"/>
              <a:gd name="connsiteX4" fmla="*/ 9978 w 9980"/>
              <a:gd name="connsiteY4" fmla="*/ 0 h 10000"/>
              <a:gd name="connsiteX5" fmla="*/ 0 w 9980"/>
              <a:gd name="connsiteY5" fmla="*/ 0 h 10000"/>
              <a:gd name="connsiteX0" fmla="*/ 0 w 10000"/>
              <a:gd name="connsiteY0" fmla="*/ 0 h 10000"/>
              <a:gd name="connsiteX1" fmla="*/ 0 w 10000"/>
              <a:gd name="connsiteY1" fmla="*/ 10000 h 10000"/>
              <a:gd name="connsiteX2" fmla="*/ 8509 w 10000"/>
              <a:gd name="connsiteY2" fmla="*/ 10000 h 10000"/>
              <a:gd name="connsiteX3" fmla="*/ 9998 w 10000"/>
              <a:gd name="connsiteY3" fmla="*/ 8553 h 10000"/>
              <a:gd name="connsiteX4" fmla="*/ 9998 w 10000"/>
              <a:gd name="connsiteY4" fmla="*/ 0 h 10000"/>
              <a:gd name="connsiteX5" fmla="*/ 0 w 10000"/>
              <a:gd name="connsiteY5" fmla="*/ 0 h 10000"/>
              <a:gd name="connsiteX0" fmla="*/ 0 w 10000"/>
              <a:gd name="connsiteY0" fmla="*/ 0 h 10000"/>
              <a:gd name="connsiteX1" fmla="*/ 0 w 10000"/>
              <a:gd name="connsiteY1" fmla="*/ 10000 h 10000"/>
              <a:gd name="connsiteX2" fmla="*/ 8509 w 10000"/>
              <a:gd name="connsiteY2" fmla="*/ 10000 h 10000"/>
              <a:gd name="connsiteX3" fmla="*/ 9998 w 10000"/>
              <a:gd name="connsiteY3" fmla="*/ 8597 h 10000"/>
              <a:gd name="connsiteX4" fmla="*/ 9998 w 10000"/>
              <a:gd name="connsiteY4" fmla="*/ 0 h 10000"/>
              <a:gd name="connsiteX5" fmla="*/ 0 w 10000"/>
              <a:gd name="connsiteY5" fmla="*/ 0 h 10000"/>
              <a:gd name="connsiteX0" fmla="*/ 0 w 10000"/>
              <a:gd name="connsiteY0" fmla="*/ 0 h 10000"/>
              <a:gd name="connsiteX1" fmla="*/ 0 w 10000"/>
              <a:gd name="connsiteY1" fmla="*/ 10000 h 10000"/>
              <a:gd name="connsiteX2" fmla="*/ 7698 w 10000"/>
              <a:gd name="connsiteY2" fmla="*/ 9975 h 10000"/>
              <a:gd name="connsiteX3" fmla="*/ 9998 w 10000"/>
              <a:gd name="connsiteY3" fmla="*/ 8597 h 10000"/>
              <a:gd name="connsiteX4" fmla="*/ 9998 w 10000"/>
              <a:gd name="connsiteY4" fmla="*/ 0 h 10000"/>
              <a:gd name="connsiteX5" fmla="*/ 0 w 10000"/>
              <a:gd name="connsiteY5" fmla="*/ 0 h 10000"/>
              <a:gd name="connsiteX0" fmla="*/ 0 w 10000"/>
              <a:gd name="connsiteY0" fmla="*/ 0 h 10000"/>
              <a:gd name="connsiteX1" fmla="*/ 0 w 10000"/>
              <a:gd name="connsiteY1" fmla="*/ 10000 h 10000"/>
              <a:gd name="connsiteX2" fmla="*/ 7698 w 10000"/>
              <a:gd name="connsiteY2" fmla="*/ 9975 h 10000"/>
              <a:gd name="connsiteX3" fmla="*/ 9998 w 10000"/>
              <a:gd name="connsiteY3" fmla="*/ 8317 h 10000"/>
              <a:gd name="connsiteX4" fmla="*/ 9998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7698" y="9975"/>
                </a:lnTo>
                <a:cubicBezTo>
                  <a:pt x="8194" y="9507"/>
                  <a:pt x="9502" y="8785"/>
                  <a:pt x="9998" y="8317"/>
                </a:cubicBezTo>
                <a:cubicBezTo>
                  <a:pt x="10005" y="5451"/>
                  <a:pt x="9991" y="2866"/>
                  <a:pt x="9998" y="0"/>
                </a:cubicBezTo>
                <a:lnTo>
                  <a:pt x="0" y="0"/>
                </a:lnTo>
                <a:close/>
              </a:path>
            </a:pathLst>
          </a:custGeom>
          <a:solidFill>
            <a:srgbClr val="003781"/>
          </a:solidFill>
          <a:ln w="9525">
            <a:noFill/>
            <a:round/>
            <a:headEnd/>
            <a:tailEnd/>
          </a:ln>
        </p:spPr>
        <p:txBody>
          <a:bodyPr lIns="237600" tIns="0" rIns="0" bIns="0"/>
          <a:lstStyle/>
          <a:p>
            <a:pPr fontAlgn="auto">
              <a:spcBef>
                <a:spcPts val="0"/>
              </a:spcBef>
              <a:spcAft>
                <a:spcPct val="25000"/>
              </a:spcAft>
              <a:buClr>
                <a:srgbClr val="658D1B"/>
              </a:buClr>
              <a:defRPr/>
            </a:pPr>
            <a:endParaRPr lang="en-US" sz="18200" b="1" dirty="0">
              <a:solidFill>
                <a:srgbClr val="FFFFFF"/>
              </a:solidFill>
            </a:endParaRPr>
          </a:p>
        </p:txBody>
      </p:sp>
      <p:sp>
        <p:nvSpPr>
          <p:cNvPr id="18" name="Textplatzhalter 4"/>
          <p:cNvSpPr txBox="1">
            <a:spLocks/>
          </p:cNvSpPr>
          <p:nvPr/>
        </p:nvSpPr>
        <p:spPr bwMode="auto">
          <a:xfrm>
            <a:off x="9131867" y="2767255"/>
            <a:ext cx="2030140" cy="1490662"/>
          </a:xfrm>
          <a:prstGeom prst="rect">
            <a:avLst/>
          </a:prstGeom>
          <a:noFill/>
          <a:ln w="9525">
            <a:noFill/>
            <a:miter lim="800000"/>
            <a:headEnd/>
            <a:tailEnd/>
          </a:ln>
          <a:effectLst/>
        </p:spPr>
        <p:txBody>
          <a:bodyPr lIns="0" tIns="0" rIns="0" bIns="0"/>
          <a:lstStyle>
            <a:lvl1pPr marL="0" indent="0" algn="l" rtl="0" eaLnBrk="1" fontAlgn="base" hangingPunct="1">
              <a:spcBef>
                <a:spcPct val="25000"/>
              </a:spcBef>
              <a:spcAft>
                <a:spcPct val="25000"/>
              </a:spcAft>
              <a:buClr>
                <a:schemeClr val="bg2"/>
              </a:buClr>
              <a:buFont typeface="Wingdings" pitchFamily="2" charset="2"/>
              <a:buNone/>
              <a:tabLst>
                <a:tab pos="182563" algn="l"/>
              </a:tabLst>
              <a:defRPr sz="1400" baseline="0">
                <a:solidFill>
                  <a:schemeClr val="bg1"/>
                </a:solidFill>
                <a:latin typeface="+mn-lt"/>
                <a:ea typeface="+mn-ea"/>
                <a:cs typeface="+mn-cs"/>
              </a:defRPr>
            </a:lvl1pPr>
            <a:lvl2pPr marL="184150" indent="0" algn="l" rtl="0" eaLnBrk="1" fontAlgn="base" hangingPunct="1">
              <a:spcBef>
                <a:spcPct val="25000"/>
              </a:spcBef>
              <a:spcAft>
                <a:spcPct val="25000"/>
              </a:spcAft>
              <a:buClr>
                <a:schemeClr val="bg2"/>
              </a:buClr>
              <a:buNone/>
              <a:tabLst>
                <a:tab pos="182563" algn="l"/>
              </a:tabLst>
              <a:defRPr sz="1200">
                <a:solidFill>
                  <a:schemeClr val="bg1"/>
                </a:solidFill>
                <a:latin typeface="+mn-lt"/>
              </a:defRPr>
            </a:lvl2pPr>
            <a:lvl3pPr marL="320675" indent="0" algn="l" rtl="0" eaLnBrk="1" fontAlgn="base" hangingPunct="1">
              <a:spcBef>
                <a:spcPct val="25000"/>
              </a:spcBef>
              <a:spcAft>
                <a:spcPct val="25000"/>
              </a:spcAft>
              <a:buClr>
                <a:schemeClr val="bg2"/>
              </a:buClr>
              <a:buNone/>
              <a:tabLst>
                <a:tab pos="182563" algn="l"/>
              </a:tabLst>
              <a:defRPr sz="1200">
                <a:solidFill>
                  <a:schemeClr val="bg1"/>
                </a:solidFill>
                <a:latin typeface="+mn-lt"/>
              </a:defRPr>
            </a:lvl3pPr>
            <a:lvl4pPr marL="455613" indent="0" algn="l" rtl="0" eaLnBrk="1" fontAlgn="base" hangingPunct="1">
              <a:spcBef>
                <a:spcPct val="25000"/>
              </a:spcBef>
              <a:spcAft>
                <a:spcPct val="25000"/>
              </a:spcAft>
              <a:buClr>
                <a:schemeClr val="bg2"/>
              </a:buClr>
              <a:buNone/>
              <a:tabLst>
                <a:tab pos="182563" algn="l"/>
              </a:tabLst>
              <a:defRPr sz="1200">
                <a:solidFill>
                  <a:schemeClr val="bg1"/>
                </a:solidFill>
                <a:latin typeface="+mn-lt"/>
              </a:defRPr>
            </a:lvl4pPr>
            <a:lvl5pPr marL="549275" indent="0" algn="l" rtl="0" eaLnBrk="1" fontAlgn="base" hangingPunct="1">
              <a:spcBef>
                <a:spcPct val="25000"/>
              </a:spcBef>
              <a:spcAft>
                <a:spcPct val="25000"/>
              </a:spcAft>
              <a:buClr>
                <a:schemeClr val="bg2"/>
              </a:buClr>
              <a:buNone/>
              <a:tabLst>
                <a:tab pos="182563" algn="l"/>
              </a:tabLst>
              <a:defRPr sz="1200">
                <a:solidFill>
                  <a:schemeClr val="bg1"/>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a:buClr>
                <a:srgbClr val="003781"/>
              </a:buClr>
              <a:defRPr/>
            </a:pPr>
            <a:r>
              <a:rPr lang="en-GB" dirty="0">
                <a:solidFill>
                  <a:srgbClr val="FFFFFF"/>
                </a:solidFill>
              </a:rPr>
              <a:t>Indeks MSCI Europe mierzy wyniki około 6 000 europejskich spółek.</a:t>
            </a:r>
          </a:p>
          <a:p>
            <a:pPr>
              <a:buClr>
                <a:srgbClr val="003781"/>
              </a:buClr>
              <a:defRPr/>
            </a:pPr>
            <a:r>
              <a:rPr lang="en-GB" dirty="0">
                <a:solidFill>
                  <a:srgbClr val="FFFFFF"/>
                </a:solidFill>
              </a:rPr>
              <a:t>Sentyment Amerykańskiego Stowarzyszenia Inwestorów Indywidualnych rejestruje poglądy rynkowe inwestorów prywatnych.</a:t>
            </a:r>
          </a:p>
        </p:txBody>
      </p:sp>
      <p:sp>
        <p:nvSpPr>
          <p:cNvPr id="43015" name="Rectangle 17"/>
          <p:cNvSpPr>
            <a:spLocks noChangeArrowheads="1"/>
          </p:cNvSpPr>
          <p:nvPr/>
        </p:nvSpPr>
        <p:spPr bwMode="auto">
          <a:xfrm>
            <a:off x="1890482" y="2474914"/>
            <a:ext cx="32120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r>
              <a:rPr lang="de-DE" altLang="en-US" sz="900" b="1"/>
              <a:t>%</a:t>
            </a:r>
            <a:endParaRPr lang="de-DE" altLang="de-DE" sz="900" b="1"/>
          </a:p>
        </p:txBody>
      </p:sp>
      <p:sp>
        <p:nvSpPr>
          <p:cNvPr id="43016" name="Rectangle 18"/>
          <p:cNvSpPr>
            <a:spLocks noChangeArrowheads="1"/>
          </p:cNvSpPr>
          <p:nvPr/>
        </p:nvSpPr>
        <p:spPr bwMode="auto">
          <a:xfrm>
            <a:off x="7453043" y="2470150"/>
            <a:ext cx="63708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r>
              <a:rPr lang="de-DE" altLang="de-DE" sz="900" b="1"/>
              <a:t>Punkte</a:t>
            </a:r>
          </a:p>
        </p:txBody>
      </p:sp>
      <p:pic>
        <p:nvPicPr>
          <p:cNvPr id="3" name="Picture 1" descr="&lt;Chart&gt;&lt;ImageInfo ChartType=&quot;&quot; Version=&quot;5.34.1270.0&quot; GUID=&quot;d293c96c59e74368a68c301001f5260d&quot; DsId=&quot;XDIT902&quot; T1SubID=&quot;&quot; Width=&quot;783&quot; Height=&quot;407&quot; Format=&quot;emf&quot; ChartGroupUID=&quot;b6f7a2b9-3356-432f-8cd4-a76ea728b5d3&quot; GroupName=&quot;Technik&quot; ChartName=&quot;Europe: MSCI Europa vs. Anteil Bullen, en&quot; ChartStyleName=&quot;&quot; GroupNameEncoded=&quot;Technik&quot; ChartNameEncoded=&quot;Europe%3a+MSCI+Europa+vs.+Anteil+Bullen%2c+en&quot; ChartStyleNameEncoded=&quot;&quot; ShortCode=&quot;&quot; ChartOwner=&quot;XDIT902&quot; TemplateId=&quot;&quot; TemplateName=&quot;&quot; TemplateNameEncoded=&quot;&quot; EditionId=&quot;&quot; EditionGenerationDate=&quot;&quot; RefreshDate=&quot;18.09.2024 08:31:42&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quot; DoStretch=&quot;true&quot; Pr=&quot;&quot; RetrieveParams=&quot;&quot; /&gt;&lt;/Chart&gt;">
            <a:extLst>
              <a:ext uri="{FF2B5EF4-FFF2-40B4-BE49-F238E27FC236}">
                <a16:creationId xmlns:a16="http://schemas.microsoft.com/office/drawing/2014/main" id="{B8118387-00AA-76F9-7704-25746ED80972}"/>
              </a:ext>
            </a:extLst>
          </p:cNvPr>
          <p:cNvPicPr>
            <a:picLocks/>
          </p:cNvPicPr>
          <p:nvPr/>
        </p:nvPicPr>
        <p:blipFill>
          <a:blip r:embed="rId3"/>
          <a:stretch>
            <a:fillRect/>
          </a:stretch>
        </p:blipFill>
        <p:spPr>
          <a:xfrm>
            <a:off x="1216058" y="2263775"/>
            <a:ext cx="7462184" cy="3879850"/>
          </a:xfrm>
          <a:prstGeom prst="rect">
            <a:avLst/>
          </a:prstGeom>
          <a:solidFill>
            <a:srgbClr val="FFFFFF"/>
          </a:solidFill>
          <a:ln>
            <a:noFill/>
          </a:ln>
        </p:spPr>
      </p:pic>
      <p:sp>
        <p:nvSpPr>
          <p:cNvPr id="43019" name="Rechteck 2"/>
          <p:cNvSpPr>
            <a:spLocks noChangeArrowheads="1"/>
          </p:cNvSpPr>
          <p:nvPr/>
        </p:nvSpPr>
        <p:spPr bwMode="auto">
          <a:xfrm>
            <a:off x="1285420" y="5847726"/>
            <a:ext cx="7540267" cy="295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endParaRPr lang="de-DE" altLang="de-DE" dirty="0"/>
          </a:p>
        </p:txBody>
      </p:sp>
      <p:grpSp>
        <p:nvGrpSpPr>
          <p:cNvPr id="43020" name="Gruppieren 14"/>
          <p:cNvGrpSpPr>
            <a:grpSpLocks/>
          </p:cNvGrpSpPr>
          <p:nvPr/>
        </p:nvGrpSpPr>
        <p:grpSpPr bwMode="auto">
          <a:xfrm>
            <a:off x="2168283" y="5795963"/>
            <a:ext cx="6211093" cy="266700"/>
            <a:chOff x="2020205" y="5733903"/>
            <a:chExt cx="5146138" cy="174888"/>
          </a:xfrm>
        </p:grpSpPr>
        <p:sp>
          <p:nvSpPr>
            <p:cNvPr id="43022" name="Textfeld 15"/>
            <p:cNvSpPr txBox="1">
              <a:spLocks noChangeArrowheads="1"/>
            </p:cNvSpPr>
            <p:nvPr/>
          </p:nvSpPr>
          <p:spPr bwMode="auto">
            <a:xfrm>
              <a:off x="2232857" y="5733903"/>
              <a:ext cx="1977656" cy="17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r>
                <a:rPr lang="de-DE" altLang="de-DE" sz="1100" dirty="0"/>
                <a:t>MSCI Europe, </a:t>
              </a:r>
              <a:r>
                <a:rPr lang="de-DE" altLang="de-DE" sz="1100" dirty="0" err="1"/>
                <a:t>prawa </a:t>
              </a:r>
              <a:r>
                <a:rPr lang="de-DE" altLang="de-DE" sz="1100" dirty="0"/>
                <a:t>oś</a:t>
              </a:r>
            </a:p>
          </p:txBody>
        </p:sp>
        <p:sp>
          <p:nvSpPr>
            <p:cNvPr id="43023" name="Textfeld 18"/>
            <p:cNvSpPr txBox="1">
              <a:spLocks noChangeArrowheads="1"/>
            </p:cNvSpPr>
            <p:nvPr/>
          </p:nvSpPr>
          <p:spPr bwMode="auto">
            <a:xfrm>
              <a:off x="4639453" y="5737438"/>
              <a:ext cx="2526890" cy="17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r>
                <a:rPr lang="de-DE" altLang="de-DE" sz="1100"/>
                <a:t>Ułamek byków, średnia z 2 miesięcy</a:t>
              </a:r>
            </a:p>
          </p:txBody>
        </p:sp>
        <p:cxnSp>
          <p:nvCxnSpPr>
            <p:cNvPr id="43024" name="Gerade Verbindung 19"/>
            <p:cNvCxnSpPr>
              <a:cxnSpLocks noChangeShapeType="1"/>
            </p:cNvCxnSpPr>
            <p:nvPr/>
          </p:nvCxnSpPr>
          <p:spPr bwMode="auto">
            <a:xfrm>
              <a:off x="2020205" y="5826742"/>
              <a:ext cx="244800" cy="0"/>
            </a:xfrm>
            <a:prstGeom prst="line">
              <a:avLst/>
            </a:prstGeom>
            <a:noFill/>
            <a:ln w="19050"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784" name="Gerade Verbindung 20"/>
            <p:cNvCxnSpPr>
              <a:cxnSpLocks noChangeShapeType="1"/>
            </p:cNvCxnSpPr>
            <p:nvPr/>
          </p:nvCxnSpPr>
          <p:spPr bwMode="auto">
            <a:xfrm>
              <a:off x="4412424" y="5830713"/>
              <a:ext cx="242603" cy="0"/>
            </a:xfrm>
            <a:prstGeom prst="line">
              <a:avLst/>
            </a:prstGeom>
            <a:noFill/>
            <a:ln w="19050" algn="ctr">
              <a:solidFill>
                <a:schemeClr val="tx2">
                  <a:lumMod val="40000"/>
                  <a:lumOff val="6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3021" name="TextBox 6"/>
          <p:cNvSpPr txBox="1">
            <a:spLocks noChangeArrowheads="1"/>
          </p:cNvSpPr>
          <p:nvPr/>
        </p:nvSpPr>
        <p:spPr bwMode="auto">
          <a:xfrm>
            <a:off x="4573588" y="6029326"/>
            <a:ext cx="3471862"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endParaRPr lang="en-US" altLang="en-US"/>
          </a:p>
        </p:txBody>
      </p:sp>
    </p:spTree>
    <p:extLst>
      <p:ext uri="{BB962C8B-B14F-4D97-AF65-F5344CB8AC3E}">
        <p14:creationId xmlns:p14="http://schemas.microsoft.com/office/powerpoint/2010/main" val="168188539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a:xfrm>
            <a:off x="395926" y="341910"/>
            <a:ext cx="9944006" cy="791565"/>
          </a:xfrm>
        </p:spPr>
        <p:txBody>
          <a:bodyPr/>
          <a:lstStyle/>
          <a:p>
            <a:r>
              <a:rPr lang="pl-PL" altLang="en-US" dirty="0"/>
              <a:t>Przeciwko strachowi i chciwości: Strategia Ulissesa</a:t>
            </a:r>
            <a:endParaRPr lang="en-US" altLang="en-US" dirty="0"/>
          </a:p>
        </p:txBody>
      </p:sp>
      <p:pic>
        <p:nvPicPr>
          <p:cNvPr id="5325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1125" y="1249363"/>
            <a:ext cx="6889750" cy="5370512"/>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6525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2" descr="optical_illus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2351" y="590553"/>
            <a:ext cx="7353300" cy="577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4" name="Rectangle 3"/>
          <p:cNvSpPr>
            <a:spLocks noGrp="1" noChangeArrowheads="1"/>
          </p:cNvSpPr>
          <p:nvPr>
            <p:ph type="title"/>
          </p:nvPr>
        </p:nvSpPr>
        <p:spPr/>
        <p:txBody>
          <a:bodyPr/>
          <a:lstStyle/>
          <a:p>
            <a:pPr eaLnBrk="1" hangingPunct="1"/>
            <a:r>
              <a:rPr lang="pl-PL" altLang="en-US" dirty="0"/>
              <a:t>Ja i mój mózg</a:t>
            </a:r>
            <a:endParaRPr lang="de-DE" altLang="en-US" dirty="0"/>
          </a:p>
        </p:txBody>
      </p:sp>
      <p:sp>
        <p:nvSpPr>
          <p:cNvPr id="7" name="Text Placeholder 6">
            <a:extLst>
              <a:ext uri="{FF2B5EF4-FFF2-40B4-BE49-F238E27FC236}">
                <a16:creationId xmlns:a16="http://schemas.microsoft.com/office/drawing/2014/main" id="{C77906DB-3B0B-FBBD-277E-ADDAFD9F28E1}"/>
              </a:ext>
            </a:extLst>
          </p:cNvPr>
          <p:cNvSpPr>
            <a:spLocks noGrp="1"/>
          </p:cNvSpPr>
          <p:nvPr>
            <p:ph type="body" sz="quarter" idx="26"/>
          </p:nvPr>
        </p:nvSpPr>
        <p:spPr/>
        <p:txBody>
          <a:bodyPr/>
          <a:lstStyle/>
          <a:p>
            <a:pPr eaLnBrk="1" hangingPunct="1">
              <a:spcBef>
                <a:spcPct val="100000"/>
              </a:spcBef>
              <a:buClrTx/>
              <a:buFontTx/>
              <a:buNone/>
            </a:pPr>
            <a:r>
              <a:rPr lang="de-DE" altLang="en-US" sz="800"/>
              <a:t>Source: Wikipedia; Darstellung: Allianz GI </a:t>
            </a:r>
            <a:r>
              <a:rPr lang="en-US" altLang="en-US" sz="800"/>
              <a:t>Global Capital Markets &amp; Thematic Research</a:t>
            </a:r>
            <a:endParaRPr lang="de-DE" altLang="en-US" sz="800" dirty="0"/>
          </a:p>
        </p:txBody>
      </p:sp>
      <p:sp>
        <p:nvSpPr>
          <p:cNvPr id="20485" name="Text Box 4"/>
          <p:cNvSpPr txBox="1">
            <a:spLocks noChangeArrowheads="1"/>
          </p:cNvSpPr>
          <p:nvPr/>
        </p:nvSpPr>
        <p:spPr bwMode="auto">
          <a:xfrm>
            <a:off x="1631950" y="2852739"/>
            <a:ext cx="287338" cy="492443"/>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sz="3200" b="1"/>
          </a:p>
        </p:txBody>
      </p:sp>
      <p:sp>
        <p:nvSpPr>
          <p:cNvPr id="1586181" name="Rectangle 5"/>
          <p:cNvSpPr>
            <a:spLocks noChangeArrowheads="1"/>
          </p:cNvSpPr>
          <p:nvPr/>
        </p:nvSpPr>
        <p:spPr bwMode="auto">
          <a:xfrm>
            <a:off x="1700214" y="2665413"/>
            <a:ext cx="504825" cy="1008062"/>
          </a:xfrm>
          <a:prstGeom prst="rect">
            <a:avLst/>
          </a:prstGeom>
          <a:solidFill>
            <a:srgbClr val="777777"/>
          </a:solidFill>
          <a:ln>
            <a:noFill/>
          </a:ln>
          <a:effectLst/>
          <a:extLs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
        <p:nvSpPr>
          <p:cNvPr id="1586183" name="Rectangle 7"/>
          <p:cNvSpPr>
            <a:spLocks noChangeArrowheads="1"/>
          </p:cNvSpPr>
          <p:nvPr/>
        </p:nvSpPr>
        <p:spPr bwMode="auto">
          <a:xfrm>
            <a:off x="1652588" y="2636837"/>
            <a:ext cx="782637" cy="1353638"/>
          </a:xfrm>
          <a:prstGeom prst="rect">
            <a:avLst/>
          </a:prstGeom>
          <a:solidFill>
            <a:schemeClr val="bg1"/>
          </a:solidFill>
          <a:ln>
            <a:noFill/>
          </a:ln>
          <a:effectLst/>
          <a:extLs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
        <p:nvSpPr>
          <p:cNvPr id="2" name="Rectangle 1"/>
          <p:cNvSpPr>
            <a:spLocks noChangeArrowheads="1"/>
          </p:cNvSpPr>
          <p:nvPr/>
        </p:nvSpPr>
        <p:spPr bwMode="auto">
          <a:xfrm>
            <a:off x="2435225" y="1687513"/>
            <a:ext cx="3341688" cy="44751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
        <p:nvSpPr>
          <p:cNvPr id="3" name="Rectangle 2"/>
          <p:cNvSpPr>
            <a:spLocks noChangeArrowheads="1"/>
          </p:cNvSpPr>
          <p:nvPr/>
        </p:nvSpPr>
        <p:spPr bwMode="auto">
          <a:xfrm>
            <a:off x="4589464" y="608013"/>
            <a:ext cx="5056187" cy="1651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
        <p:nvSpPr>
          <p:cNvPr id="4" name="Rectangle 3"/>
          <p:cNvSpPr>
            <a:spLocks noChangeArrowheads="1"/>
          </p:cNvSpPr>
          <p:nvPr/>
        </p:nvSpPr>
        <p:spPr bwMode="auto">
          <a:xfrm>
            <a:off x="6502833" y="2259014"/>
            <a:ext cx="3328988" cy="40100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
        <p:nvSpPr>
          <p:cNvPr id="5" name="Rectangle 4"/>
          <p:cNvSpPr>
            <a:spLocks noChangeArrowheads="1"/>
          </p:cNvSpPr>
          <p:nvPr/>
        </p:nvSpPr>
        <p:spPr bwMode="auto">
          <a:xfrm>
            <a:off x="5060951" y="4141788"/>
            <a:ext cx="2162175" cy="2082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buClr>
                <a:schemeClr val="tx2"/>
              </a:buClr>
              <a:buFont typeface="Wingdings" pitchFamily="2" charset="2"/>
              <a:buChar char="§"/>
              <a:defRPr sz="1400">
                <a:solidFill>
                  <a:schemeClr val="tx1"/>
                </a:solidFill>
                <a:latin typeface="Arial" pitchFamily="34" charset="0"/>
              </a:defRPr>
            </a:lvl1pPr>
            <a:lvl2pPr marL="742950" indent="-285750" eaLnBrk="0" hangingPunct="0">
              <a:buClr>
                <a:schemeClr val="tx2"/>
              </a:buClr>
              <a:buChar char="-"/>
              <a:defRPr sz="1400">
                <a:solidFill>
                  <a:schemeClr val="tx1"/>
                </a:solidFill>
                <a:latin typeface="Arial" pitchFamily="34" charset="0"/>
              </a:defRPr>
            </a:lvl2pPr>
            <a:lvl3pPr marL="1143000" indent="-228600" eaLnBrk="0" hangingPunct="0">
              <a:buClr>
                <a:schemeClr val="tx2"/>
              </a:buClr>
              <a:buChar char="-"/>
              <a:defRPr sz="1400">
                <a:solidFill>
                  <a:schemeClr val="tx1"/>
                </a:solidFill>
                <a:latin typeface="Arial" pitchFamily="34" charset="0"/>
              </a:defRPr>
            </a:lvl3pPr>
            <a:lvl4pPr marL="1600200" indent="-228600" eaLnBrk="0" hangingPunct="0">
              <a:buClr>
                <a:schemeClr val="tx2"/>
              </a:buClr>
              <a:buChar char="-"/>
              <a:defRPr sz="1400">
                <a:solidFill>
                  <a:schemeClr val="tx1"/>
                </a:solidFill>
                <a:latin typeface="Arial" pitchFamily="34" charset="0"/>
              </a:defRPr>
            </a:lvl4pPr>
            <a:lvl5pPr marL="2057400" indent="-228600" eaLnBrk="0" hangingPunct="0">
              <a:buClr>
                <a:schemeClr val="tx2"/>
              </a:buClr>
              <a:buChar char="-"/>
              <a:defRPr sz="1400">
                <a:solidFill>
                  <a:schemeClr val="tx1"/>
                </a:solidFill>
                <a:latin typeface="Arial" pitchFamily="34"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pitchFamily="34"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pitchFamily="34"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pitchFamily="34"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pitchFamily="34" charset="0"/>
              </a:defRPr>
            </a:lvl9pPr>
          </a:lstStyle>
          <a:p>
            <a:pPr eaLnBrk="1" hangingPunct="1">
              <a:buClrTx/>
              <a:buFontTx/>
              <a:buNone/>
            </a:pPr>
            <a:endParaRPr lang="en-US" altLang="en-US"/>
          </a:p>
        </p:txBody>
      </p:sp>
    </p:spTree>
    <p:extLst>
      <p:ext uri="{BB962C8B-B14F-4D97-AF65-F5344CB8AC3E}">
        <p14:creationId xmlns:p14="http://schemas.microsoft.com/office/powerpoint/2010/main" val="388645898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grpId="0" nodeType="clickEffect">
                                  <p:stCondLst>
                                    <p:cond delay="0"/>
                                  </p:stCondLst>
                                  <p:childTnLst>
                                    <p:animEffect transition="out" filter="fade">
                                      <p:cBhvr>
                                        <p:cTn id="6" dur="2000"/>
                                        <p:tgtEl>
                                          <p:spTgt spid="1586183"/>
                                        </p:tgtEl>
                                      </p:cBhvr>
                                    </p:animEffect>
                                    <p:set>
                                      <p:cBhvr>
                                        <p:cTn id="7" dur="1" fill="hold">
                                          <p:stCondLst>
                                            <p:cond delay="1999"/>
                                          </p:stCondLst>
                                        </p:cTn>
                                        <p:tgtEl>
                                          <p:spTgt spid="1586183"/>
                                        </p:tgtEl>
                                        <p:attrNameLst>
                                          <p:attrName>style.visibility</p:attrName>
                                        </p:attrNameLst>
                                      </p:cBhvr>
                                      <p:to>
                                        <p:strVal val="hidden"/>
                                      </p:to>
                                    </p:set>
                                  </p:childTnLst>
                                </p:cTn>
                              </p:par>
                              <p:par>
                                <p:cTn id="8" presetID="63" presetClass="path" presetSubtype="0" accel="50000" decel="50000" fill="hold" grpId="0" nodeType="withEffect">
                                  <p:stCondLst>
                                    <p:cond delay="500"/>
                                  </p:stCondLst>
                                  <p:childTnLst>
                                    <p:animMotion origin="layout" path="M 3.75E-6 2.96296E-6 L 0.33984 -0.00023 " pathEditMode="relative" rAng="0" ptsTypes="AA">
                                      <p:cBhvr>
                                        <p:cTn id="9" dur="5000" fill="hold"/>
                                        <p:tgtEl>
                                          <p:spTgt spid="1586181"/>
                                        </p:tgtEl>
                                        <p:attrNameLst>
                                          <p:attrName>ppt_x</p:attrName>
                                          <p:attrName>ppt_y</p:attrName>
                                        </p:attrNameLst>
                                      </p:cBhvr>
                                      <p:rCtr x="16992" y="-23"/>
                                    </p:animMotion>
                                  </p:childTnLst>
                                </p:cTn>
                              </p:par>
                            </p:childTnLst>
                          </p:cTn>
                        </p:par>
                      </p:childTnLst>
                    </p:cTn>
                  </p:par>
                  <p:par>
                    <p:cTn id="10" fill="hold" nodeType="clickPar">
                      <p:stCondLst>
                        <p:cond delay="indefinite"/>
                      </p:stCondLst>
                      <p:childTnLst>
                        <p:par>
                          <p:cTn id="11" fill="hold" nodeType="withGroup">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6181" grpId="0" animBg="1"/>
      <p:bldP spid="1586183" grpId="0" animBg="1"/>
      <p:bldP spid="2" grpId="0" animBg="1"/>
      <p:bldP spid="3" grpId="0" animBg="1"/>
      <p:bldP spid="4" grpId="0" animBg="1"/>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1497013" y="625475"/>
            <a:ext cx="7823200"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spcBef>
                <a:spcPct val="0"/>
              </a:spcBef>
              <a:spcAft>
                <a:spcPct val="0"/>
              </a:spcAft>
              <a:defRPr sz="2200">
                <a:solidFill>
                  <a:schemeClr val="tx2"/>
                </a:solidFill>
                <a:latin typeface="+mj-lt"/>
                <a:ea typeface="+mj-ea"/>
                <a:cs typeface="+mj-cs"/>
              </a:defRPr>
            </a:lvl1pPr>
            <a:lvl2pPr algn="l" rtl="0" eaLnBrk="0" fontAlgn="base" hangingPunct="0">
              <a:spcBef>
                <a:spcPct val="0"/>
              </a:spcBef>
              <a:spcAft>
                <a:spcPct val="0"/>
              </a:spcAft>
              <a:defRPr sz="2200">
                <a:solidFill>
                  <a:schemeClr val="tx2"/>
                </a:solidFill>
                <a:latin typeface="Arial" pitchFamily="34" charset="0"/>
              </a:defRPr>
            </a:lvl2pPr>
            <a:lvl3pPr algn="l" rtl="0" eaLnBrk="0" fontAlgn="base" hangingPunct="0">
              <a:spcBef>
                <a:spcPct val="0"/>
              </a:spcBef>
              <a:spcAft>
                <a:spcPct val="0"/>
              </a:spcAft>
              <a:defRPr sz="2200">
                <a:solidFill>
                  <a:schemeClr val="tx2"/>
                </a:solidFill>
                <a:latin typeface="Arial" pitchFamily="34" charset="0"/>
              </a:defRPr>
            </a:lvl3pPr>
            <a:lvl4pPr algn="l" rtl="0" eaLnBrk="0" fontAlgn="base" hangingPunct="0">
              <a:spcBef>
                <a:spcPct val="0"/>
              </a:spcBef>
              <a:spcAft>
                <a:spcPct val="0"/>
              </a:spcAft>
              <a:defRPr sz="2200">
                <a:solidFill>
                  <a:schemeClr val="tx2"/>
                </a:solidFill>
                <a:latin typeface="Arial" pitchFamily="34" charset="0"/>
              </a:defRPr>
            </a:lvl4pPr>
            <a:lvl5pPr algn="l" rtl="0" eaLnBrk="0" fontAlgn="base" hangingPunct="0">
              <a:spcBef>
                <a:spcPct val="0"/>
              </a:spcBef>
              <a:spcAft>
                <a:spcPct val="0"/>
              </a:spcAft>
              <a:defRPr sz="2200">
                <a:solidFill>
                  <a:schemeClr val="tx2"/>
                </a:solidFill>
                <a:latin typeface="Arial" pitchFamily="34" charset="0"/>
              </a:defRPr>
            </a:lvl5pPr>
            <a:lvl6pPr marL="457200" algn="l" rtl="0" fontAlgn="base">
              <a:spcBef>
                <a:spcPct val="0"/>
              </a:spcBef>
              <a:spcAft>
                <a:spcPct val="0"/>
              </a:spcAft>
              <a:defRPr sz="2200">
                <a:solidFill>
                  <a:schemeClr val="tx2"/>
                </a:solidFill>
                <a:latin typeface="Arial" pitchFamily="34" charset="0"/>
              </a:defRPr>
            </a:lvl6pPr>
            <a:lvl7pPr marL="914400" algn="l" rtl="0" fontAlgn="base">
              <a:spcBef>
                <a:spcPct val="0"/>
              </a:spcBef>
              <a:spcAft>
                <a:spcPct val="0"/>
              </a:spcAft>
              <a:defRPr sz="2200">
                <a:solidFill>
                  <a:schemeClr val="tx2"/>
                </a:solidFill>
                <a:latin typeface="Arial" pitchFamily="34" charset="0"/>
              </a:defRPr>
            </a:lvl7pPr>
            <a:lvl8pPr marL="1371600" algn="l" rtl="0" fontAlgn="base">
              <a:spcBef>
                <a:spcPct val="0"/>
              </a:spcBef>
              <a:spcAft>
                <a:spcPct val="0"/>
              </a:spcAft>
              <a:defRPr sz="2200">
                <a:solidFill>
                  <a:schemeClr val="tx2"/>
                </a:solidFill>
                <a:latin typeface="Arial" pitchFamily="34" charset="0"/>
              </a:defRPr>
            </a:lvl8pPr>
            <a:lvl9pPr marL="1828800" algn="l" rtl="0" fontAlgn="base">
              <a:spcBef>
                <a:spcPct val="0"/>
              </a:spcBef>
              <a:spcAft>
                <a:spcPct val="0"/>
              </a:spcAft>
              <a:defRPr sz="2200">
                <a:solidFill>
                  <a:schemeClr val="tx2"/>
                </a:solidFill>
                <a:latin typeface="Arial" pitchFamily="34" charset="0"/>
              </a:defRPr>
            </a:lvl9pPr>
          </a:lstStyle>
          <a:p>
            <a:pPr eaLnBrk="1" hangingPunct="1">
              <a:defRPr/>
            </a:pPr>
            <a:endParaRPr lang="en-GB" altLang="en-US" dirty="0"/>
          </a:p>
        </p:txBody>
      </p:sp>
      <p:pic>
        <p:nvPicPr>
          <p:cNvPr id="5734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7038" y="1155275"/>
            <a:ext cx="3719512" cy="543877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13328AA6-CD6D-0762-F4B3-103AFA806C06}"/>
              </a:ext>
            </a:extLst>
          </p:cNvPr>
          <p:cNvSpPr>
            <a:spLocks noGrp="1"/>
          </p:cNvSpPr>
          <p:nvPr>
            <p:ph type="title"/>
          </p:nvPr>
        </p:nvSpPr>
        <p:spPr>
          <a:xfrm>
            <a:off x="395926" y="541636"/>
            <a:ext cx="9944006" cy="791565"/>
          </a:xfrm>
        </p:spPr>
        <p:txBody>
          <a:bodyPr/>
          <a:lstStyle/>
          <a:p>
            <a:pPr eaLnBrk="1" hangingPunct="1">
              <a:defRPr/>
            </a:pPr>
            <a:r>
              <a:rPr lang="pl-PL" altLang="en-US" dirty="0"/>
              <a:t>Nie wkładaj wszystkich jajek do jednego koszyka</a:t>
            </a:r>
            <a:endParaRPr lang="en-GB" altLang="en-US" dirty="0"/>
          </a:p>
        </p:txBody>
      </p:sp>
    </p:spTree>
    <p:extLst>
      <p:ext uri="{BB962C8B-B14F-4D97-AF65-F5344CB8AC3E}">
        <p14:creationId xmlns:p14="http://schemas.microsoft.com/office/powerpoint/2010/main" val="422370527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06100487"/>
              </p:ext>
            </p:extLst>
          </p:nvPr>
        </p:nvGraphicFramePr>
        <p:xfrm>
          <a:off x="395927" y="4522279"/>
          <a:ext cx="9166462" cy="1397608"/>
        </p:xfrm>
        <a:graphic>
          <a:graphicData uri="http://schemas.openxmlformats.org/drawingml/2006/table">
            <a:tbl>
              <a:tblPr/>
              <a:tblGrid>
                <a:gridCol w="1583501">
                  <a:extLst>
                    <a:ext uri="{9D8B030D-6E8A-4147-A177-3AD203B41FA5}">
                      <a16:colId xmlns:a16="http://schemas.microsoft.com/office/drawing/2014/main" val="20000"/>
                    </a:ext>
                  </a:extLst>
                </a:gridCol>
                <a:gridCol w="1516591">
                  <a:extLst>
                    <a:ext uri="{9D8B030D-6E8A-4147-A177-3AD203B41FA5}">
                      <a16:colId xmlns:a16="http://schemas.microsoft.com/office/drawing/2014/main" val="20001"/>
                    </a:ext>
                  </a:extLst>
                </a:gridCol>
                <a:gridCol w="1516591">
                  <a:extLst>
                    <a:ext uri="{9D8B030D-6E8A-4147-A177-3AD203B41FA5}">
                      <a16:colId xmlns:a16="http://schemas.microsoft.com/office/drawing/2014/main" val="20002"/>
                    </a:ext>
                  </a:extLst>
                </a:gridCol>
                <a:gridCol w="1516591">
                  <a:extLst>
                    <a:ext uri="{9D8B030D-6E8A-4147-A177-3AD203B41FA5}">
                      <a16:colId xmlns:a16="http://schemas.microsoft.com/office/drawing/2014/main" val="20003"/>
                    </a:ext>
                  </a:extLst>
                </a:gridCol>
                <a:gridCol w="758297">
                  <a:extLst>
                    <a:ext uri="{9D8B030D-6E8A-4147-A177-3AD203B41FA5}">
                      <a16:colId xmlns:a16="http://schemas.microsoft.com/office/drawing/2014/main" val="20004"/>
                    </a:ext>
                  </a:extLst>
                </a:gridCol>
                <a:gridCol w="758297">
                  <a:extLst>
                    <a:ext uri="{9D8B030D-6E8A-4147-A177-3AD203B41FA5}">
                      <a16:colId xmlns:a16="http://schemas.microsoft.com/office/drawing/2014/main" val="20005"/>
                    </a:ext>
                  </a:extLst>
                </a:gridCol>
                <a:gridCol w="758297">
                  <a:extLst>
                    <a:ext uri="{9D8B030D-6E8A-4147-A177-3AD203B41FA5}">
                      <a16:colId xmlns:a16="http://schemas.microsoft.com/office/drawing/2014/main" val="20006"/>
                    </a:ext>
                  </a:extLst>
                </a:gridCol>
                <a:gridCol w="758297">
                  <a:extLst>
                    <a:ext uri="{9D8B030D-6E8A-4147-A177-3AD203B41FA5}">
                      <a16:colId xmlns:a16="http://schemas.microsoft.com/office/drawing/2014/main" val="20007"/>
                    </a:ext>
                  </a:extLst>
                </a:gridCol>
              </a:tblGrid>
              <a:tr h="271799">
                <a:tc>
                  <a:txBody>
                    <a:bodyPr/>
                    <a:lstStyle/>
                    <a:p>
                      <a:pPr algn="ctr" fontAlgn="ctr"/>
                      <a:r>
                        <a:rPr lang="en-US" sz="1000" b="0" i="0" u="none" strike="noStrike" dirty="0">
                          <a:effectLst/>
                          <a:latin typeface="Arial"/>
                        </a:rPr>
                        <a:t>Akcje Niemcy</a:t>
                      </a:r>
                    </a:p>
                  </a:txBody>
                  <a:tcPr marL="0" marR="0" marT="0" marB="0" anchor="ctr">
                    <a:lnL>
                      <a:noFill/>
                    </a:lnL>
                    <a:lnR>
                      <a:noFill/>
                    </a:lnR>
                    <a:lnT>
                      <a:noFill/>
                    </a:lnT>
                    <a:lnB w="19050" cap="flat" cmpd="sng" algn="ctr">
                      <a:solidFill>
                        <a:srgbClr val="FFFFFF"/>
                      </a:solidFill>
                      <a:prstDash val="solid"/>
                      <a:round/>
                      <a:headEnd type="none" w="med" len="med"/>
                      <a:tailEnd type="none" w="med" len="med"/>
                    </a:lnB>
                  </a:tcPr>
                </a:tc>
                <a:tc>
                  <a:txBody>
                    <a:bodyPr/>
                    <a:lstStyle/>
                    <a:p>
                      <a:pPr algn="ctr" fontAlgn="ctr"/>
                      <a:r>
                        <a:rPr lang="en-US" sz="1000" b="0" i="0" u="none" strike="noStrike">
                          <a:effectLst/>
                          <a:latin typeface="Arial"/>
                        </a:rPr>
                        <a:t>Akcje USA</a:t>
                      </a:r>
                    </a:p>
                  </a:txBody>
                  <a:tcPr marL="0" marR="0" marT="0" marB="0" anchor="ctr">
                    <a:lnL>
                      <a:noFill/>
                    </a:lnL>
                    <a:lnR>
                      <a:noFill/>
                    </a:lnR>
                    <a:lnT>
                      <a:noFill/>
                    </a:lnT>
                    <a:lnB>
                      <a:noFill/>
                    </a:lnB>
                  </a:tcPr>
                </a:tc>
                <a:tc>
                  <a:txBody>
                    <a:bodyPr/>
                    <a:lstStyle/>
                    <a:p>
                      <a:pPr algn="ctr" fontAlgn="ctr"/>
                      <a:r>
                        <a:rPr lang="en-US" sz="1000" b="0" i="0" u="none" strike="noStrike">
                          <a:effectLst/>
                          <a:latin typeface="Arial"/>
                        </a:rPr>
                        <a:t>Akcje Rynki wschodzące</a:t>
                      </a:r>
                    </a:p>
                  </a:txBody>
                  <a:tcPr marL="0" marR="0" marT="0" marB="0" anchor="ctr">
                    <a:lnL>
                      <a:noFill/>
                    </a:lnL>
                    <a:lnR>
                      <a:noFill/>
                    </a:lnR>
                    <a:lnT>
                      <a:noFill/>
                    </a:lnT>
                    <a:lnB>
                      <a:noFill/>
                    </a:lnB>
                  </a:tcPr>
                </a:tc>
                <a:tc>
                  <a:txBody>
                    <a:bodyPr/>
                    <a:lstStyle/>
                    <a:p>
                      <a:pPr algn="ctr" fontAlgn="ctr"/>
                      <a:r>
                        <a:rPr lang="en-US" sz="1000" b="0" i="0" u="none" strike="noStrike">
                          <a:effectLst/>
                          <a:latin typeface="Arial"/>
                        </a:rPr>
                        <a:t>Akcje Europa</a:t>
                      </a:r>
                    </a:p>
                  </a:txBody>
                  <a:tcPr marL="0" marR="0" marT="0" marB="0" anchor="ctr">
                    <a:lnL>
                      <a:noFill/>
                    </a:lnL>
                    <a:lnR>
                      <a:noFill/>
                    </a:lnR>
                    <a:lnT>
                      <a:noFill/>
                    </a:lnT>
                    <a:lnB>
                      <a:noFill/>
                    </a:lnB>
                  </a:tcPr>
                </a:tc>
                <a:tc gridSpan="2">
                  <a:txBody>
                    <a:bodyPr/>
                    <a:lstStyle/>
                    <a:p>
                      <a:pPr algn="ctr" fontAlgn="ctr"/>
                      <a:r>
                        <a:rPr lang="en-US" sz="1000" b="0" i="0" u="none" strike="noStrike" dirty="0" err="1">
                          <a:effectLst/>
                          <a:latin typeface="Arial"/>
                        </a:rPr>
                        <a:t>Obligacje</a:t>
                      </a:r>
                      <a:r>
                        <a:rPr lang="en-US" sz="1000" b="0" i="0" u="none" strike="noStrike" dirty="0">
                          <a:effectLst/>
                          <a:latin typeface="Arial"/>
                        </a:rPr>
                        <a:t> </a:t>
                      </a:r>
                      <a:r>
                        <a:rPr lang="en-US" sz="1000" b="0" i="0" u="none" strike="noStrike" dirty="0" err="1">
                          <a:effectLst/>
                          <a:latin typeface="Arial"/>
                        </a:rPr>
                        <a:t>rządowe</a:t>
                      </a:r>
                      <a:r>
                        <a:rPr lang="en-US" sz="1000" b="0" i="0" u="none" strike="noStrike" dirty="0">
                          <a:effectLst/>
                          <a:latin typeface="Arial"/>
                        </a:rPr>
                        <a:t> </a:t>
                      </a:r>
                      <a:r>
                        <a:rPr lang="en-US" sz="1000" b="0" i="0" u="none" strike="noStrike" dirty="0" err="1">
                          <a:effectLst/>
                          <a:latin typeface="Arial"/>
                        </a:rPr>
                        <a:t>Zaawansowane</a:t>
                      </a:r>
                      <a:r>
                        <a:rPr lang="en-US" sz="1000" b="0" i="0" u="none" strike="noStrike" dirty="0">
                          <a:effectLst/>
                          <a:latin typeface="Arial"/>
                        </a:rPr>
                        <a:t> </a:t>
                      </a:r>
                      <a:r>
                        <a:rPr lang="en-US" sz="1000" b="0" i="0" u="none" strike="noStrike" dirty="0" err="1">
                          <a:effectLst/>
                          <a:latin typeface="Arial"/>
                        </a:rPr>
                        <a:t>gospodarki</a:t>
                      </a:r>
                      <a:endParaRPr lang="en-US" sz="1000" b="0" i="0" u="none" strike="noStrike" dirty="0">
                        <a:effectLst/>
                        <a:latin typeface="Arial"/>
                      </a:endParaRPr>
                    </a:p>
                  </a:txBody>
                  <a:tcPr marL="0" marR="0" marT="0" marB="0" anchor="ctr">
                    <a:lnL>
                      <a:noFill/>
                    </a:lnL>
                    <a:lnR>
                      <a:noFill/>
                    </a:lnR>
                    <a:lnT>
                      <a:noFill/>
                    </a:lnT>
                    <a:lnB>
                      <a:noFill/>
                    </a:lnB>
                  </a:tcPr>
                </a:tc>
                <a:tc hMerge="1">
                  <a:txBody>
                    <a:bodyPr/>
                    <a:lstStyle/>
                    <a:p>
                      <a:endParaRPr lang="en-US"/>
                    </a:p>
                  </a:txBody>
                  <a:tcPr/>
                </a:tc>
                <a:tc gridSpan="2">
                  <a:txBody>
                    <a:bodyPr/>
                    <a:lstStyle/>
                    <a:p>
                      <a:pPr algn="ctr" fontAlgn="ctr"/>
                      <a:r>
                        <a:rPr lang="en-US" sz="1000" b="0" i="0" u="none" strike="noStrike" dirty="0" err="1">
                          <a:effectLst/>
                          <a:latin typeface="Arial"/>
                        </a:rPr>
                        <a:t>Obligacje</a:t>
                      </a:r>
                      <a:r>
                        <a:rPr lang="en-US" sz="1000" b="0" i="0" u="none" strike="noStrike" dirty="0">
                          <a:effectLst/>
                          <a:latin typeface="Arial"/>
                        </a:rPr>
                        <a:t> </a:t>
                      </a:r>
                      <a:r>
                        <a:rPr lang="en-US" sz="1000" b="0" i="0" u="none" strike="noStrike" dirty="0" err="1">
                          <a:effectLst/>
                          <a:latin typeface="Arial"/>
                        </a:rPr>
                        <a:t>rządowe</a:t>
                      </a:r>
                      <a:r>
                        <a:rPr lang="en-US" sz="1000" b="0" i="0" u="none" strike="noStrike" dirty="0">
                          <a:effectLst/>
                          <a:latin typeface="Arial"/>
                        </a:rPr>
                        <a:t> </a:t>
                      </a:r>
                      <a:br>
                        <a:rPr lang="pl-PL" sz="1000" b="0" i="0" u="none" strike="noStrike" dirty="0">
                          <a:effectLst/>
                          <a:latin typeface="Arial"/>
                        </a:rPr>
                      </a:br>
                      <a:r>
                        <a:rPr lang="en-US" sz="1000" b="0" i="0" u="none" strike="noStrike" dirty="0" err="1">
                          <a:effectLst/>
                          <a:latin typeface="Arial"/>
                        </a:rPr>
                        <a:t>Rynki</a:t>
                      </a:r>
                      <a:r>
                        <a:rPr lang="en-US" sz="1000" b="0" i="0" u="none" strike="noStrike" dirty="0">
                          <a:effectLst/>
                          <a:latin typeface="Arial"/>
                        </a:rPr>
                        <a:t> </a:t>
                      </a:r>
                      <a:r>
                        <a:rPr lang="en-US" sz="1000" b="0" i="0" u="none" strike="noStrike" dirty="0" err="1">
                          <a:effectLst/>
                          <a:latin typeface="Arial"/>
                        </a:rPr>
                        <a:t>wschodzące</a:t>
                      </a:r>
                      <a:endParaRPr lang="en-US" sz="1000" b="0" i="0" u="none" strike="noStrike" dirty="0">
                        <a:effectLst/>
                        <a:latin typeface="Arial"/>
                      </a:endParaRPr>
                    </a:p>
                  </a:txBody>
                  <a:tcPr marL="0" marR="0" marT="0" marB="0" anchor="ctr">
                    <a:lnL>
                      <a:noFill/>
                    </a:lnL>
                    <a:lnR>
                      <a:noFill/>
                    </a:lnR>
                    <a:lnT>
                      <a:noFill/>
                    </a:lnT>
                    <a:lnB>
                      <a:noFill/>
                    </a:lnB>
                  </a:tcPr>
                </a:tc>
                <a:tc hMerge="1">
                  <a:txBody>
                    <a:bodyPr/>
                    <a:lstStyle/>
                    <a:p>
                      <a:endParaRPr lang="en-US"/>
                    </a:p>
                  </a:txBody>
                  <a:tcPr/>
                </a:tc>
                <a:extLst>
                  <a:ext uri="{0D108BD9-81ED-4DB2-BD59-A6C34878D82A}">
                    <a16:rowId xmlns:a16="http://schemas.microsoft.com/office/drawing/2014/main" val="10000"/>
                  </a:ext>
                </a:extLst>
              </a:tr>
              <a:tr h="265132">
                <a:tc>
                  <a:txBody>
                    <a:bodyPr/>
                    <a:lstStyle/>
                    <a:p>
                      <a:pPr algn="ctr" fontAlgn="b"/>
                      <a:r>
                        <a:rPr lang="en-US" sz="1000" b="0" i="0" u="none" strike="noStrike">
                          <a:effectLst/>
                          <a:latin typeface="Arial"/>
                        </a:rPr>
                        <a:t> </a:t>
                      </a:r>
                    </a:p>
                  </a:txBody>
                  <a:tcPr marL="0" marR="0" marT="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113388"/>
                    </a:solidFill>
                  </a:tcPr>
                </a:tc>
                <a:tc>
                  <a:txBody>
                    <a:bodyPr/>
                    <a:lstStyle/>
                    <a:p>
                      <a:pPr algn="ctr" fontAlgn="b"/>
                      <a:r>
                        <a:rPr lang="en-US" sz="1000" b="0" i="0" u="none" strike="noStrike">
                          <a:effectLst/>
                          <a:latin typeface="Arial"/>
                        </a:rPr>
                        <a:t> </a:t>
                      </a:r>
                    </a:p>
                  </a:txBody>
                  <a:tcPr marL="0" marR="0" marT="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426BB3"/>
                    </a:solidFill>
                  </a:tcPr>
                </a:tc>
                <a:tc>
                  <a:txBody>
                    <a:bodyPr/>
                    <a:lstStyle/>
                    <a:p>
                      <a:pPr algn="ctr" fontAlgn="b"/>
                      <a:r>
                        <a:rPr lang="en-US" sz="1000" b="0" i="0" u="none" strike="noStrike" dirty="0">
                          <a:effectLst/>
                          <a:latin typeface="Arial"/>
                        </a:rPr>
                        <a:t> </a:t>
                      </a:r>
                    </a:p>
                  </a:txBody>
                  <a:tcPr marL="0" marR="0" marT="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3366FF"/>
                    </a:solidFill>
                  </a:tcPr>
                </a:tc>
                <a:tc>
                  <a:txBody>
                    <a:bodyPr/>
                    <a:lstStyle/>
                    <a:p>
                      <a:pPr algn="ctr" fontAlgn="b"/>
                      <a:r>
                        <a:rPr lang="en-US" sz="1000" b="0" i="0" u="none" strike="noStrike">
                          <a:effectLst/>
                          <a:latin typeface="Arial"/>
                        </a:rPr>
                        <a:t> </a:t>
                      </a:r>
                    </a:p>
                  </a:txBody>
                  <a:tcPr marL="0" marR="0" marT="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95B3D7"/>
                    </a:solidFill>
                  </a:tcPr>
                </a:tc>
                <a:tc gridSpan="2">
                  <a:txBody>
                    <a:bodyPr/>
                    <a:lstStyle/>
                    <a:p>
                      <a:pPr algn="ctr" fontAlgn="b"/>
                      <a:r>
                        <a:rPr lang="en-US" sz="1000" b="1" i="0" u="none" strike="noStrike">
                          <a:effectLst/>
                          <a:latin typeface="Arial"/>
                        </a:rPr>
                        <a:t> </a:t>
                      </a:r>
                    </a:p>
                  </a:txBody>
                  <a:tcPr marL="0" marR="0" marT="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a:noFill/>
                    </a:lnB>
                    <a:solidFill>
                      <a:srgbClr val="FBBC01"/>
                    </a:solidFill>
                  </a:tcPr>
                </a:tc>
                <a:tc hMerge="1">
                  <a:txBody>
                    <a:bodyPr/>
                    <a:lstStyle/>
                    <a:p>
                      <a:endParaRPr lang="en-US"/>
                    </a:p>
                  </a:txBody>
                  <a:tcPr/>
                </a:tc>
                <a:tc gridSpan="2">
                  <a:txBody>
                    <a:bodyPr/>
                    <a:lstStyle/>
                    <a:p>
                      <a:pPr algn="ctr" fontAlgn="b"/>
                      <a:r>
                        <a:rPr lang="en-US" sz="1000" b="0" i="0" u="none" strike="noStrike">
                          <a:effectLst/>
                          <a:latin typeface="Arial"/>
                        </a:rPr>
                        <a:t> </a:t>
                      </a:r>
                    </a:p>
                  </a:txBody>
                  <a:tcPr marL="0" marR="0" marT="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F1701A"/>
                    </a:solidFill>
                  </a:tcPr>
                </a:tc>
                <a:tc hMerge="1">
                  <a:txBody>
                    <a:bodyPr/>
                    <a:lstStyle/>
                    <a:p>
                      <a:endParaRPr lang="en-US"/>
                    </a:p>
                  </a:txBody>
                  <a:tcPr/>
                </a:tc>
                <a:extLst>
                  <a:ext uri="{0D108BD9-81ED-4DB2-BD59-A6C34878D82A}">
                    <a16:rowId xmlns:a16="http://schemas.microsoft.com/office/drawing/2014/main" val="10001"/>
                  </a:ext>
                </a:extLst>
              </a:tr>
              <a:tr h="135899">
                <a:tc rowSpan="2">
                  <a:txBody>
                    <a:bodyPr/>
                    <a:lstStyle/>
                    <a:p>
                      <a:pPr algn="ctr" fontAlgn="ctr"/>
                      <a:r>
                        <a:rPr lang="en-US" sz="1000" b="0" i="0" u="none" strike="noStrike">
                          <a:effectLst/>
                          <a:latin typeface="Arial"/>
                        </a:rPr>
                        <a:t>Obligacje korporacyjne</a:t>
                      </a:r>
                    </a:p>
                  </a:txBody>
                  <a:tcPr marL="0" marR="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rowSpan="2">
                  <a:txBody>
                    <a:bodyPr/>
                    <a:lstStyle/>
                    <a:p>
                      <a:pPr algn="ctr" fontAlgn="ctr"/>
                      <a:r>
                        <a:rPr lang="en-US" sz="1000" b="0" i="0" u="none" strike="noStrike">
                          <a:effectLst/>
                          <a:latin typeface="Arial"/>
                        </a:rPr>
                        <a:t>Nieruchomości (REITS)</a:t>
                      </a:r>
                    </a:p>
                  </a:txBody>
                  <a:tcPr marL="0" marR="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rowSpan="2">
                  <a:txBody>
                    <a:bodyPr/>
                    <a:lstStyle/>
                    <a:p>
                      <a:pPr algn="ctr" fontAlgn="ctr"/>
                      <a:r>
                        <a:rPr lang="en-US" sz="1000" b="0" i="0" u="none" strike="noStrike">
                          <a:effectLst/>
                          <a:latin typeface="Arial"/>
                        </a:rPr>
                        <a:t>Towary (z wyjątkiem metali szlachetnych)</a:t>
                      </a:r>
                    </a:p>
                  </a:txBody>
                  <a:tcPr marL="0" marR="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rowSpan="2">
                  <a:txBody>
                    <a:bodyPr/>
                    <a:lstStyle/>
                    <a:p>
                      <a:pPr algn="ctr" fontAlgn="ctr"/>
                      <a:r>
                        <a:rPr lang="en-US" sz="1000" b="0" i="0" u="none" strike="noStrike">
                          <a:effectLst/>
                          <a:latin typeface="Arial"/>
                        </a:rPr>
                        <a:t>Złoto</a:t>
                      </a:r>
                    </a:p>
                  </a:txBody>
                  <a:tcPr marL="0" marR="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endParaRPr lang="en-US" sz="1000" b="1" i="0" u="none" strike="noStrike">
                        <a:effectLst/>
                        <a:latin typeface="Arial"/>
                      </a:endParaRPr>
                    </a:p>
                  </a:txBody>
                  <a:tcPr marL="0" marR="0" marT="0" marB="0" anchor="b">
                    <a:lnL w="19050" cap="flat" cmpd="sng" algn="ctr">
                      <a:solidFill>
                        <a:srgbClr val="FFFFFF"/>
                      </a:solidFill>
                      <a:prstDash val="solid"/>
                      <a:round/>
                      <a:headEnd type="none" w="med" len="med"/>
                      <a:tailEnd type="none" w="med" len="med"/>
                    </a:lnL>
                    <a:lnR>
                      <a:noFill/>
                    </a:lnR>
                    <a:lnT>
                      <a:noFill/>
                    </a:lnT>
                    <a:lnB w="19050" cap="flat" cmpd="sng" algn="ctr">
                      <a:solidFill>
                        <a:srgbClr val="FFFFFF"/>
                      </a:solidFill>
                      <a:prstDash val="solid"/>
                      <a:round/>
                      <a:headEnd type="none" w="med" len="med"/>
                      <a:tailEnd type="none" w="med" len="med"/>
                    </a:lnB>
                  </a:tcPr>
                </a:tc>
                <a:tc>
                  <a:txBody>
                    <a:bodyPr/>
                    <a:lstStyle/>
                    <a:p>
                      <a:pPr algn="ctr" fontAlgn="b"/>
                      <a:endParaRPr lang="en-US" sz="1000" b="1" i="0" u="none" strike="noStrike">
                        <a:effectLst/>
                        <a:latin typeface="Arial"/>
                      </a:endParaRPr>
                    </a:p>
                  </a:txBody>
                  <a:tcPr marL="0" marR="0" marT="0" marB="0" anchor="b">
                    <a:lnL>
                      <a:noFill/>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tcPr>
                </a:tc>
                <a:tc>
                  <a:txBody>
                    <a:bodyPr/>
                    <a:lstStyle/>
                    <a:p>
                      <a:pPr algn="ctr" fontAlgn="b"/>
                      <a:r>
                        <a:rPr lang="en-US" sz="1000" b="0" i="0" u="none" strike="noStrike">
                          <a:effectLst/>
                          <a:latin typeface="Arial"/>
                        </a:rPr>
                        <a:t> </a:t>
                      </a:r>
                    </a:p>
                  </a:txBody>
                  <a:tcPr marL="0" marR="0" marT="0" marB="0" anchor="b">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endParaRPr lang="en-US" sz="1000" b="0" i="0" u="none" strike="noStrike">
                        <a:effectLst/>
                        <a:latin typeface="Arial"/>
                      </a:endParaRPr>
                    </a:p>
                  </a:txBody>
                  <a:tcPr marL="0" marR="0" marT="0" marB="0" anchor="b">
                    <a:lnL>
                      <a:noFill/>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21807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ctr" fontAlgn="ctr"/>
                      <a:r>
                        <a:rPr lang="en-US" sz="1000" b="1" i="0" u="none" strike="noStrike">
                          <a:effectLst/>
                          <a:latin typeface="Arial"/>
                        </a:rPr>
                        <a:t> </a:t>
                      </a:r>
                    </a:p>
                  </a:txBody>
                  <a:tcPr marL="0" marR="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FFFFF"/>
                    </a:solidFill>
                  </a:tcPr>
                </a:tc>
                <a:tc hMerge="1">
                  <a:txBody>
                    <a:bodyPr/>
                    <a:lstStyle/>
                    <a:p>
                      <a:endParaRPr lang="en-US"/>
                    </a:p>
                  </a:txBody>
                  <a:tcPr/>
                </a:tc>
                <a:tc gridSpan="2">
                  <a:txBody>
                    <a:bodyPr/>
                    <a:lstStyle/>
                    <a:p>
                      <a:pPr algn="ctr" fontAlgn="ctr"/>
                      <a:r>
                        <a:rPr lang="en-US" sz="1000" b="1" i="0" u="none" strike="noStrike" dirty="0">
                          <a:effectLst/>
                          <a:latin typeface="Arial"/>
                        </a:rPr>
                        <a:t> </a:t>
                      </a:r>
                    </a:p>
                  </a:txBody>
                  <a:tcPr marL="0" marR="0" marT="0" marB="0" anchor="ctr">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10003"/>
                  </a:ext>
                </a:extLst>
              </a:tr>
              <a:tr h="135899">
                <a:tc rowSpan="2">
                  <a:txBody>
                    <a:bodyPr/>
                    <a:lstStyle/>
                    <a:p>
                      <a:pPr algn="ctr" fontAlgn="b"/>
                      <a:r>
                        <a:rPr lang="en-US" sz="1000" b="1" i="0" u="none" strike="noStrike" dirty="0">
                          <a:effectLst/>
                          <a:latin typeface="Arial"/>
                        </a:rPr>
                        <a:t> </a:t>
                      </a:r>
                    </a:p>
                  </a:txBody>
                  <a:tcPr marL="0" marR="0" marT="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26B"/>
                    </a:solidFill>
                  </a:tcPr>
                </a:tc>
                <a:tc rowSpan="2">
                  <a:txBody>
                    <a:bodyPr/>
                    <a:lstStyle/>
                    <a:p>
                      <a:pPr algn="ctr" fontAlgn="b"/>
                      <a:r>
                        <a:rPr lang="en-US" sz="1000" b="0" i="0" u="none" strike="noStrike" dirty="0">
                          <a:solidFill>
                            <a:srgbClr val="FBBC01"/>
                          </a:solidFill>
                          <a:effectLst/>
                          <a:latin typeface="Arial"/>
                        </a:rPr>
                        <a:t> </a:t>
                      </a:r>
                    </a:p>
                  </a:txBody>
                  <a:tcPr marL="0" marR="0" marT="0" marB="0" anchor="b">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rowSpan="2">
                  <a:txBody>
                    <a:bodyPr/>
                    <a:lstStyle/>
                    <a:p>
                      <a:pPr algn="ctr" fontAlgn="ctr"/>
                      <a:r>
                        <a:rPr lang="en-US" sz="1000" b="1" i="0" u="none" strike="noStrike">
                          <a:effectLst/>
                          <a:latin typeface="Arial"/>
                        </a:rPr>
                        <a:t> </a:t>
                      </a:r>
                    </a:p>
                  </a:txBody>
                  <a:tcPr marL="0" marR="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rowSpan="2">
                  <a:txBody>
                    <a:bodyPr/>
                    <a:lstStyle/>
                    <a:p>
                      <a:pPr algn="ctr" fontAlgn="ctr"/>
                      <a:r>
                        <a:rPr lang="en-US" sz="1000" b="1" i="0" u="none" strike="noStrike">
                          <a:effectLst/>
                          <a:latin typeface="Arial"/>
                        </a:rPr>
                        <a:t> </a:t>
                      </a:r>
                    </a:p>
                  </a:txBody>
                  <a:tcPr marL="0" marR="0" marT="0"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7C7C7C"/>
                    </a:solidFill>
                  </a:tcPr>
                </a:tc>
                <a:tc>
                  <a:txBody>
                    <a:bodyPr/>
                    <a:lstStyle/>
                    <a:p>
                      <a:pPr algn="l" fontAlgn="b"/>
                      <a:endParaRPr lang="en-US" sz="1000" b="0" i="0" u="none" strike="noStrike">
                        <a:effectLst/>
                        <a:latin typeface="Arial"/>
                      </a:endParaRPr>
                    </a:p>
                  </a:txBody>
                  <a:tcPr marL="0" marR="0" marT="0" marB="0" anchor="b">
                    <a:lnL w="190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US" sz="10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1000" b="0" i="0" u="none" strike="noStrike">
                        <a:effectLst/>
                        <a:latin typeface="Arial"/>
                      </a:endParaRPr>
                    </a:p>
                  </a:txBody>
                  <a:tcPr marL="0" marR="0" marT="0" marB="0" anchor="b">
                    <a:lnL>
                      <a:noFill/>
                    </a:lnL>
                    <a:lnR>
                      <a:noFill/>
                    </a:lnR>
                    <a:lnT w="12700" cap="flat" cmpd="sng" algn="ctr">
                      <a:solidFill>
                        <a:srgbClr val="FFFFFF"/>
                      </a:solidFill>
                      <a:prstDash val="solid"/>
                      <a:round/>
                      <a:headEnd type="none" w="med" len="med"/>
                      <a:tailEnd type="none" w="med" len="med"/>
                    </a:lnT>
                    <a:lnB>
                      <a:noFill/>
                    </a:lnB>
                  </a:tcPr>
                </a:tc>
                <a:tc>
                  <a:txBody>
                    <a:bodyPr/>
                    <a:lstStyle/>
                    <a:p>
                      <a:pPr algn="l" fontAlgn="b"/>
                      <a:endParaRPr lang="en-US" sz="1000" b="0" i="0" u="none" strike="noStrike">
                        <a:effectLst/>
                        <a:latin typeface="Arial"/>
                      </a:endParaRPr>
                    </a:p>
                  </a:txBody>
                  <a:tcPr marL="0" marR="0" marT="0" marB="0" anchor="b">
                    <a:lnL>
                      <a:noFill/>
                    </a:lnL>
                    <a:lnR>
                      <a:noFill/>
                    </a:lnR>
                    <a:lnT w="1270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10004"/>
                  </a:ext>
                </a:extLst>
              </a:tr>
              <a:tr h="13589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l" fontAlgn="b"/>
                      <a:endParaRPr lang="en-US" sz="1000" b="0" i="0" u="none" strike="noStrike">
                        <a:effectLst/>
                        <a:latin typeface="Arial"/>
                      </a:endParaRPr>
                    </a:p>
                  </a:txBody>
                  <a:tcPr marL="0" marR="0" marT="0" marB="0" anchor="b">
                    <a:lnL w="19050" cap="flat" cmpd="sng" algn="ctr">
                      <a:solidFill>
                        <a:srgbClr val="FFFFFF"/>
                      </a:solidFill>
                      <a:prstDash val="solid"/>
                      <a:round/>
                      <a:headEnd type="none" w="med" len="med"/>
                      <a:tailEnd type="none" w="med" len="med"/>
                    </a:lnL>
                    <a:lnR>
                      <a:noFill/>
                    </a:lnR>
                    <a:lnT>
                      <a:noFill/>
                    </a:lnT>
                    <a:lnB>
                      <a:noFill/>
                    </a:lnB>
                  </a:tcPr>
                </a:tc>
                <a:tc>
                  <a:txBody>
                    <a:bodyPr/>
                    <a:lstStyle/>
                    <a:p>
                      <a:pPr algn="l" fontAlgn="b"/>
                      <a:endParaRPr lang="en-US" sz="10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1000" b="0" i="0" u="none" strike="noStrike">
                        <a:effectLst/>
                        <a:latin typeface="Arial"/>
                      </a:endParaRPr>
                    </a:p>
                  </a:txBody>
                  <a:tcPr marL="0" marR="0" marT="0" marB="0" anchor="b">
                    <a:lnL>
                      <a:noFill/>
                    </a:lnL>
                    <a:lnR>
                      <a:noFill/>
                    </a:lnR>
                    <a:lnT>
                      <a:noFill/>
                    </a:lnT>
                    <a:lnB>
                      <a:noFill/>
                    </a:lnB>
                  </a:tcPr>
                </a:tc>
                <a:tc>
                  <a:txBody>
                    <a:bodyPr/>
                    <a:lstStyle/>
                    <a:p>
                      <a:pPr algn="l" fontAlgn="b"/>
                      <a:endParaRPr lang="en-US" sz="1000" b="0" i="0" u="none" strike="noStrike" dirty="0">
                        <a:effectLst/>
                        <a:latin typeface="Arial"/>
                      </a:endParaRPr>
                    </a:p>
                  </a:txBody>
                  <a:tcPr marL="0" marR="0" marT="0" marB="0" anchor="b">
                    <a:lnL>
                      <a:noFill/>
                    </a:lnL>
                    <a:lnR>
                      <a:noFill/>
                    </a:lnR>
                    <a:lnT>
                      <a:noFill/>
                    </a:lnT>
                    <a:lnB>
                      <a:noFill/>
                    </a:lnB>
                  </a:tcPr>
                </a:tc>
                <a:extLst>
                  <a:ext uri="{0D108BD9-81ED-4DB2-BD59-A6C34878D82A}">
                    <a16:rowId xmlns:a16="http://schemas.microsoft.com/office/drawing/2014/main" val="10005"/>
                  </a:ext>
                </a:extLst>
              </a:tr>
            </a:tbl>
          </a:graphicData>
        </a:graphic>
      </p:graphicFrame>
      <p:sp>
        <p:nvSpPr>
          <p:cNvPr id="11" name="Textplatzhalter 2"/>
          <p:cNvSpPr>
            <a:spLocks noGrp="1"/>
          </p:cNvSpPr>
          <p:nvPr/>
        </p:nvSpPr>
        <p:spPr bwMode="auto">
          <a:xfrm>
            <a:off x="1489076" y="6222220"/>
            <a:ext cx="8640000" cy="374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marR="0" indent="0" algn="l" defTabSz="914400" rtl="0" eaLnBrk="1" fontAlgn="base" latinLnBrk="0" hangingPunct="1">
              <a:lnSpc>
                <a:spcPct val="100000"/>
              </a:lnSpc>
              <a:spcBef>
                <a:spcPts val="0"/>
              </a:spcBef>
              <a:spcAft>
                <a:spcPts val="0"/>
              </a:spcAft>
              <a:buClr>
                <a:schemeClr val="tx2"/>
              </a:buClr>
              <a:buSzTx/>
              <a:buFont typeface="Wingdings" panose="05000000000000000000" pitchFamily="2" charset="2"/>
              <a:buNone/>
              <a:tabLst>
                <a:tab pos="179388" algn="l"/>
              </a:tabLst>
              <a:defRPr sz="8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endParaRPr lang="de-DE" altLang="en-US" dirty="0">
              <a:solidFill>
                <a:srgbClr val="000000"/>
              </a:solidFill>
            </a:endParaRPr>
          </a:p>
        </p:txBody>
      </p:sp>
      <p:sp>
        <p:nvSpPr>
          <p:cNvPr id="13" name="Title 1"/>
          <p:cNvSpPr>
            <a:spLocks noGrp="1"/>
          </p:cNvSpPr>
          <p:nvPr>
            <p:ph type="title"/>
          </p:nvPr>
        </p:nvSpPr>
        <p:spPr>
          <a:xfrm>
            <a:off x="395927" y="359267"/>
            <a:ext cx="9944006" cy="791565"/>
          </a:xfrm>
        </p:spPr>
        <p:txBody>
          <a:bodyPr/>
          <a:lstStyle/>
          <a:p>
            <a:pPr eaLnBrk="1" hangingPunct="1"/>
            <a:r>
              <a:rPr lang="en-GB" altLang="en-US" dirty="0"/>
              <a:t>Nigdy nie wkładaj wszystkich jajek do jednego koszyka</a:t>
            </a:r>
          </a:p>
        </p:txBody>
      </p:sp>
      <p:sp>
        <p:nvSpPr>
          <p:cNvPr id="15" name="Text Placeholder 14">
            <a:extLst>
              <a:ext uri="{FF2B5EF4-FFF2-40B4-BE49-F238E27FC236}">
                <a16:creationId xmlns:a16="http://schemas.microsoft.com/office/drawing/2014/main" id="{0D5760B1-4FE0-AC8A-6A66-BF12B248776B}"/>
              </a:ext>
            </a:extLst>
          </p:cNvPr>
          <p:cNvSpPr>
            <a:spLocks noGrp="1"/>
          </p:cNvSpPr>
          <p:nvPr>
            <p:ph type="body" sz="quarter" idx="23"/>
          </p:nvPr>
        </p:nvSpPr>
        <p:spPr>
          <a:xfrm>
            <a:off x="395288" y="1298679"/>
            <a:ext cx="11368800" cy="244800"/>
          </a:xfrm>
        </p:spPr>
        <p:txBody>
          <a:bodyPr/>
          <a:lstStyle/>
          <a:p>
            <a:pPr>
              <a:buClrTx/>
              <a:buFontTx/>
            </a:pPr>
            <a:r>
              <a:rPr lang="de-DE" sz="1400">
                <a:ea typeface="+mn-ea"/>
                <a:cs typeface="+mn-cs"/>
              </a:rPr>
              <a:t>Zwroty z różnych klas aktywów USD (w % rocznie)</a:t>
            </a:r>
            <a:endParaRPr lang="en-US" altLang="de-DE" sz="1400" dirty="0">
              <a:ea typeface="+mn-ea"/>
              <a:cs typeface="+mn-cs"/>
              <a:sym typeface="Arial" charset="0"/>
            </a:endParaRPr>
          </a:p>
        </p:txBody>
      </p:sp>
      <p:graphicFrame>
        <p:nvGraphicFramePr>
          <p:cNvPr id="17" name="Content Placeholder 16">
            <a:extLst>
              <a:ext uri="{FF2B5EF4-FFF2-40B4-BE49-F238E27FC236}">
                <a16:creationId xmlns:a16="http://schemas.microsoft.com/office/drawing/2014/main" id="{62468925-389A-3D9C-FB8C-F30BCB0458C3}"/>
              </a:ext>
            </a:extLst>
          </p:cNvPr>
          <p:cNvGraphicFramePr>
            <a:graphicFrameLocks noGrp="1" noChangeAspect="1"/>
          </p:cNvGraphicFramePr>
          <p:nvPr>
            <p:ph sz="quarter" idx="21"/>
            <p:extLst>
              <p:ext uri="{D42A27DB-BD31-4B8C-83A1-F6EECF244321}">
                <p14:modId xmlns:p14="http://schemas.microsoft.com/office/powerpoint/2010/main" val="2676748886"/>
              </p:ext>
            </p:extLst>
          </p:nvPr>
        </p:nvGraphicFramePr>
        <p:xfrm>
          <a:off x="395288" y="1839172"/>
          <a:ext cx="11096625" cy="2409825"/>
        </p:xfrm>
        <a:graphic>
          <a:graphicData uri="http://schemas.openxmlformats.org/presentationml/2006/ole">
            <mc:AlternateContent xmlns:mc="http://schemas.openxmlformats.org/markup-compatibility/2006">
              <mc:Choice xmlns:v="urn:schemas-microsoft-com:vml" Requires="v">
                <p:oleObj name="Macro-Enabled Worksheet" r:id="rId3" imgW="11096746" imgH="2409761" progId="Excel.SheetMacroEnabled.12">
                  <p:link updateAutomatic="1"/>
                </p:oleObj>
              </mc:Choice>
              <mc:Fallback>
                <p:oleObj name="Macro-Enabled Worksheet" r:id="rId3" imgW="11096746" imgH="2409761" progId="Excel.SheetMacroEnabled.12">
                  <p:link updateAutomatic="1"/>
                  <p:pic>
                    <p:nvPicPr>
                      <p:cNvPr id="17" name="Content Placeholder 16">
                        <a:extLst>
                          <a:ext uri="{FF2B5EF4-FFF2-40B4-BE49-F238E27FC236}">
                            <a16:creationId xmlns:a16="http://schemas.microsoft.com/office/drawing/2014/main" id="{62468925-389A-3D9C-FB8C-F30BCB0458C3}"/>
                          </a:ext>
                        </a:extLst>
                      </p:cNvPr>
                      <p:cNvPicPr/>
                      <p:nvPr/>
                    </p:nvPicPr>
                    <p:blipFill>
                      <a:blip r:embed="rId4"/>
                      <a:stretch>
                        <a:fillRect/>
                      </a:stretch>
                    </p:blipFill>
                    <p:spPr>
                      <a:xfrm>
                        <a:off x="395288" y="1839172"/>
                        <a:ext cx="11096625" cy="2409825"/>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D232EFA8-BDD2-6D19-7FBB-510366530C50}"/>
              </a:ext>
            </a:extLst>
          </p:cNvPr>
          <p:cNvSpPr>
            <a:spLocks noGrp="1"/>
          </p:cNvSpPr>
          <p:nvPr>
            <p:ph type="body" sz="quarter" idx="22"/>
          </p:nvPr>
        </p:nvSpPr>
        <p:spPr/>
        <p:txBody>
          <a:bodyPr/>
          <a:lstStyle/>
          <a:p>
            <a:r>
              <a:rPr lang="de-DE" dirty="0"/>
              <a:t>. </a:t>
            </a:r>
            <a:br>
              <a:rPr lang="de-DE" dirty="0"/>
            </a:br>
            <a:r>
              <a:rPr lang="de-DE" dirty="0"/>
              <a:t>Źródło: Thomson Reuters Datastream, Allianz Global Investors, Benchmarki: Niemcy MSCI Germany TR, USA: MSCI USA TR, </a:t>
            </a:r>
            <a:r>
              <a:rPr lang="de-DE" dirty="0" err="1"/>
              <a:t>Akcje </a:t>
            </a:r>
            <a:r>
              <a:rPr lang="de-DE" dirty="0"/>
              <a:t>Rynki wschodzące: MSCI EM TR, Obligacje Kraje </a:t>
            </a:r>
            <a:r>
              <a:rPr lang="de-DE" dirty="0" err="1"/>
              <a:t>rozwinięte</a:t>
            </a:r>
            <a:r>
              <a:rPr lang="de-DE" dirty="0"/>
              <a:t>: JPM Global Govt. Bond Index TR, Obligacje Rynki wschodzące: JPM EMBI Global Composite TR, </a:t>
            </a:r>
            <a:r>
              <a:rPr lang="de-DE" dirty="0" err="1"/>
              <a:t>Korporacje</a:t>
            </a:r>
            <a:r>
              <a:rPr lang="de-DE" dirty="0"/>
              <a:t>: BofA ML Broad Corp. Index TR, nieruchomości: Real Estate Price Index Germany </a:t>
            </a:r>
            <a:r>
              <a:rPr lang="de-DE" dirty="0" err="1"/>
              <a:t>Bulwien</a:t>
            </a:r>
            <a:r>
              <a:rPr lang="de-DE" dirty="0"/>
              <a:t>, Towary: S&amp;P GSCI Non. Precious Metals TR, złoto: €/Feinunze; wszystkie </a:t>
            </a:r>
            <a:r>
              <a:rPr lang="de-DE" dirty="0" err="1"/>
              <a:t>zwroty </a:t>
            </a:r>
            <a:r>
              <a:rPr lang="de-DE" dirty="0"/>
              <a:t>w USD (TR = Total Return Index, NAV = Net Asset Value). </a:t>
            </a:r>
            <a:br>
              <a:rPr lang="de-DE" dirty="0"/>
            </a:br>
            <a:r>
              <a:rPr lang="de-DE" dirty="0"/>
              <a:t>Dane na dzień 31.12.2023. </a:t>
            </a:r>
            <a:r>
              <a:rPr lang="en-US" dirty="0"/>
              <a:t>Wyniki osiągnięte w przeszłości nie pozwalają przewidzieć przyszłych zwrotów.</a:t>
            </a:r>
          </a:p>
          <a:p>
            <a:endParaRPr lang="de-DE" dirty="0"/>
          </a:p>
        </p:txBody>
      </p:sp>
    </p:spTree>
    <p:extLst>
      <p:ext uri="{BB962C8B-B14F-4D97-AF65-F5344CB8AC3E}">
        <p14:creationId xmlns:p14="http://schemas.microsoft.com/office/powerpoint/2010/main" val="21239429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5"/>
          <p:cNvSpPr>
            <a:spLocks noGrp="1"/>
          </p:cNvSpPr>
          <p:nvPr>
            <p:ph type="body" sz="quarter" idx="22"/>
          </p:nvPr>
        </p:nvSpPr>
        <p:spPr/>
        <p:txBody>
          <a:bodyPr/>
          <a:lstStyle/>
          <a:p>
            <a:r>
              <a:rPr lang="en-US" sz="800" dirty="0">
                <a:solidFill>
                  <a:schemeClr val="tx1"/>
                </a:solidFill>
                <a:cs typeface="Arial" charset="0"/>
              </a:rPr>
              <a:t>Wyniki osiągnięte w przeszłości nie pozwalają przewidzieć przyszłych zwrotów</a:t>
            </a:r>
            <a:r>
              <a:rPr lang="en-US" dirty="0">
                <a:solidFill>
                  <a:schemeClr val="tx1"/>
                </a:solidFill>
              </a:rPr>
              <a:t>. </a:t>
            </a:r>
            <a:endParaRPr lang="de-DE" dirty="0">
              <a:solidFill>
                <a:schemeClr val="tx1"/>
              </a:solidFill>
            </a:endParaRPr>
          </a:p>
        </p:txBody>
      </p:sp>
      <p:sp>
        <p:nvSpPr>
          <p:cNvPr id="9" name="Textplatzhalter 2"/>
          <p:cNvSpPr>
            <a:spLocks noGrp="1"/>
          </p:cNvSpPr>
          <p:nvPr>
            <p:ph type="body" sz="quarter" idx="23"/>
          </p:nvPr>
        </p:nvSpPr>
        <p:spPr/>
        <p:txBody>
          <a:bodyPr/>
          <a:lstStyle/>
          <a:p>
            <a:r>
              <a:rPr lang="en-US" dirty="0"/>
              <a:t>Krocząca roczna korelacja między indeksem akcji MSCI Europe a indeksem Bloomberg Barclays Capital Euro Aggregate 1-10 Year, indeksy w euro</a:t>
            </a:r>
            <a:endParaRPr lang="de-DE" dirty="0"/>
          </a:p>
        </p:txBody>
      </p:sp>
      <p:sp>
        <p:nvSpPr>
          <p:cNvPr id="4" name="Textplatzhalter 3">
            <a:extLst>
              <a:ext uri="{FF2B5EF4-FFF2-40B4-BE49-F238E27FC236}">
                <a16:creationId xmlns:a16="http://schemas.microsoft.com/office/drawing/2014/main" id="{0489ABAC-CC17-4C64-86B1-1437C93D5EC4}"/>
              </a:ext>
            </a:extLst>
          </p:cNvPr>
          <p:cNvSpPr>
            <a:spLocks noGrp="1"/>
          </p:cNvSpPr>
          <p:nvPr>
            <p:ph type="body" sz="quarter" idx="24"/>
          </p:nvPr>
        </p:nvSpPr>
        <p:spPr/>
        <p:txBody>
          <a:bodyPr/>
          <a:lstStyle/>
          <a:p>
            <a:r>
              <a:rPr lang="de-DE" dirty="0"/>
              <a:t> </a:t>
            </a:r>
          </a:p>
        </p:txBody>
      </p:sp>
      <p:sp>
        <p:nvSpPr>
          <p:cNvPr id="2" name="Title 1"/>
          <p:cNvSpPr>
            <a:spLocks noGrp="1"/>
          </p:cNvSpPr>
          <p:nvPr>
            <p:ph type="title"/>
          </p:nvPr>
        </p:nvSpPr>
        <p:spPr/>
        <p:txBody>
          <a:bodyPr/>
          <a:lstStyle/>
          <a:p>
            <a:r>
              <a:rPr lang="de-DE" dirty="0"/>
              <a:t>"Multi Asset powraca"</a:t>
            </a:r>
          </a:p>
        </p:txBody>
      </p:sp>
      <p:sp>
        <p:nvSpPr>
          <p:cNvPr id="5" name="TextBox 4"/>
          <p:cNvSpPr txBox="1"/>
          <p:nvPr/>
        </p:nvSpPr>
        <p:spPr>
          <a:xfrm>
            <a:off x="6218860" y="5477069"/>
            <a:ext cx="3519108" cy="109270"/>
          </a:xfrm>
          <a:prstGeom prst="rect">
            <a:avLst/>
          </a:prstGeom>
          <a:solidFill>
            <a:schemeClr val="bg1"/>
          </a:solidFill>
        </p:spPr>
        <p:txBody>
          <a:bodyPr wrap="square" lIns="0" tIns="0" rIns="0" bIns="0" rtlCol="0">
            <a:noAutofit/>
          </a:bodyPr>
          <a:lstStyle/>
          <a:p>
            <a:pPr>
              <a:buClr>
                <a:srgbClr val="003781"/>
              </a:buClr>
            </a:pPr>
            <a:endParaRPr lang="de-DE" dirty="0">
              <a:solidFill>
                <a:srgbClr val="000000"/>
              </a:solidFill>
            </a:endParaRPr>
          </a:p>
        </p:txBody>
      </p:sp>
      <p:sp>
        <p:nvSpPr>
          <p:cNvPr id="3" name="TextBox 2"/>
          <p:cNvSpPr txBox="1"/>
          <p:nvPr/>
        </p:nvSpPr>
        <p:spPr>
          <a:xfrm>
            <a:off x="6218872" y="5477069"/>
            <a:ext cx="3593355" cy="109270"/>
          </a:xfrm>
          <a:prstGeom prst="rect">
            <a:avLst/>
          </a:prstGeom>
          <a:solidFill>
            <a:schemeClr val="bg1"/>
          </a:solidFill>
        </p:spPr>
        <p:txBody>
          <a:bodyPr wrap="square" lIns="0" tIns="0" rIns="0" bIns="0" rtlCol="0">
            <a:noAutofit/>
          </a:bodyPr>
          <a:lstStyle/>
          <a:p>
            <a:pPr>
              <a:buClr>
                <a:srgbClr val="003781"/>
              </a:buClr>
            </a:pPr>
            <a:endParaRPr lang="de-DE" dirty="0">
              <a:solidFill>
                <a:srgbClr val="000000"/>
              </a:solidFill>
            </a:endParaRPr>
          </a:p>
        </p:txBody>
      </p:sp>
      <p:sp>
        <p:nvSpPr>
          <p:cNvPr id="10" name="Picture 1" descr="&lt;Chart&gt;&lt;ImageInfo ChartType=&quot;None&quot; Version=&quot;5.34.1270.0&quot; GUID=&quot;cfbdf7bdb0bb43169c98b6aae3979b03&quot; DsId=&quot;ZDRB098&quot; T1SubID=&quot;&quot; Width=&quot;1193&quot; Height=&quot;398&quot; Format=&quot;emf&quot; ChartGroupUID=&quot;f7f13e23-6108-484b-8718-1f3718498502&quot; GroupName=&quot;Natalie Brandau&quot; ChartName=&quot;Aktuell:Europa: Korrelation MSCI Europa und Barclays Government Index_ENG&quot; ChartStyleName=&quot;AGI GMTR&quot; GroupNameEncoded=&quot;Natalie+Brandau&quot; ChartNameEncoded=&quot;Aktuell%3aEuropa%3a+Korrelation+MSCI+Europa+und+Barclays+Government+Index_ENG&quot; ChartStyleNameEncoded=&quot;AGI+GMTR&quot; ShortCode=&quot;&quot; ChartOwner=&quot;ZDRB098&quot; TemplateId=&quot;&quot; TemplateName=&quot;&quot; TemplateNameEncoded=&quot;&quot; EditionId=&quot;&quot; EditionGenerationDate=&quot;&quot; RefreshDate=&quot;18.09.2024 08:31:42&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quot; DoStretch=&quot;true&quot; Pr=&quot;&quot; RetrieveParams=&quot;&quot; /&gt;&lt;/Chart&gt;">
            <a:extLst>
              <a:ext uri="{FF2B5EF4-FFF2-40B4-BE49-F238E27FC236}">
                <a16:creationId xmlns:a16="http://schemas.microsoft.com/office/drawing/2014/main" id="{CDB577CD-4484-2ED2-F052-D66F8CD7FA5F}"/>
              </a:ext>
            </a:extLst>
          </p:cNvPr>
          <p:cNvSpPr>
            <a:spLocks noGrp="1"/>
          </p:cNvSpPr>
          <p:nvPr>
            <p:ph sz="quarter" idx="21"/>
          </p:nvPr>
        </p:nvSpPr>
        <p:spPr>
          <a:blipFill>
            <a:blip r:embed="rId3"/>
            <a:stretch>
              <a:fillRect/>
            </a:stretch>
          </a:blipFill>
        </p:spPr>
        <p:txBody>
          <a:bodyPr/>
          <a:lstStyle/>
          <a:p>
            <a:pPr marL="0" indent="0">
              <a:buNone/>
            </a:pPr>
            <a:r>
              <a:rPr lang="de-DE"/>
              <a:t> </a:t>
            </a:r>
            <a:endParaRPr lang="de-DE" dirty="0"/>
          </a:p>
        </p:txBody>
      </p:sp>
    </p:spTree>
    <p:extLst>
      <p:ext uri="{BB962C8B-B14F-4D97-AF65-F5344CB8AC3E}">
        <p14:creationId xmlns:p14="http://schemas.microsoft.com/office/powerpoint/2010/main" val="24393294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00B2FE17-26C1-6891-37D0-14D962DF2B35}"/>
              </a:ext>
            </a:extLst>
          </p:cNvPr>
          <p:cNvSpPr>
            <a:spLocks noGrp="1"/>
          </p:cNvSpPr>
          <p:nvPr>
            <p:ph type="body" sz="quarter" idx="23"/>
          </p:nvPr>
        </p:nvSpPr>
        <p:spPr/>
        <p:txBody>
          <a:bodyPr/>
          <a:lstStyle/>
          <a:p>
            <a:r>
              <a:rPr lang="en-US" dirty="0"/>
              <a:t>Spadek do poprzedniego maksimum indeksu, - 20 lat, w euro</a:t>
            </a:r>
            <a:endParaRPr lang="de-DE" dirty="0"/>
          </a:p>
        </p:txBody>
      </p:sp>
      <p:sp>
        <p:nvSpPr>
          <p:cNvPr id="23" name="Text Placeholder 22">
            <a:extLst>
              <a:ext uri="{FF2B5EF4-FFF2-40B4-BE49-F238E27FC236}">
                <a16:creationId xmlns:a16="http://schemas.microsoft.com/office/drawing/2014/main" id="{BF5109A1-AE16-5E7D-9EBC-5BA5481E4A89}"/>
              </a:ext>
            </a:extLst>
          </p:cNvPr>
          <p:cNvSpPr>
            <a:spLocks noGrp="1"/>
          </p:cNvSpPr>
          <p:nvPr>
            <p:ph type="body" sz="quarter" idx="24"/>
          </p:nvPr>
        </p:nvSpPr>
        <p:spPr/>
        <p:txBody>
          <a:bodyPr/>
          <a:lstStyle/>
          <a:p>
            <a:r>
              <a:rPr lang="de-DE" dirty="0"/>
              <a:t>Portfel 70/30</a:t>
            </a:r>
          </a:p>
        </p:txBody>
      </p:sp>
      <p:sp>
        <p:nvSpPr>
          <p:cNvPr id="25" name="Text Placeholder 24">
            <a:extLst>
              <a:ext uri="{FF2B5EF4-FFF2-40B4-BE49-F238E27FC236}">
                <a16:creationId xmlns:a16="http://schemas.microsoft.com/office/drawing/2014/main" id="{1774271E-C6BD-9627-13E2-4307CC24678E}"/>
              </a:ext>
            </a:extLst>
          </p:cNvPr>
          <p:cNvSpPr>
            <a:spLocks noGrp="1"/>
          </p:cNvSpPr>
          <p:nvPr>
            <p:ph type="body" sz="quarter" idx="27"/>
          </p:nvPr>
        </p:nvSpPr>
        <p:spPr/>
        <p:txBody>
          <a:bodyPr/>
          <a:lstStyle/>
          <a:p>
            <a:r>
              <a:rPr lang="de-DE" dirty="0"/>
              <a:t>Portfel 30/70</a:t>
            </a:r>
          </a:p>
        </p:txBody>
      </p:sp>
      <p:sp>
        <p:nvSpPr>
          <p:cNvPr id="9" name="Text Placeholder 8">
            <a:extLst>
              <a:ext uri="{FF2B5EF4-FFF2-40B4-BE49-F238E27FC236}">
                <a16:creationId xmlns:a16="http://schemas.microsoft.com/office/drawing/2014/main" id="{64BEF039-1A2A-68FD-B05C-4A36BE897D99}"/>
              </a:ext>
            </a:extLst>
          </p:cNvPr>
          <p:cNvSpPr>
            <a:spLocks noGrp="1"/>
          </p:cNvSpPr>
          <p:nvPr>
            <p:ph type="body" sz="quarter" idx="22"/>
          </p:nvPr>
        </p:nvSpPr>
        <p:spPr/>
        <p:txBody>
          <a:bodyPr/>
          <a:lstStyle/>
          <a:p>
            <a:r>
              <a:rPr lang="en-US" sz="800" dirty="0">
                <a:solidFill>
                  <a:schemeClr val="tx1"/>
                </a:solidFill>
                <a:cs typeface="Arial" charset="0"/>
              </a:rPr>
              <a:t>Wyniki osiągnięte w przeszłości nie są wyznacznikiem przyszłych zwrotów.  </a:t>
            </a:r>
          </a:p>
          <a:p>
            <a:r>
              <a:rPr lang="en-US" sz="800" dirty="0">
                <a:solidFill>
                  <a:schemeClr val="tx1"/>
                </a:solidFill>
                <a:cs typeface="Arial" charset="0"/>
              </a:rPr>
              <a:t>Indeksy benchmarkowe: World: MSCI World Index; Euro Aggregate: Bloomberg-Euro Aggregate Index.</a:t>
            </a:r>
            <a:endParaRPr lang="de-DE" dirty="0">
              <a:solidFill>
                <a:schemeClr val="tx1"/>
              </a:solidFill>
            </a:endParaRPr>
          </a:p>
        </p:txBody>
      </p:sp>
      <p:graphicFrame>
        <p:nvGraphicFramePr>
          <p:cNvPr id="26" name="Content Placeholder 25">
            <a:extLst>
              <a:ext uri="{FF2B5EF4-FFF2-40B4-BE49-F238E27FC236}">
                <a16:creationId xmlns:a16="http://schemas.microsoft.com/office/drawing/2014/main" id="{A6FB316F-0FEA-7FB2-BC91-645BE5D3C19B}"/>
              </a:ext>
            </a:extLst>
          </p:cNvPr>
          <p:cNvGraphicFramePr>
            <a:graphicFrameLocks noGrp="1"/>
          </p:cNvGraphicFramePr>
          <p:nvPr>
            <p:ph sz="quarter" idx="21"/>
          </p:nvPr>
        </p:nvGraphicFramePr>
        <p:xfrm>
          <a:off x="395288" y="2755900"/>
          <a:ext cx="5573712" cy="32543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ontent Placeholder 26">
            <a:extLst>
              <a:ext uri="{FF2B5EF4-FFF2-40B4-BE49-F238E27FC236}">
                <a16:creationId xmlns:a16="http://schemas.microsoft.com/office/drawing/2014/main" id="{9C46660C-5335-4B0D-8674-4300898E89D0}"/>
              </a:ext>
            </a:extLst>
          </p:cNvPr>
          <p:cNvGraphicFramePr>
            <a:graphicFrameLocks noGrp="1"/>
          </p:cNvGraphicFramePr>
          <p:nvPr>
            <p:ph sz="quarter" idx="26"/>
          </p:nvPr>
        </p:nvGraphicFramePr>
        <p:xfrm>
          <a:off x="6196013" y="2755900"/>
          <a:ext cx="5572125" cy="3254375"/>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3">
            <a:extLst>
              <a:ext uri="{FF2B5EF4-FFF2-40B4-BE49-F238E27FC236}">
                <a16:creationId xmlns:a16="http://schemas.microsoft.com/office/drawing/2014/main" id="{E3AFC79B-F221-3726-02C4-C855320B74AC}"/>
              </a:ext>
            </a:extLst>
          </p:cNvPr>
          <p:cNvSpPr>
            <a:spLocks noGrp="1"/>
          </p:cNvSpPr>
          <p:nvPr>
            <p:ph type="title"/>
          </p:nvPr>
        </p:nvSpPr>
        <p:spPr/>
        <p:txBody>
          <a:bodyPr/>
          <a:lstStyle/>
          <a:p>
            <a:r>
              <a:rPr lang="de-DE" dirty="0"/>
              <a:t>Multi Asset: </a:t>
            </a:r>
            <a:r>
              <a:rPr lang="en-US" dirty="0" err="1"/>
              <a:t>radzenie</a:t>
            </a:r>
            <a:r>
              <a:rPr lang="en-US" dirty="0"/>
              <a:t> </a:t>
            </a:r>
            <a:r>
              <a:rPr lang="en-US" dirty="0" err="1"/>
              <a:t>sobie</a:t>
            </a:r>
            <a:r>
              <a:rPr lang="en-US" dirty="0"/>
              <a:t> z awersją do </a:t>
            </a:r>
            <a:r>
              <a:rPr lang="en-US" dirty="0" err="1"/>
              <a:t>strat</a:t>
            </a:r>
            <a:endParaRPr lang="en-US" dirty="0"/>
          </a:p>
        </p:txBody>
      </p:sp>
    </p:spTree>
    <p:extLst>
      <p:ext uri="{BB962C8B-B14F-4D97-AF65-F5344CB8AC3E}">
        <p14:creationId xmlns:p14="http://schemas.microsoft.com/office/powerpoint/2010/main" val="3875064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31110-EFFF-5D38-C648-A65AA6A18B8E}"/>
              </a:ext>
            </a:extLst>
          </p:cNvPr>
          <p:cNvSpPr>
            <a:spLocks noGrp="1"/>
          </p:cNvSpPr>
          <p:nvPr>
            <p:ph type="title"/>
          </p:nvPr>
        </p:nvSpPr>
        <p:spPr>
          <a:xfrm>
            <a:off x="395926" y="341910"/>
            <a:ext cx="9944006" cy="791565"/>
          </a:xfrm>
        </p:spPr>
        <p:txBody>
          <a:bodyPr/>
          <a:lstStyle/>
          <a:p>
            <a:r>
              <a:rPr lang="en-US" dirty="0"/>
              <a:t>Multi Asset jako rozwiązanie pozwalające przechytrzyć </a:t>
            </a:r>
            <a:r>
              <a:rPr lang="en-US" dirty="0" err="1"/>
              <a:t>samego</a:t>
            </a:r>
            <a:r>
              <a:rPr lang="en-US" dirty="0"/>
              <a:t> </a:t>
            </a:r>
            <a:r>
              <a:rPr lang="en-US" dirty="0" err="1"/>
              <a:t>siebie</a:t>
            </a:r>
            <a:endParaRPr lang="en-US" dirty="0"/>
          </a:p>
        </p:txBody>
      </p:sp>
      <p:sp>
        <p:nvSpPr>
          <p:cNvPr id="4" name="Text Placeholder 1">
            <a:extLst>
              <a:ext uri="{FF2B5EF4-FFF2-40B4-BE49-F238E27FC236}">
                <a16:creationId xmlns:a16="http://schemas.microsoft.com/office/drawing/2014/main" id="{8E024E4F-2840-936E-1318-04427D5BCF5C}"/>
              </a:ext>
            </a:extLst>
          </p:cNvPr>
          <p:cNvSpPr txBox="1">
            <a:spLocks/>
          </p:cNvSpPr>
          <p:nvPr/>
        </p:nvSpPr>
        <p:spPr>
          <a:xfrm>
            <a:off x="398770" y="6235200"/>
            <a:ext cx="10633847" cy="374400"/>
          </a:xfrm>
          <a:prstGeom prst="rect">
            <a:avLst/>
          </a:prstGeom>
        </p:spPr>
        <p:txBody>
          <a:bodyPr/>
          <a:lstStyle>
            <a:lvl1pPr marL="180000" marR="0" indent="-180000" algn="l" defTabSz="1038977" rtl="0" eaLnBrk="1" fontAlgn="base" latinLnBrk="0" hangingPunct="1">
              <a:lnSpc>
                <a:spcPct val="100000"/>
              </a:lnSpc>
              <a:spcBef>
                <a:spcPts val="360"/>
              </a:spcBef>
              <a:spcAft>
                <a:spcPts val="360"/>
              </a:spcAft>
              <a:buClr>
                <a:schemeClr val="tx2"/>
              </a:buClr>
              <a:buSzTx/>
              <a:buFont typeface="Arial" panose="020B0604020202020204" pitchFamily="34" charset="0"/>
              <a:buChar char="•"/>
              <a:tabLst>
                <a:tab pos="203827" algn="l"/>
              </a:tabLst>
              <a:defRPr sz="1200" baseline="0">
                <a:solidFill>
                  <a:schemeClr val="tx2"/>
                </a:solidFill>
                <a:latin typeface="Arial" panose="020B0604020202020204" pitchFamily="34" charset="0"/>
                <a:ea typeface="+mn-ea"/>
                <a:cs typeface="+mn-cs"/>
              </a:defRPr>
            </a:lvl1pPr>
            <a:lvl2pPr marL="36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2pPr>
            <a:lvl3pPr marL="54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3pPr>
            <a:lvl4pPr marL="72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4pPr>
            <a:lvl5pPr marL="90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5pPr>
            <a:lvl6pPr marL="1289702"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6pPr>
            <a:lvl7pPr marL="1809191"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7pPr>
            <a:lvl8pPr marL="2328678"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8pPr>
            <a:lvl9pPr marL="2848166"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9pPr>
          </a:lstStyle>
          <a:p>
            <a:pPr>
              <a:spcBef>
                <a:spcPct val="100000"/>
              </a:spcBef>
              <a:buClrTx/>
              <a:buFont typeface="Wingdings" pitchFamily="2" charset="2"/>
              <a:buNone/>
            </a:pPr>
            <a:endParaRPr lang="de-DE" altLang="en-US" sz="800" dirty="0"/>
          </a:p>
          <a:p>
            <a:pPr>
              <a:spcBef>
                <a:spcPct val="100000"/>
              </a:spcBef>
              <a:buClrTx/>
              <a:buFont typeface="Wingdings" pitchFamily="2" charset="2"/>
              <a:buNone/>
            </a:pPr>
            <a:r>
              <a:rPr lang="de-DE" altLang="en-US" sz="800" dirty="0"/>
              <a:t>Źródło: AllianzGI Global Capital Markets &amp; Thematic Research</a:t>
            </a:r>
            <a:endParaRPr lang="en-US" altLang="de-DE" sz="800" dirty="0"/>
          </a:p>
        </p:txBody>
      </p:sp>
      <p:graphicFrame>
        <p:nvGraphicFramePr>
          <p:cNvPr id="7" name="Tabela 6">
            <a:extLst>
              <a:ext uri="{FF2B5EF4-FFF2-40B4-BE49-F238E27FC236}">
                <a16:creationId xmlns:a16="http://schemas.microsoft.com/office/drawing/2014/main" id="{3171CE5E-E9E8-1526-B833-3C243F3CEE06}"/>
              </a:ext>
            </a:extLst>
          </p:cNvPr>
          <p:cNvGraphicFramePr>
            <a:graphicFrameLocks noGrp="1"/>
          </p:cNvGraphicFramePr>
          <p:nvPr>
            <p:extLst>
              <p:ext uri="{D42A27DB-BD31-4B8C-83A1-F6EECF244321}">
                <p14:modId xmlns:p14="http://schemas.microsoft.com/office/powerpoint/2010/main" val="2845265164"/>
              </p:ext>
            </p:extLst>
          </p:nvPr>
        </p:nvGraphicFramePr>
        <p:xfrm>
          <a:off x="398770" y="1279534"/>
          <a:ext cx="11345555" cy="5167800"/>
        </p:xfrm>
        <a:graphic>
          <a:graphicData uri="http://schemas.openxmlformats.org/drawingml/2006/table">
            <a:tbl>
              <a:tblPr firstRow="1" bandRow="1">
                <a:tableStyleId>{C083E6E3-FA7D-4D7B-A595-EF9225AFEA82}</a:tableStyleId>
              </a:tblPr>
              <a:tblGrid>
                <a:gridCol w="2906405">
                  <a:extLst>
                    <a:ext uri="{9D8B030D-6E8A-4147-A177-3AD203B41FA5}">
                      <a16:colId xmlns:a16="http://schemas.microsoft.com/office/drawing/2014/main" val="4199619237"/>
                    </a:ext>
                  </a:extLst>
                </a:gridCol>
                <a:gridCol w="4105275">
                  <a:extLst>
                    <a:ext uri="{9D8B030D-6E8A-4147-A177-3AD203B41FA5}">
                      <a16:colId xmlns:a16="http://schemas.microsoft.com/office/drawing/2014/main" val="53326614"/>
                    </a:ext>
                  </a:extLst>
                </a:gridCol>
                <a:gridCol w="4333875">
                  <a:extLst>
                    <a:ext uri="{9D8B030D-6E8A-4147-A177-3AD203B41FA5}">
                      <a16:colId xmlns:a16="http://schemas.microsoft.com/office/drawing/2014/main" val="2173831830"/>
                    </a:ext>
                  </a:extLst>
                </a:gridCol>
              </a:tblGrid>
              <a:tr h="485246">
                <a:tc>
                  <a:txBody>
                    <a:bodyPr/>
                    <a:lstStyle/>
                    <a:p>
                      <a:pPr algn="ctr"/>
                      <a:r>
                        <a:rPr lang="pl-PL" dirty="0"/>
                        <a:t>ZACHOWANIE INWESTORA</a:t>
                      </a:r>
                    </a:p>
                  </a:txBody>
                  <a:tcPr anchor="ctr"/>
                </a:tc>
                <a:tc>
                  <a:txBody>
                    <a:bodyPr/>
                    <a:lstStyle/>
                    <a:p>
                      <a:pPr algn="ctr"/>
                      <a:r>
                        <a:rPr lang="pl-PL" dirty="0"/>
                        <a:t>KONSEKWENCJA</a:t>
                      </a:r>
                    </a:p>
                  </a:txBody>
                  <a:tcPr anchor="ctr"/>
                </a:tc>
                <a:tc>
                  <a:txBody>
                    <a:bodyPr/>
                    <a:lstStyle/>
                    <a:p>
                      <a:pPr algn="ctr"/>
                      <a:r>
                        <a:rPr lang="pl-PL" dirty="0"/>
                        <a:t>ROZWIĄZANIE DZIĘKI INWESTYCJOM </a:t>
                      </a:r>
                      <a:br>
                        <a:rPr lang="pl-PL" dirty="0"/>
                      </a:br>
                      <a:r>
                        <a:rPr lang="pl-PL" dirty="0"/>
                        <a:t>W WIELE AKTYWÓW</a:t>
                      </a:r>
                    </a:p>
                  </a:txBody>
                  <a:tcPr anchor="ctr"/>
                </a:tc>
                <a:extLst>
                  <a:ext uri="{0D108BD9-81ED-4DB2-BD59-A6C34878D82A}">
                    <a16:rowId xmlns:a16="http://schemas.microsoft.com/office/drawing/2014/main" val="3026771877"/>
                  </a:ext>
                </a:extLst>
              </a:tr>
              <a:tr h="485246">
                <a:tc>
                  <a:txBody>
                    <a:bodyPr/>
                    <a:lstStyle/>
                    <a:p>
                      <a:r>
                        <a:rPr lang="pl-PL" dirty="0"/>
                        <a:t>Słaba dywersyfikacja</a:t>
                      </a:r>
                    </a:p>
                  </a:txBody>
                  <a:tcPr/>
                </a:tc>
                <a:tc>
                  <a:txBody>
                    <a:bodyPr/>
                    <a:lstStyle/>
                    <a:p>
                      <a:r>
                        <a:rPr lang="pl-PL" dirty="0"/>
                        <a:t>Rezygnujesz z okazji minimalizowania ryzyka bez poświęcania zwrotów z inwestycji</a:t>
                      </a:r>
                    </a:p>
                  </a:txBody>
                  <a:tcPr/>
                </a:tc>
                <a:tc>
                  <a:txBody>
                    <a:bodyPr/>
                    <a:lstStyle/>
                    <a:p>
                      <a:r>
                        <a:rPr lang="pl-PL" dirty="0"/>
                        <a:t>Szersza dywersyfikacja poprzez różne klasy aktywów</a:t>
                      </a:r>
                    </a:p>
                  </a:txBody>
                  <a:tcPr/>
                </a:tc>
                <a:extLst>
                  <a:ext uri="{0D108BD9-81ED-4DB2-BD59-A6C34878D82A}">
                    <a16:rowId xmlns:a16="http://schemas.microsoft.com/office/drawing/2014/main" val="3432616648"/>
                  </a:ext>
                </a:extLst>
              </a:tr>
              <a:tr h="485246">
                <a:tc>
                  <a:txBody>
                    <a:bodyPr/>
                    <a:lstStyle/>
                    <a:p>
                      <a:r>
                        <a:rPr lang="pl-PL" dirty="0"/>
                        <a:t>Naiwna dywersyfikacja poprzez różne klasy aktywów</a:t>
                      </a:r>
                    </a:p>
                  </a:txBody>
                  <a:tcPr/>
                </a:tc>
                <a:tc>
                  <a:txBody>
                    <a:bodyPr/>
                    <a:lstStyle/>
                    <a:p>
                      <a:r>
                        <a:rPr lang="pl-PL" dirty="0"/>
                        <a:t>Praktyczne zasady uniemożliwiają optymalizację stosunku ryzyka do zwrotu</a:t>
                      </a:r>
                    </a:p>
                  </a:txBody>
                  <a:tcPr/>
                </a:tc>
                <a:tc>
                  <a:txBody>
                    <a:bodyPr/>
                    <a:lstStyle/>
                    <a:p>
                      <a:r>
                        <a:rPr lang="pl-PL" dirty="0"/>
                        <a:t>Jasny profil ryzyko-zwrot, który pasuje do każdego inwestora</a:t>
                      </a:r>
                    </a:p>
                  </a:txBody>
                  <a:tcPr/>
                </a:tc>
                <a:extLst>
                  <a:ext uri="{0D108BD9-81ED-4DB2-BD59-A6C34878D82A}">
                    <a16:rowId xmlns:a16="http://schemas.microsoft.com/office/drawing/2014/main" val="2710058289"/>
                  </a:ext>
                </a:extLst>
              </a:tr>
              <a:tr h="485246">
                <a:tc>
                  <a:txBody>
                    <a:bodyPr/>
                    <a:lstStyle/>
                    <a:p>
                      <a:r>
                        <a:rPr lang="pl-PL" dirty="0"/>
                        <a:t>Ramowanie: kupowanie tylko tego co znasz</a:t>
                      </a:r>
                    </a:p>
                  </a:txBody>
                  <a:tcPr/>
                </a:tc>
                <a:tc>
                  <a:txBody>
                    <a:bodyPr/>
                    <a:lstStyle/>
                    <a:p>
                      <a:r>
                        <a:rPr lang="pl-PL" dirty="0"/>
                        <a:t>Przeważasz popularne akcje w swoim portfelu i są to głównie akcje z rynku krajowego</a:t>
                      </a:r>
                    </a:p>
                  </a:txBody>
                  <a:tcPr/>
                </a:tc>
                <a:tc>
                  <a:txBody>
                    <a:bodyPr/>
                    <a:lstStyle/>
                    <a:p>
                      <a:r>
                        <a:rPr lang="pl-PL" dirty="0"/>
                        <a:t>Zrezygnuj z szerokiej alokacji wg regionu i klas aktywów, zostawiając tylko twoje „ulubione” w portfelu</a:t>
                      </a:r>
                    </a:p>
                  </a:txBody>
                  <a:tcPr/>
                </a:tc>
                <a:extLst>
                  <a:ext uri="{0D108BD9-81ED-4DB2-BD59-A6C34878D82A}">
                    <a16:rowId xmlns:a16="http://schemas.microsoft.com/office/drawing/2014/main" val="1026027001"/>
                  </a:ext>
                </a:extLst>
              </a:tr>
              <a:tr h="485246">
                <a:tc>
                  <a:txBody>
                    <a:bodyPr/>
                    <a:lstStyle/>
                    <a:p>
                      <a:r>
                        <a:rPr lang="pl-PL" dirty="0"/>
                        <a:t>Inercja: Nie rób dziś tego, co możesz odłożyć na jutro</a:t>
                      </a:r>
                    </a:p>
                  </a:txBody>
                  <a:tcPr/>
                </a:tc>
                <a:tc>
                  <a:txBody>
                    <a:bodyPr/>
                    <a:lstStyle/>
                    <a:p>
                      <a:r>
                        <a:rPr lang="pl-PL" dirty="0"/>
                        <a:t>Okazje na nikogo nie czekają</a:t>
                      </a:r>
                    </a:p>
                  </a:txBody>
                  <a:tcPr/>
                </a:tc>
                <a:tc>
                  <a:txBody>
                    <a:bodyPr/>
                    <a:lstStyle/>
                    <a:p>
                      <a:r>
                        <a:rPr lang="pl-PL" dirty="0"/>
                        <a:t>Gdy raz ustalisz strategię, nie musisz stale obserwować rynków kapitałowych</a:t>
                      </a:r>
                    </a:p>
                  </a:txBody>
                  <a:tcPr/>
                </a:tc>
                <a:extLst>
                  <a:ext uri="{0D108BD9-81ED-4DB2-BD59-A6C34878D82A}">
                    <a16:rowId xmlns:a16="http://schemas.microsoft.com/office/drawing/2014/main" val="2769237518"/>
                  </a:ext>
                </a:extLst>
              </a:tr>
              <a:tr h="485246">
                <a:tc>
                  <a:txBody>
                    <a:bodyPr/>
                    <a:lstStyle/>
                    <a:p>
                      <a:r>
                        <a:rPr lang="pl-PL" dirty="0"/>
                        <a:t>Stado i podążanie za tłumem</a:t>
                      </a:r>
                    </a:p>
                  </a:txBody>
                  <a:tcPr/>
                </a:tc>
                <a:tc>
                  <a:txBody>
                    <a:bodyPr/>
                    <a:lstStyle/>
                    <a:p>
                      <a:r>
                        <a:rPr lang="pl-PL" dirty="0"/>
                        <a:t>Kupujesz to co kupują inni lub co kupuje „guru” inwestycyjne, zwykle zbyt późno i za drogo</a:t>
                      </a:r>
                    </a:p>
                  </a:txBody>
                  <a:tcPr/>
                </a:tc>
                <a:tc>
                  <a:txBody>
                    <a:bodyPr/>
                    <a:lstStyle/>
                    <a:p>
                      <a:r>
                        <a:rPr lang="pl-PL" dirty="0"/>
                        <a:t>Decyzje co do kupna opierają się na przekonującym procesie inwestycyjnym</a:t>
                      </a:r>
                    </a:p>
                  </a:txBody>
                  <a:tcPr/>
                </a:tc>
                <a:extLst>
                  <a:ext uri="{0D108BD9-81ED-4DB2-BD59-A6C34878D82A}">
                    <a16:rowId xmlns:a16="http://schemas.microsoft.com/office/drawing/2014/main" val="4044575774"/>
                  </a:ext>
                </a:extLst>
              </a:tr>
              <a:tr h="485246">
                <a:tc>
                  <a:txBody>
                    <a:bodyPr/>
                    <a:lstStyle/>
                    <a:p>
                      <a:r>
                        <a:rPr lang="pl-PL" dirty="0"/>
                        <a:t>Zbyt duża pewność siebie</a:t>
                      </a:r>
                    </a:p>
                  </a:txBody>
                  <a:tcPr/>
                </a:tc>
                <a:tc>
                  <a:txBody>
                    <a:bodyPr/>
                    <a:lstStyle/>
                    <a:p>
                      <a:r>
                        <a:rPr lang="pl-PL" dirty="0"/>
                        <a:t>Zbyt częsta zmiana inwestycji podkopuje twoje zyski</a:t>
                      </a:r>
                    </a:p>
                  </a:txBody>
                  <a:tcPr/>
                </a:tc>
                <a:tc>
                  <a:txBody>
                    <a:bodyPr/>
                    <a:lstStyle/>
                    <a:p>
                      <a:endParaRPr lang="pl-PL"/>
                    </a:p>
                  </a:txBody>
                  <a:tcPr/>
                </a:tc>
                <a:extLst>
                  <a:ext uri="{0D108BD9-81ED-4DB2-BD59-A6C34878D82A}">
                    <a16:rowId xmlns:a16="http://schemas.microsoft.com/office/drawing/2014/main" val="1334429310"/>
                  </a:ext>
                </a:extLst>
              </a:tr>
              <a:tr h="485246">
                <a:tc>
                  <a:txBody>
                    <a:bodyPr/>
                    <a:lstStyle/>
                    <a:p>
                      <a:r>
                        <a:rPr lang="pl-PL" dirty="0"/>
                        <a:t>Emocje</a:t>
                      </a:r>
                    </a:p>
                  </a:txBody>
                  <a:tcPr/>
                </a:tc>
                <a:tc>
                  <a:txBody>
                    <a:bodyPr/>
                    <a:lstStyle/>
                    <a:p>
                      <a:r>
                        <a:rPr lang="pl-PL" dirty="0"/>
                        <a:t>Kiedy przechodzisz od chciwości do strachu </a:t>
                      </a:r>
                      <a:br>
                        <a:rPr lang="pl-PL" dirty="0"/>
                      </a:br>
                      <a:r>
                        <a:rPr lang="pl-PL" dirty="0"/>
                        <a:t>i odwrotnie, sprawia, że często kupujesz lub sprzedajesz za późno</a:t>
                      </a:r>
                    </a:p>
                  </a:txBody>
                  <a:tcPr/>
                </a:tc>
                <a:tc>
                  <a:txBody>
                    <a:bodyPr/>
                    <a:lstStyle/>
                    <a:p>
                      <a:r>
                        <a:rPr lang="pl-PL" dirty="0"/>
                        <a:t>Proces inwestycyjny sprawia, że inwestujesz bardziej racjonalnie</a:t>
                      </a:r>
                    </a:p>
                  </a:txBody>
                  <a:tcPr/>
                </a:tc>
                <a:extLst>
                  <a:ext uri="{0D108BD9-81ED-4DB2-BD59-A6C34878D82A}">
                    <a16:rowId xmlns:a16="http://schemas.microsoft.com/office/drawing/2014/main" val="210200224"/>
                  </a:ext>
                </a:extLst>
              </a:tr>
              <a:tr h="485246">
                <a:tc>
                  <a:txBody>
                    <a:bodyPr/>
                    <a:lstStyle/>
                    <a:p>
                      <a:r>
                        <a:rPr lang="pl-PL" dirty="0"/>
                        <a:t>Stronnicze zakotwiczenie</a:t>
                      </a:r>
                    </a:p>
                  </a:txBody>
                  <a:tcPr/>
                </a:tc>
                <a:tc>
                  <a:txBody>
                    <a:bodyPr/>
                    <a:lstStyle/>
                    <a:p>
                      <a:r>
                        <a:rPr lang="pl-PL" dirty="0"/>
                        <a:t>Zamiast przemyśleć swoje decyzje inwestycyjne, pozostajesz ze swoimi stratami</a:t>
                      </a:r>
                    </a:p>
                  </a:txBody>
                  <a:tcPr/>
                </a:tc>
                <a:tc>
                  <a:txBody>
                    <a:bodyPr/>
                    <a:lstStyle/>
                    <a:p>
                      <a:r>
                        <a:rPr lang="pl-PL" dirty="0"/>
                        <a:t>Dobre czy złe, wahania są oparte na badaniach </a:t>
                      </a:r>
                      <a:br>
                        <a:rPr lang="pl-PL" dirty="0"/>
                      </a:br>
                      <a:r>
                        <a:rPr lang="pl-PL" dirty="0"/>
                        <a:t>i aktywnej alokacji</a:t>
                      </a:r>
                    </a:p>
                  </a:txBody>
                  <a:tcPr/>
                </a:tc>
                <a:extLst>
                  <a:ext uri="{0D108BD9-81ED-4DB2-BD59-A6C34878D82A}">
                    <a16:rowId xmlns:a16="http://schemas.microsoft.com/office/drawing/2014/main" val="2310560970"/>
                  </a:ext>
                </a:extLst>
              </a:tr>
              <a:tr h="485246">
                <a:tc>
                  <a:txBody>
                    <a:bodyPr/>
                    <a:lstStyle/>
                    <a:p>
                      <a:r>
                        <a:rPr lang="pl-PL" dirty="0"/>
                        <a:t>Awersja do strat</a:t>
                      </a:r>
                    </a:p>
                  </a:txBody>
                  <a:tcPr/>
                </a:tc>
                <a:tc>
                  <a:txBody>
                    <a:bodyPr/>
                    <a:lstStyle/>
                    <a:p>
                      <a:r>
                        <a:rPr lang="pl-PL" dirty="0"/>
                        <a:t>Straty są wpisane w status tzw. „strat papierowych”</a:t>
                      </a:r>
                    </a:p>
                  </a:txBody>
                  <a:tcPr/>
                </a:tc>
                <a:tc>
                  <a:txBody>
                    <a:bodyPr/>
                    <a:lstStyle/>
                    <a:p>
                      <a:r>
                        <a:rPr lang="pl-PL" dirty="0"/>
                        <a:t>Aktywne zarządzanie sprawia, że proces inwestycyjny jest bardziej racjonalny</a:t>
                      </a:r>
                    </a:p>
                  </a:txBody>
                  <a:tcPr/>
                </a:tc>
                <a:extLst>
                  <a:ext uri="{0D108BD9-81ED-4DB2-BD59-A6C34878D82A}">
                    <a16:rowId xmlns:a16="http://schemas.microsoft.com/office/drawing/2014/main" val="2900862795"/>
                  </a:ext>
                </a:extLst>
              </a:tr>
            </a:tbl>
          </a:graphicData>
        </a:graphic>
      </p:graphicFrame>
    </p:spTree>
    <p:extLst>
      <p:ext uri="{BB962C8B-B14F-4D97-AF65-F5344CB8AC3E}">
        <p14:creationId xmlns:p14="http://schemas.microsoft.com/office/powerpoint/2010/main" val="14877895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8CC494B3-32FB-830E-AF83-C82899E7835C}"/>
              </a:ext>
            </a:extLst>
          </p:cNvPr>
          <p:cNvPicPr>
            <a:picLocks noChangeAspect="1"/>
          </p:cNvPicPr>
          <p:nvPr/>
        </p:nvPicPr>
        <p:blipFill>
          <a:blip r:embed="rId4"/>
          <a:stretch>
            <a:fillRect/>
          </a:stretch>
        </p:blipFill>
        <p:spPr>
          <a:xfrm>
            <a:off x="9257077" y="115504"/>
            <a:ext cx="2705631" cy="3804793"/>
          </a:xfrm>
          <a:prstGeom prst="rect">
            <a:avLst/>
          </a:prstGeom>
        </p:spPr>
      </p:pic>
      <p:pic>
        <p:nvPicPr>
          <p:cNvPr id="9" name="Picture 8">
            <a:hlinkClick r:id="rId5"/>
            <a:extLst>
              <a:ext uri="{FF2B5EF4-FFF2-40B4-BE49-F238E27FC236}">
                <a16:creationId xmlns:a16="http://schemas.microsoft.com/office/drawing/2014/main" id="{B49B389C-7ABD-8D05-3589-81A27670BBFD}"/>
              </a:ext>
            </a:extLst>
          </p:cNvPr>
          <p:cNvPicPr>
            <a:picLocks noChangeAspect="1"/>
          </p:cNvPicPr>
          <p:nvPr/>
        </p:nvPicPr>
        <p:blipFill>
          <a:blip r:embed="rId6"/>
          <a:stretch>
            <a:fillRect/>
          </a:stretch>
        </p:blipFill>
        <p:spPr>
          <a:xfrm>
            <a:off x="164643" y="2909979"/>
            <a:ext cx="2701288" cy="3804792"/>
          </a:xfrm>
          <a:prstGeom prst="rect">
            <a:avLst/>
          </a:prstGeom>
          <a:solidFill>
            <a:schemeClr val="accent2"/>
          </a:solidFill>
          <a:ln w="3175">
            <a:solidFill>
              <a:schemeClr val="tx1"/>
            </a:solidFill>
          </a:ln>
        </p:spPr>
      </p:pic>
      <p:pic>
        <p:nvPicPr>
          <p:cNvPr id="8" name="Picture 7">
            <a:hlinkClick r:id="rId7"/>
            <a:extLst>
              <a:ext uri="{FF2B5EF4-FFF2-40B4-BE49-F238E27FC236}">
                <a16:creationId xmlns:a16="http://schemas.microsoft.com/office/drawing/2014/main" id="{614B81EF-3708-AE2E-AE33-6D1B02B44BEE}"/>
              </a:ext>
            </a:extLst>
          </p:cNvPr>
          <p:cNvPicPr>
            <a:picLocks noChangeAspect="1"/>
          </p:cNvPicPr>
          <p:nvPr/>
        </p:nvPicPr>
        <p:blipFill>
          <a:blip r:embed="rId8"/>
          <a:stretch>
            <a:fillRect/>
          </a:stretch>
        </p:blipFill>
        <p:spPr>
          <a:xfrm>
            <a:off x="6257516" y="2914642"/>
            <a:ext cx="2705631" cy="3800129"/>
          </a:xfrm>
          <a:prstGeom prst="rect">
            <a:avLst/>
          </a:prstGeom>
          <a:solidFill>
            <a:schemeClr val="accent2"/>
          </a:solidFill>
          <a:ln w="3175">
            <a:solidFill>
              <a:schemeClr val="tx1"/>
            </a:solidFill>
          </a:ln>
        </p:spPr>
      </p:pic>
      <p:pic>
        <p:nvPicPr>
          <p:cNvPr id="2" name="Picture 1">
            <a:hlinkClick r:id="rId9"/>
            <a:extLst>
              <a:ext uri="{FF2B5EF4-FFF2-40B4-BE49-F238E27FC236}">
                <a16:creationId xmlns:a16="http://schemas.microsoft.com/office/drawing/2014/main" id="{FD7D1F60-7C0C-7E7B-4DC8-84033391DC3F}"/>
              </a:ext>
            </a:extLst>
          </p:cNvPr>
          <p:cNvPicPr>
            <a:picLocks noChangeAspect="1"/>
          </p:cNvPicPr>
          <p:nvPr/>
        </p:nvPicPr>
        <p:blipFill>
          <a:blip r:embed="rId10"/>
          <a:stretch>
            <a:fillRect/>
          </a:stretch>
        </p:blipFill>
        <p:spPr>
          <a:xfrm>
            <a:off x="3173389" y="115504"/>
            <a:ext cx="2692103" cy="3804793"/>
          </a:xfrm>
          <a:prstGeom prst="rect">
            <a:avLst/>
          </a:prstGeom>
        </p:spPr>
      </p:pic>
    </p:spTree>
    <p:extLst>
      <p:ext uri="{BB962C8B-B14F-4D97-AF65-F5344CB8AC3E}">
        <p14:creationId xmlns:p14="http://schemas.microsoft.com/office/powerpoint/2010/main" val="12213414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3097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Headline">
            <a:extLst>
              <a:ext uri="{FF2B5EF4-FFF2-40B4-BE49-F238E27FC236}">
                <a16:creationId xmlns:a16="http://schemas.microsoft.com/office/drawing/2014/main" id="{ECEECC48-D5D9-8C2B-944D-51D09A2E3587}"/>
              </a:ext>
            </a:extLst>
          </p:cNvPr>
          <p:cNvSpPr>
            <a:spLocks noGrp="1"/>
          </p:cNvSpPr>
          <p:nvPr>
            <p:ph type="title"/>
          </p:nvPr>
        </p:nvSpPr>
        <p:spPr>
          <a:xfrm>
            <a:off x="395926" y="241402"/>
            <a:ext cx="9944006" cy="791565"/>
          </a:xfrm>
        </p:spPr>
        <p:txBody>
          <a:bodyPr/>
          <a:lstStyle/>
          <a:p>
            <a:r>
              <a:rPr lang="pl-PL" dirty="0"/>
              <a:t>Nota prawna</a:t>
            </a:r>
            <a:endParaRPr lang="en-GB" dirty="0"/>
          </a:p>
        </p:txBody>
      </p:sp>
      <p:sp>
        <p:nvSpPr>
          <p:cNvPr id="2" name="Content disclaimer">
            <a:extLst>
              <a:ext uri="{FF2B5EF4-FFF2-40B4-BE49-F238E27FC236}">
                <a16:creationId xmlns:a16="http://schemas.microsoft.com/office/drawing/2014/main" id="{E2D60238-6F30-415F-A083-860F790CCE76}"/>
              </a:ext>
            </a:extLst>
          </p:cNvPr>
          <p:cNvSpPr>
            <a:spLocks noGrp="1"/>
          </p:cNvSpPr>
          <p:nvPr>
            <p:ph sz="quarter" idx="21"/>
          </p:nvPr>
        </p:nvSpPr>
        <p:spPr>
          <a:xfrm>
            <a:off x="395926" y="774700"/>
            <a:ext cx="11681774" cy="2873375"/>
          </a:xfrm>
        </p:spPr>
        <p:txBody>
          <a:bodyPr/>
          <a:lstStyle/>
          <a:p>
            <a:r>
              <a:rPr lang="en-US" sz="1800" dirty="0"/>
              <a:t>Inwestowanie wiąże się z ryzykiem. Wartość inwestycji i dochód z niej mogą zarówno spaść, jak i wzrosnąć, a inwestorzy mogą nie odzyskać pełnej zainwestowanej kwoty. Poglądy i opinie wyrażone w niniejszym dokumencie, które mogą ulec zmianie bez powiadomienia, są poglądami spółek emitentów w momencie publikacji. Wykorzystane dane pochodzą z różnych źródeł i zakłada się, że są </a:t>
            </a:r>
            <a:r>
              <a:rPr lang="en-US" sz="1800" dirty="0" err="1"/>
              <a:t>poprawne</a:t>
            </a:r>
            <a:r>
              <a:rPr lang="en-US" sz="1800" dirty="0"/>
              <a:t> </a:t>
            </a:r>
            <a:br>
              <a:rPr lang="pl-PL" sz="1800" dirty="0"/>
            </a:br>
            <a:r>
              <a:rPr lang="en-US" sz="1800" dirty="0" err="1"/>
              <a:t>i</a:t>
            </a:r>
            <a:r>
              <a:rPr lang="en-US" sz="1800" dirty="0"/>
              <a:t> wiarygodne w momencie publikacji. Warunki jakiejkolwiek oferty lub umowy, która została lub zostanie złożona lub zawarta, mają charakter nadrzędny. Jest to komunikat marketingowy wydany przez Allianz Global Investors GmbH, www.allianzgi.com, spółkę </a:t>
            </a:r>
            <a:r>
              <a:rPr lang="en-US" sz="1800" dirty="0" err="1"/>
              <a:t>inwestycyjną</a:t>
            </a:r>
            <a:r>
              <a:rPr lang="en-US" sz="1800" dirty="0"/>
              <a:t> </a:t>
            </a:r>
            <a:br>
              <a:rPr lang="pl-PL" sz="1800" dirty="0"/>
            </a:br>
            <a:r>
              <a:rPr lang="en-US" sz="1800" dirty="0"/>
              <a:t>z ograniczoną odpowiedzialnością, zarejestrowaną w Niemczech, z siedzibą przy </a:t>
            </a:r>
            <a:r>
              <a:rPr lang="en-US" sz="1800" dirty="0" err="1"/>
              <a:t>Bockenheimer</a:t>
            </a:r>
            <a:r>
              <a:rPr lang="en-US" sz="1800" dirty="0"/>
              <a:t> </a:t>
            </a:r>
            <a:r>
              <a:rPr lang="en-US" sz="1800" dirty="0" err="1"/>
              <a:t>Landstrasse</a:t>
            </a:r>
            <a:r>
              <a:rPr lang="en-US" sz="1800" dirty="0"/>
              <a:t> 42-44, 60323 Frankfurt/M, zarejestrowaną w sądzie rejonowym Frankfurt/M pod numerem HRB 9340, </a:t>
            </a:r>
            <a:r>
              <a:rPr lang="en-US" sz="1800" dirty="0" err="1"/>
              <a:t>autoryzowaną</a:t>
            </a:r>
            <a:r>
              <a:rPr lang="en-US" sz="1800" dirty="0"/>
              <a:t> </a:t>
            </a:r>
            <a:r>
              <a:rPr lang="en-US" sz="1800" dirty="0" err="1"/>
              <a:t>przez</a:t>
            </a:r>
            <a:r>
              <a:rPr lang="en-US" sz="1800" dirty="0"/>
              <a:t> </a:t>
            </a:r>
            <a:r>
              <a:rPr lang="en-US" sz="1800" dirty="0" err="1"/>
              <a:t>Bundesanstalt</a:t>
            </a:r>
            <a:r>
              <a:rPr lang="en-US" sz="1800" dirty="0"/>
              <a:t> für </a:t>
            </a:r>
            <a:r>
              <a:rPr lang="en-US" sz="1800" dirty="0" err="1"/>
              <a:t>Finanzdienstleistungsaufsicht</a:t>
            </a:r>
            <a:r>
              <a:rPr lang="en-US" sz="1800" dirty="0"/>
              <a:t> (www.bafin.de). Podsumowanie Praw Inwestora jest dostępne w języku angielskim, francuskim, niemieckim, włoskim i hiszpańskim pod adresem https://regulatory.allianzgi.com/en/investors-rights Powielanie, publikowanie lub przekazywanie treści, niezależnie od formy, jest zabronione; z wyjątkiem przypadku wyraźnej zgody Allianz Global Investors GmbH. </a:t>
            </a:r>
            <a:r>
              <a:rPr lang="en-US" sz="1800" dirty="0" err="1"/>
              <a:t>AdMaster</a:t>
            </a:r>
            <a:r>
              <a:rPr lang="en-US" sz="1800" dirty="0"/>
              <a:t>:</a:t>
            </a:r>
            <a:r>
              <a:rPr lang="de-DE" sz="1800" dirty="0"/>
              <a:t>3448206</a:t>
            </a:r>
            <a:endParaRPr lang="en-US" sz="1800" dirty="0"/>
          </a:p>
        </p:txBody>
      </p:sp>
      <p:sp>
        <p:nvSpPr>
          <p:cNvPr id="4" name="Content disclaimer">
            <a:extLst>
              <a:ext uri="{FF2B5EF4-FFF2-40B4-BE49-F238E27FC236}">
                <a16:creationId xmlns:a16="http://schemas.microsoft.com/office/drawing/2014/main" id="{B10AFE81-FCB1-70B5-208D-797846D277D9}"/>
              </a:ext>
            </a:extLst>
          </p:cNvPr>
          <p:cNvSpPr txBox="1">
            <a:spLocks/>
          </p:cNvSpPr>
          <p:nvPr/>
        </p:nvSpPr>
        <p:spPr bwMode="gray">
          <a:xfrm>
            <a:off x="395926" y="3841750"/>
            <a:ext cx="11368800" cy="28733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marR="0" indent="0" algn="l" defTabSz="1038977" rtl="0" eaLnBrk="1" fontAlgn="base" latinLnBrk="0" hangingPunct="1">
              <a:lnSpc>
                <a:spcPct val="100000"/>
              </a:lnSpc>
              <a:spcBef>
                <a:spcPts val="0"/>
              </a:spcBef>
              <a:spcAft>
                <a:spcPts val="0"/>
              </a:spcAft>
              <a:buClr>
                <a:schemeClr val="tx2"/>
              </a:buClr>
              <a:buSzTx/>
              <a:buFont typeface="Arial" panose="020B0604020202020204" pitchFamily="34" charset="0"/>
              <a:buNone/>
              <a:tabLst>
                <a:tab pos="203827" algn="l"/>
              </a:tabLst>
              <a:defRPr sz="800" baseline="0">
                <a:solidFill>
                  <a:schemeClr val="tx2"/>
                </a:solidFill>
                <a:latin typeface="Arial Narrow" panose="020B0606020202030204" pitchFamily="34" charset="0"/>
                <a:ea typeface="+mn-ea"/>
                <a:cs typeface="+mn-cs"/>
              </a:defRPr>
            </a:lvl1pPr>
            <a:lvl2pPr marL="36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2pPr>
            <a:lvl3pPr marL="54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3pPr>
            <a:lvl4pPr marL="72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4pPr>
            <a:lvl5pPr marL="900000" indent="-180000" algn="l" rtl="0" eaLnBrk="1" fontAlgn="base" hangingPunct="1">
              <a:lnSpc>
                <a:spcPct val="100000"/>
              </a:lnSpc>
              <a:spcBef>
                <a:spcPts val="360"/>
              </a:spcBef>
              <a:spcAft>
                <a:spcPts val="360"/>
              </a:spcAft>
              <a:buClr>
                <a:schemeClr val="tx2"/>
              </a:buClr>
              <a:buFont typeface="Arial" panose="020B0604020202020204" pitchFamily="34" charset="0"/>
              <a:buChar char="-"/>
              <a:tabLst>
                <a:tab pos="207435" algn="l"/>
              </a:tabLst>
              <a:defRPr sz="1200" baseline="0">
                <a:solidFill>
                  <a:schemeClr val="tx2"/>
                </a:solidFill>
                <a:latin typeface="Arial" panose="020B0604020202020204" pitchFamily="34" charset="0"/>
              </a:defRPr>
            </a:lvl5pPr>
            <a:lvl6pPr marL="1289702"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6pPr>
            <a:lvl7pPr marL="1809191"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7pPr>
            <a:lvl8pPr marL="2328678"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8pPr>
            <a:lvl9pPr marL="2848166" indent="-146107" algn="l" rtl="0" eaLnBrk="1" fontAlgn="base" hangingPunct="1">
              <a:spcBef>
                <a:spcPct val="25000"/>
              </a:spcBef>
              <a:spcAft>
                <a:spcPct val="25000"/>
              </a:spcAft>
              <a:buClr>
                <a:schemeClr val="tx2"/>
              </a:buClr>
              <a:buChar char="-"/>
              <a:tabLst>
                <a:tab pos="207435" algn="l"/>
              </a:tabLst>
              <a:defRPr sz="1600">
                <a:solidFill>
                  <a:schemeClr val="tx1"/>
                </a:solidFill>
                <a:latin typeface="+mn-lt"/>
              </a:defRPr>
            </a:lvl9pPr>
          </a:lstStyle>
          <a:p>
            <a:r>
              <a:rPr lang="en-US" sz="1800" dirty="0"/>
              <a:t>Investing involves risk. The value of an investment and the income from it may fall as well as rise and investors might not get back the full amount invested. The views and opinions expressed herein, which are subject to change without notice, are those of the issuer companies at the time of publication. The data used is derived from various sources, and assumed to be correct and reliable at the time of publication. The conditions of any underlying offer or contract that may have been, or will be, made or concluded, shall prevail. This is a marketing communication issued by Allianz Global Investors GmbH, www.allianzgi.com, an investment company with limited liability, incorporated in Germany, with its registered office at </a:t>
            </a:r>
            <a:r>
              <a:rPr lang="en-US" sz="1800" dirty="0" err="1"/>
              <a:t>Bockenheimer</a:t>
            </a:r>
            <a:r>
              <a:rPr lang="en-US" sz="1800" dirty="0"/>
              <a:t> </a:t>
            </a:r>
            <a:r>
              <a:rPr lang="en-US" sz="1800" dirty="0" err="1"/>
              <a:t>Landstrasse</a:t>
            </a:r>
            <a:r>
              <a:rPr lang="en-US" sz="1800" dirty="0"/>
              <a:t> 42-44, 60323 Frankfurt/M, registered with the local court Frankfurt/M under HRB 9340, </a:t>
            </a:r>
            <a:r>
              <a:rPr lang="en-US" sz="1800" dirty="0" err="1"/>
              <a:t>authorised</a:t>
            </a:r>
            <a:r>
              <a:rPr lang="en-US" sz="1800" dirty="0"/>
              <a:t> by </a:t>
            </a:r>
            <a:r>
              <a:rPr lang="en-US" sz="1800" dirty="0" err="1"/>
              <a:t>Bundesanstalt</a:t>
            </a:r>
            <a:r>
              <a:rPr lang="en-US" sz="1800" dirty="0"/>
              <a:t> für </a:t>
            </a:r>
            <a:r>
              <a:rPr lang="en-US" sz="1800" dirty="0" err="1"/>
              <a:t>Finanzdienstleistungsaufsicht</a:t>
            </a:r>
            <a:r>
              <a:rPr lang="en-US" sz="1800" dirty="0"/>
              <a:t> (www.bafin.de). The Summary of Investor Rights is available in English, French, German, Italian and Spanish at https://regulatory.allianzgi.com/en/investors-rights The duplication, publication, or transmission of the contents, irrespective of the form, is not permitted; except for the case of explicit permission by Allianz Global Investors GmbH. </a:t>
            </a:r>
            <a:r>
              <a:rPr lang="en-US" sz="1800" dirty="0" err="1"/>
              <a:t>AdMaster</a:t>
            </a:r>
            <a:r>
              <a:rPr lang="en-US" sz="1800" dirty="0"/>
              <a:t>:</a:t>
            </a:r>
            <a:r>
              <a:rPr lang="de-DE" sz="1800" dirty="0"/>
              <a:t>3448206</a:t>
            </a:r>
            <a:endParaRPr lang="en-US" sz="1800" dirty="0"/>
          </a:p>
        </p:txBody>
      </p:sp>
    </p:spTree>
    <p:extLst>
      <p:ext uri="{BB962C8B-B14F-4D97-AF65-F5344CB8AC3E}">
        <p14:creationId xmlns:p14="http://schemas.microsoft.com/office/powerpoint/2010/main" val="569953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2"/>
          <p:cNvSpPr>
            <a:spLocks noGrp="1" noChangeArrowheads="1"/>
          </p:cNvSpPr>
          <p:nvPr>
            <p:ph type="title"/>
          </p:nvPr>
        </p:nvSpPr>
        <p:spPr/>
        <p:txBody>
          <a:bodyPr/>
          <a:lstStyle/>
          <a:p>
            <a:pPr eaLnBrk="1" hangingPunct="1"/>
            <a:r>
              <a:rPr lang="en-GB" altLang="en-US" dirty="0" err="1"/>
              <a:t>Jaźń</a:t>
            </a:r>
            <a:r>
              <a:rPr lang="en-GB" altLang="en-US" dirty="0"/>
              <a:t> </a:t>
            </a:r>
            <a:r>
              <a:rPr lang="en-GB" altLang="en-US" dirty="0" err="1"/>
              <a:t>i</a:t>
            </a:r>
            <a:r>
              <a:rPr lang="en-GB" altLang="en-US" dirty="0"/>
              <a:t> </a:t>
            </a:r>
            <a:r>
              <a:rPr lang="en-GB" altLang="en-US" dirty="0" err="1"/>
              <a:t>mózg</a:t>
            </a:r>
            <a:endParaRPr lang="en-GB" altLang="en-US" dirty="0"/>
          </a:p>
        </p:txBody>
      </p:sp>
      <p:pic>
        <p:nvPicPr>
          <p:cNvPr id="33796" name="Picture 3" descr="Fotolia_2389422_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8213" y="1376363"/>
            <a:ext cx="6970712" cy="493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7" name="Text Box 4"/>
          <p:cNvSpPr txBox="1">
            <a:spLocks noChangeArrowheads="1"/>
          </p:cNvSpPr>
          <p:nvPr/>
        </p:nvSpPr>
        <p:spPr bwMode="auto">
          <a:xfrm>
            <a:off x="4511676" y="5616575"/>
            <a:ext cx="2233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algn="ctr" eaLnBrk="1" hangingPunct="1">
              <a:buFont typeface="Wingdings" pitchFamily="2" charset="2"/>
              <a:buNone/>
            </a:pPr>
            <a:r>
              <a:rPr lang="pl-PL" altLang="en-US" sz="1000" b="1" dirty="0"/>
              <a:t>RDZEŃ</a:t>
            </a:r>
            <a:endParaRPr lang="de-DE" altLang="en-US" sz="1000" b="1" dirty="0"/>
          </a:p>
        </p:txBody>
      </p:sp>
      <p:sp>
        <p:nvSpPr>
          <p:cNvPr id="33798" name="Text Box 5"/>
          <p:cNvSpPr txBox="1">
            <a:spLocks noChangeArrowheads="1"/>
          </p:cNvSpPr>
          <p:nvPr/>
        </p:nvSpPr>
        <p:spPr bwMode="auto">
          <a:xfrm>
            <a:off x="6600826" y="1881188"/>
            <a:ext cx="2233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Font typeface="Wingdings" pitchFamily="2" charset="2"/>
              <a:buNone/>
            </a:pPr>
            <a:r>
              <a:rPr lang="de-DE" altLang="en-US" sz="1000" b="1"/>
              <a:t>ZAKRĘT POSTCENTRALNY</a:t>
            </a:r>
          </a:p>
        </p:txBody>
      </p:sp>
      <p:sp>
        <p:nvSpPr>
          <p:cNvPr id="33799" name="Text Box 6"/>
          <p:cNvSpPr txBox="1">
            <a:spLocks noChangeArrowheads="1"/>
          </p:cNvSpPr>
          <p:nvPr/>
        </p:nvSpPr>
        <p:spPr bwMode="auto">
          <a:xfrm>
            <a:off x="7392988" y="2600325"/>
            <a:ext cx="223361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Font typeface="Wingdings" pitchFamily="2" charset="2"/>
              <a:buNone/>
            </a:pPr>
            <a:r>
              <a:rPr lang="pl-PL" altLang="en-US" sz="1000" b="1" dirty="0"/>
              <a:t>PŁAT CIEMIENIOWY</a:t>
            </a:r>
            <a:endParaRPr lang="de-DE" altLang="en-US" sz="1000" b="1" dirty="0"/>
          </a:p>
        </p:txBody>
      </p:sp>
      <p:sp>
        <p:nvSpPr>
          <p:cNvPr id="33800" name="Text Box 7"/>
          <p:cNvSpPr txBox="1">
            <a:spLocks noChangeArrowheads="1"/>
          </p:cNvSpPr>
          <p:nvPr/>
        </p:nvSpPr>
        <p:spPr bwMode="auto">
          <a:xfrm>
            <a:off x="7967663" y="3824288"/>
            <a:ext cx="223361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Font typeface="Wingdings" pitchFamily="2" charset="2"/>
              <a:buNone/>
            </a:pPr>
            <a:r>
              <a:rPr lang="pl-PL" altLang="en-US" sz="1000" b="1" dirty="0"/>
              <a:t>PŁAT POTYLICZNY</a:t>
            </a:r>
            <a:endParaRPr lang="de-DE" altLang="en-US" sz="1000" b="1" dirty="0"/>
          </a:p>
        </p:txBody>
      </p:sp>
      <p:sp>
        <p:nvSpPr>
          <p:cNvPr id="33801" name="Text Box 8"/>
          <p:cNvSpPr txBox="1">
            <a:spLocks noChangeArrowheads="1"/>
          </p:cNvSpPr>
          <p:nvPr/>
        </p:nvSpPr>
        <p:spPr bwMode="auto">
          <a:xfrm>
            <a:off x="7535863" y="5553075"/>
            <a:ext cx="223361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Font typeface="Wingdings" pitchFamily="2" charset="2"/>
              <a:buNone/>
            </a:pPr>
            <a:r>
              <a:rPr lang="pl-PL" altLang="en-US" sz="1000" b="1" dirty="0"/>
              <a:t>MÓŻDŻEK</a:t>
            </a:r>
            <a:endParaRPr lang="de-DE" altLang="en-US" sz="1000" b="1" dirty="0"/>
          </a:p>
        </p:txBody>
      </p:sp>
      <p:sp>
        <p:nvSpPr>
          <p:cNvPr id="33802" name="Text Box 9"/>
          <p:cNvSpPr txBox="1">
            <a:spLocks noChangeArrowheads="1"/>
          </p:cNvSpPr>
          <p:nvPr/>
        </p:nvSpPr>
        <p:spPr bwMode="auto">
          <a:xfrm>
            <a:off x="4440238" y="1665288"/>
            <a:ext cx="223361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algn="ctr" eaLnBrk="1" hangingPunct="1">
              <a:buFont typeface="Wingdings" pitchFamily="2" charset="2"/>
              <a:buNone/>
            </a:pPr>
            <a:r>
              <a:rPr lang="pl-PL" altLang="en-US" sz="1000" b="1" dirty="0"/>
              <a:t>BRUZDA ŚRODKOWA</a:t>
            </a:r>
            <a:endParaRPr lang="de-DE" altLang="en-US" sz="1000" b="1" dirty="0"/>
          </a:p>
        </p:txBody>
      </p:sp>
      <p:sp>
        <p:nvSpPr>
          <p:cNvPr id="33803" name="Text Box 10"/>
          <p:cNvSpPr txBox="1">
            <a:spLocks noChangeArrowheads="1"/>
          </p:cNvSpPr>
          <p:nvPr/>
        </p:nvSpPr>
        <p:spPr bwMode="auto">
          <a:xfrm>
            <a:off x="3216276" y="5256213"/>
            <a:ext cx="2233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algn="ctr" eaLnBrk="1" hangingPunct="1">
              <a:buFont typeface="Wingdings" pitchFamily="2" charset="2"/>
              <a:buNone/>
            </a:pPr>
            <a:r>
              <a:rPr lang="pl-PL" altLang="en-US" sz="1000" b="1" dirty="0"/>
              <a:t>PŁAT SKRONIOWY</a:t>
            </a:r>
            <a:endParaRPr lang="de-DE" altLang="en-US" sz="1000" b="1" dirty="0"/>
          </a:p>
        </p:txBody>
      </p:sp>
      <p:sp>
        <p:nvSpPr>
          <p:cNvPr id="33804" name="Text Box 11"/>
          <p:cNvSpPr txBox="1">
            <a:spLocks noChangeArrowheads="1"/>
          </p:cNvSpPr>
          <p:nvPr/>
        </p:nvSpPr>
        <p:spPr bwMode="auto">
          <a:xfrm>
            <a:off x="1992313" y="4321175"/>
            <a:ext cx="223361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algn="r" eaLnBrk="1" hangingPunct="1">
              <a:buFont typeface="Wingdings" pitchFamily="2" charset="2"/>
              <a:buNone/>
            </a:pPr>
            <a:r>
              <a:rPr lang="pl-PL" altLang="en-US" sz="1000" b="1" dirty="0"/>
              <a:t>BRUZDA BOCZNA</a:t>
            </a:r>
            <a:endParaRPr lang="de-DE" altLang="en-US" sz="1000" b="1" dirty="0"/>
          </a:p>
        </p:txBody>
      </p:sp>
      <p:sp>
        <p:nvSpPr>
          <p:cNvPr id="33805" name="Text Box 12"/>
          <p:cNvSpPr txBox="1">
            <a:spLocks noChangeArrowheads="1"/>
          </p:cNvSpPr>
          <p:nvPr/>
        </p:nvSpPr>
        <p:spPr bwMode="auto">
          <a:xfrm>
            <a:off x="1343026" y="2816225"/>
            <a:ext cx="2233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algn="r" eaLnBrk="1" hangingPunct="1">
              <a:buFont typeface="Wingdings" pitchFamily="2" charset="2"/>
              <a:buNone/>
            </a:pPr>
            <a:r>
              <a:rPr lang="de-DE" altLang="en-US" sz="1000" b="1" dirty="0"/>
              <a:t>PRZEDNI</a:t>
            </a:r>
            <a:r>
              <a:rPr lang="pl-PL" altLang="en-US" sz="1000" b="1" dirty="0"/>
              <a:t> PŁAT</a:t>
            </a:r>
            <a:endParaRPr lang="de-DE" altLang="en-US" sz="1000" b="1" dirty="0"/>
          </a:p>
        </p:txBody>
      </p:sp>
      <p:sp>
        <p:nvSpPr>
          <p:cNvPr id="33806" name="Text Box 13"/>
          <p:cNvSpPr txBox="1">
            <a:spLocks noChangeArrowheads="1"/>
          </p:cNvSpPr>
          <p:nvPr/>
        </p:nvSpPr>
        <p:spPr bwMode="auto">
          <a:xfrm>
            <a:off x="2206626" y="2024063"/>
            <a:ext cx="223361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algn="r" eaLnBrk="1" hangingPunct="1">
              <a:buFont typeface="Wingdings" pitchFamily="2" charset="2"/>
              <a:buNone/>
            </a:pPr>
            <a:r>
              <a:rPr lang="de-DE" altLang="en-US" sz="1000" b="1" dirty="0"/>
              <a:t>ZAKRĘT </a:t>
            </a:r>
            <a:r>
              <a:rPr lang="pl-PL" altLang="en-US" sz="1000" b="1" dirty="0"/>
              <a:t>PRZEDCENTRALNY</a:t>
            </a:r>
            <a:endParaRPr lang="de-DE" altLang="en-US" sz="1000" b="1" dirty="0"/>
          </a:p>
        </p:txBody>
      </p:sp>
      <p:sp>
        <p:nvSpPr>
          <p:cNvPr id="33807" name="Line 14"/>
          <p:cNvSpPr>
            <a:spLocks noChangeShapeType="1"/>
          </p:cNvSpPr>
          <p:nvPr/>
        </p:nvSpPr>
        <p:spPr bwMode="auto">
          <a:xfrm flipH="1">
            <a:off x="7464425" y="3897313"/>
            <a:ext cx="431800" cy="21590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08" name="Line 15"/>
          <p:cNvSpPr>
            <a:spLocks noChangeShapeType="1"/>
          </p:cNvSpPr>
          <p:nvPr/>
        </p:nvSpPr>
        <p:spPr bwMode="auto">
          <a:xfrm flipH="1">
            <a:off x="6527801" y="2673351"/>
            <a:ext cx="792163" cy="34925"/>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09" name="Line 16"/>
          <p:cNvSpPr>
            <a:spLocks noChangeShapeType="1"/>
          </p:cNvSpPr>
          <p:nvPr/>
        </p:nvSpPr>
        <p:spPr bwMode="auto">
          <a:xfrm flipH="1">
            <a:off x="5951538" y="2097088"/>
            <a:ext cx="576262" cy="252412"/>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10" name="Line 17"/>
          <p:cNvSpPr>
            <a:spLocks noChangeShapeType="1"/>
          </p:cNvSpPr>
          <p:nvPr/>
        </p:nvSpPr>
        <p:spPr bwMode="auto">
          <a:xfrm flipV="1">
            <a:off x="5735638" y="1952626"/>
            <a:ext cx="0" cy="360363"/>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11" name="Line 18"/>
          <p:cNvSpPr>
            <a:spLocks noChangeShapeType="1"/>
          </p:cNvSpPr>
          <p:nvPr/>
        </p:nvSpPr>
        <p:spPr bwMode="auto">
          <a:xfrm flipH="1" flipV="1">
            <a:off x="4511676" y="2239964"/>
            <a:ext cx="1008063" cy="109537"/>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12" name="Line 19"/>
          <p:cNvSpPr>
            <a:spLocks noChangeShapeType="1"/>
          </p:cNvSpPr>
          <p:nvPr/>
        </p:nvSpPr>
        <p:spPr bwMode="auto">
          <a:xfrm flipH="1" flipV="1">
            <a:off x="3719514" y="2889250"/>
            <a:ext cx="720725" cy="71438"/>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13" name="Line 20"/>
          <p:cNvSpPr>
            <a:spLocks noChangeShapeType="1"/>
          </p:cNvSpPr>
          <p:nvPr/>
        </p:nvSpPr>
        <p:spPr bwMode="auto">
          <a:xfrm flipH="1">
            <a:off x="4224339" y="3644900"/>
            <a:ext cx="1150937" cy="611188"/>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14" name="Line 21"/>
          <p:cNvSpPr>
            <a:spLocks noChangeShapeType="1"/>
          </p:cNvSpPr>
          <p:nvPr/>
        </p:nvSpPr>
        <p:spPr bwMode="auto">
          <a:xfrm flipH="1">
            <a:off x="4800600" y="4184651"/>
            <a:ext cx="431800" cy="936625"/>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15" name="Line 22"/>
          <p:cNvSpPr>
            <a:spLocks noChangeShapeType="1"/>
          </p:cNvSpPr>
          <p:nvPr/>
        </p:nvSpPr>
        <p:spPr bwMode="auto">
          <a:xfrm flipH="1">
            <a:off x="5808664" y="5048251"/>
            <a:ext cx="142875" cy="504825"/>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
        <p:nvSpPr>
          <p:cNvPr id="33816" name="Line 23"/>
          <p:cNvSpPr>
            <a:spLocks noChangeShapeType="1"/>
          </p:cNvSpPr>
          <p:nvPr/>
        </p:nvSpPr>
        <p:spPr bwMode="auto">
          <a:xfrm>
            <a:off x="6959601" y="4905376"/>
            <a:ext cx="576263" cy="576263"/>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a:p>
        </p:txBody>
      </p:sp>
    </p:spTree>
    <p:extLst>
      <p:ext uri="{BB962C8B-B14F-4D97-AF65-F5344CB8AC3E}">
        <p14:creationId xmlns:p14="http://schemas.microsoft.com/office/powerpoint/2010/main" val="507426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ChangeArrowheads="1"/>
          </p:cNvSpPr>
          <p:nvPr>
            <p:ph type="title"/>
          </p:nvPr>
        </p:nvSpPr>
        <p:spPr/>
        <p:txBody>
          <a:bodyPr/>
          <a:lstStyle/>
          <a:p>
            <a:pPr eaLnBrk="1" hangingPunct="1"/>
            <a:r>
              <a:rPr lang="pl-PL" altLang="en-US" dirty="0"/>
              <a:t>„Częściowo człowiek</a:t>
            </a:r>
            <a:r>
              <a:rPr lang="de-DE" altLang="en-US" dirty="0"/>
              <a:t>, </a:t>
            </a:r>
            <a:r>
              <a:rPr lang="pl-PL" altLang="en-US" dirty="0"/>
              <a:t>częściowo małpa</a:t>
            </a:r>
            <a:r>
              <a:rPr lang="de-DE" altLang="en-US" dirty="0"/>
              <a:t>“*</a:t>
            </a:r>
          </a:p>
        </p:txBody>
      </p:sp>
      <p:pic>
        <p:nvPicPr>
          <p:cNvPr id="3482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7489" y="1773239"/>
            <a:ext cx="9305925" cy="3781425"/>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821" name="Text Box 4"/>
          <p:cNvSpPr txBox="1">
            <a:spLocks noChangeArrowheads="1"/>
          </p:cNvSpPr>
          <p:nvPr/>
        </p:nvSpPr>
        <p:spPr bwMode="auto">
          <a:xfrm>
            <a:off x="1482726" y="6572250"/>
            <a:ext cx="7715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182563" indent="-182563"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Font typeface="Wingdings" pitchFamily="2" charset="2"/>
              <a:buNone/>
            </a:pPr>
            <a:r>
              <a:rPr lang="de-DE" altLang="en-US" sz="800"/>
              <a:t>*) James Montier</a:t>
            </a:r>
          </a:p>
        </p:txBody>
      </p:sp>
    </p:spTree>
    <p:extLst>
      <p:ext uri="{BB962C8B-B14F-4D97-AF65-F5344CB8AC3E}">
        <p14:creationId xmlns:p14="http://schemas.microsoft.com/office/powerpoint/2010/main" val="1638343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2313" y="1916113"/>
            <a:ext cx="2990850" cy="367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35844" name="Freeform 4"/>
          <p:cNvSpPr>
            <a:spLocks/>
          </p:cNvSpPr>
          <p:nvPr/>
        </p:nvSpPr>
        <p:spPr bwMode="gray">
          <a:xfrm>
            <a:off x="5153026" y="1916113"/>
            <a:ext cx="4811713" cy="3676650"/>
          </a:xfrm>
          <a:custGeom>
            <a:avLst/>
            <a:gdLst>
              <a:gd name="T0" fmla="*/ 0 w 10000"/>
              <a:gd name="T1" fmla="*/ 0 h 10000"/>
              <a:gd name="T2" fmla="*/ 0 w 10000"/>
              <a:gd name="T3" fmla="*/ 2147483647 h 10000"/>
              <a:gd name="T4" fmla="*/ 2147483647 w 10000"/>
              <a:gd name="T5" fmla="*/ 2147483647 h 10000"/>
              <a:gd name="T6" fmla="*/ 2147483647 w 10000"/>
              <a:gd name="T7" fmla="*/ 2147483647 h 10000"/>
              <a:gd name="T8" fmla="*/ 2147483647 w 10000"/>
              <a:gd name="T9" fmla="*/ 0 h 10000"/>
              <a:gd name="T10" fmla="*/ 0 w 10000"/>
              <a:gd name="T11" fmla="*/ 0 h 10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0" h="10000">
                <a:moveTo>
                  <a:pt x="0" y="0"/>
                </a:moveTo>
                <a:lnTo>
                  <a:pt x="0" y="10000"/>
                </a:lnTo>
                <a:lnTo>
                  <a:pt x="8509" y="10000"/>
                </a:lnTo>
                <a:lnTo>
                  <a:pt x="9998" y="8597"/>
                </a:lnTo>
                <a:cubicBezTo>
                  <a:pt x="10005" y="5731"/>
                  <a:pt x="9991" y="2866"/>
                  <a:pt x="9998" y="0"/>
                </a:cubicBezTo>
                <a:lnTo>
                  <a:pt x="0" y="0"/>
                </a:lnTo>
                <a:close/>
              </a:path>
            </a:pathLst>
          </a:custGeom>
          <a:solidFill>
            <a:srgbClr val="7F9BC0"/>
          </a:solidFill>
          <a:ln>
            <a:noFill/>
          </a:ln>
          <a:extLst>
            <a:ext uri="{91240B29-F687-4F45-9708-019B960494DF}">
              <a14:hiddenLine xmlns:a14="http://schemas.microsoft.com/office/drawing/2010/main" w="9525">
                <a:solidFill>
                  <a:srgbClr val="000000"/>
                </a:solidFill>
                <a:round/>
                <a:headEnd/>
                <a:tailEnd/>
              </a14:hiddenLine>
            </a:ext>
          </a:extLst>
        </p:spPr>
        <p:txBody>
          <a:bodyPr lIns="237600" tIns="0" rIns="0" bIns="0"/>
          <a:lstStyle/>
          <a:p>
            <a:endParaRPr lang="en-US"/>
          </a:p>
        </p:txBody>
      </p:sp>
      <p:sp>
        <p:nvSpPr>
          <p:cNvPr id="25606" name="Text Placeholder 2"/>
          <p:cNvSpPr txBox="1">
            <a:spLocks/>
          </p:cNvSpPr>
          <p:nvPr/>
        </p:nvSpPr>
        <p:spPr bwMode="white">
          <a:xfrm>
            <a:off x="5397501" y="2020888"/>
            <a:ext cx="4295775" cy="276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361950" indent="-177800" eaLnBrk="0" hangingPunct="0">
              <a:buClr>
                <a:schemeClr val="tx2"/>
              </a:buClr>
              <a:buChar char="-"/>
              <a:defRPr sz="1400">
                <a:solidFill>
                  <a:schemeClr val="tx1"/>
                </a:solidFill>
                <a:latin typeface="Arial" charset="0"/>
              </a:defRPr>
            </a:lvl2pPr>
            <a:lvl3pPr marL="541338" indent="-177800" eaLnBrk="0" hangingPunct="0">
              <a:buClr>
                <a:schemeClr val="tx2"/>
              </a:buClr>
              <a:buChar char="-"/>
              <a:defRPr sz="1400">
                <a:solidFill>
                  <a:schemeClr val="tx1"/>
                </a:solidFill>
                <a:latin typeface="Arial" charset="0"/>
              </a:defRPr>
            </a:lvl3pPr>
            <a:lvl4pPr marL="720725" indent="-177800" eaLnBrk="0" hangingPunct="0">
              <a:buClr>
                <a:schemeClr val="tx2"/>
              </a:buClr>
              <a:buChar char="-"/>
              <a:defRPr sz="1400">
                <a:solidFill>
                  <a:schemeClr val="tx1"/>
                </a:solidFill>
                <a:latin typeface="Arial" charset="0"/>
              </a:defRPr>
            </a:lvl4pPr>
            <a:lvl5pPr marL="901700" indent="-179388" eaLnBrk="0" hangingPunct="0">
              <a:buClr>
                <a:schemeClr val="tx2"/>
              </a:buClr>
              <a:buChar char="-"/>
              <a:defRPr sz="1400">
                <a:solidFill>
                  <a:schemeClr val="tx1"/>
                </a:solidFill>
                <a:latin typeface="Arial" charset="0"/>
              </a:defRPr>
            </a:lvl5pPr>
            <a:lvl6pPr marL="1358900" indent="-179388" eaLnBrk="0" fontAlgn="base" hangingPunct="0">
              <a:spcBef>
                <a:spcPct val="50000"/>
              </a:spcBef>
              <a:spcAft>
                <a:spcPct val="0"/>
              </a:spcAft>
              <a:buClr>
                <a:schemeClr val="tx2"/>
              </a:buClr>
              <a:buChar char="-"/>
              <a:defRPr sz="1400">
                <a:solidFill>
                  <a:schemeClr val="tx1"/>
                </a:solidFill>
                <a:latin typeface="Arial" charset="0"/>
              </a:defRPr>
            </a:lvl6pPr>
            <a:lvl7pPr marL="1816100" indent="-179388" eaLnBrk="0" fontAlgn="base" hangingPunct="0">
              <a:spcBef>
                <a:spcPct val="50000"/>
              </a:spcBef>
              <a:spcAft>
                <a:spcPct val="0"/>
              </a:spcAft>
              <a:buClr>
                <a:schemeClr val="tx2"/>
              </a:buClr>
              <a:buChar char="-"/>
              <a:defRPr sz="1400">
                <a:solidFill>
                  <a:schemeClr val="tx1"/>
                </a:solidFill>
                <a:latin typeface="Arial" charset="0"/>
              </a:defRPr>
            </a:lvl7pPr>
            <a:lvl8pPr marL="2273300" indent="-179388" eaLnBrk="0" fontAlgn="base" hangingPunct="0">
              <a:spcBef>
                <a:spcPct val="50000"/>
              </a:spcBef>
              <a:spcAft>
                <a:spcPct val="0"/>
              </a:spcAft>
              <a:buClr>
                <a:schemeClr val="tx2"/>
              </a:buClr>
              <a:buChar char="-"/>
              <a:defRPr sz="1400">
                <a:solidFill>
                  <a:schemeClr val="tx1"/>
                </a:solidFill>
                <a:latin typeface="Arial" charset="0"/>
              </a:defRPr>
            </a:lvl8pPr>
            <a:lvl9pPr marL="2730500" indent="-179388" eaLnBrk="0" fontAlgn="base" hangingPunct="0">
              <a:spcBef>
                <a:spcPct val="50000"/>
              </a:spcBef>
              <a:spcAft>
                <a:spcPct val="0"/>
              </a:spcAft>
              <a:buClr>
                <a:schemeClr val="tx2"/>
              </a:buClr>
              <a:buChar char="-"/>
              <a:defRPr sz="1400">
                <a:solidFill>
                  <a:schemeClr val="tx1"/>
                </a:solidFill>
                <a:latin typeface="Arial" charset="0"/>
              </a:defRPr>
            </a:lvl9pPr>
          </a:lstStyle>
          <a:p>
            <a:pPr>
              <a:spcBef>
                <a:spcPct val="0"/>
              </a:spcBef>
              <a:buClrTx/>
              <a:buFontTx/>
              <a:buNone/>
              <a:defRPr/>
            </a:pPr>
            <a:r>
              <a:rPr lang="en-GB" altLang="en-US" sz="2800" dirty="0">
                <a:solidFill>
                  <a:schemeClr val="bg1"/>
                </a:solidFill>
              </a:rPr>
              <a:t>"</a:t>
            </a:r>
            <a:r>
              <a:rPr lang="en-GB" altLang="en-US" sz="2600" i="1" dirty="0">
                <a:solidFill>
                  <a:schemeClr val="bg1"/>
                </a:solidFill>
                <a:latin typeface="Arial"/>
              </a:rPr>
              <a:t>Byłbym włóczęgą na ulicy z blaszanym kubkiem, </a:t>
            </a:r>
            <a:r>
              <a:rPr lang="en-GB" altLang="en-US" sz="2600" i="1" dirty="0" err="1">
                <a:solidFill>
                  <a:schemeClr val="bg1"/>
                </a:solidFill>
                <a:latin typeface="Arial"/>
              </a:rPr>
              <a:t>gdyby</a:t>
            </a:r>
            <a:r>
              <a:rPr lang="en-GB" altLang="en-US" sz="2600" i="1" dirty="0">
                <a:solidFill>
                  <a:schemeClr val="bg1"/>
                </a:solidFill>
                <a:latin typeface="Arial"/>
              </a:rPr>
              <a:t> </a:t>
            </a:r>
            <a:r>
              <a:rPr lang="en-GB" altLang="en-US" sz="2600" i="1" dirty="0" err="1">
                <a:solidFill>
                  <a:schemeClr val="bg1"/>
                </a:solidFill>
                <a:latin typeface="Arial"/>
              </a:rPr>
              <a:t>rynki</a:t>
            </a:r>
            <a:r>
              <a:rPr lang="en-GB" altLang="en-US" sz="2600" i="1" dirty="0">
                <a:solidFill>
                  <a:schemeClr val="bg1"/>
                </a:solidFill>
                <a:latin typeface="Arial"/>
              </a:rPr>
              <a:t> były zawsze wydajne".</a:t>
            </a:r>
            <a:endParaRPr lang="en-GB" altLang="en-US" sz="2800" dirty="0">
              <a:solidFill>
                <a:schemeClr val="bg1"/>
              </a:solidFill>
            </a:endParaRPr>
          </a:p>
          <a:p>
            <a:pPr>
              <a:spcBef>
                <a:spcPct val="0"/>
              </a:spcBef>
              <a:buClrTx/>
              <a:buFontTx/>
              <a:buNone/>
              <a:defRPr/>
            </a:pPr>
            <a:endParaRPr lang="en-GB" altLang="en-US" sz="2800" dirty="0">
              <a:solidFill>
                <a:srgbClr val="FFFFFF"/>
              </a:solidFill>
            </a:endParaRPr>
          </a:p>
          <a:p>
            <a:pPr>
              <a:spcBef>
                <a:spcPct val="0"/>
              </a:spcBef>
              <a:buClrTx/>
              <a:buFontTx/>
              <a:buNone/>
              <a:defRPr/>
            </a:pPr>
            <a:endParaRPr lang="en-GB" altLang="en-US" sz="2800" dirty="0">
              <a:solidFill>
                <a:srgbClr val="FFFFFF"/>
              </a:solidFill>
            </a:endParaRPr>
          </a:p>
          <a:p>
            <a:pPr>
              <a:spcBef>
                <a:spcPct val="0"/>
              </a:spcBef>
              <a:buClrTx/>
              <a:buFontTx/>
              <a:buNone/>
              <a:defRPr/>
            </a:pPr>
            <a:r>
              <a:rPr lang="en-GB" altLang="en-US" sz="2000" i="1" dirty="0">
                <a:solidFill>
                  <a:srgbClr val="FFFFFF"/>
                </a:solidFill>
              </a:rPr>
              <a:t>Warren Buffett </a:t>
            </a:r>
            <a:endParaRPr lang="en-GB" altLang="en-US" sz="2000" dirty="0">
              <a:solidFill>
                <a:srgbClr val="FFFFFF"/>
              </a:solidFill>
            </a:endParaRPr>
          </a:p>
          <a:p>
            <a:pPr>
              <a:spcBef>
                <a:spcPct val="0"/>
              </a:spcBef>
              <a:buClrTx/>
              <a:buFontTx/>
              <a:buNone/>
              <a:defRPr/>
            </a:pPr>
            <a:endParaRPr lang="en-GB" altLang="en-US" sz="2800" dirty="0">
              <a:solidFill>
                <a:srgbClr val="FFFFFF"/>
              </a:solidFill>
            </a:endParaRPr>
          </a:p>
        </p:txBody>
      </p:sp>
      <p:sp>
        <p:nvSpPr>
          <p:cNvPr id="3" name="Text Placeholder 2">
            <a:extLst>
              <a:ext uri="{FF2B5EF4-FFF2-40B4-BE49-F238E27FC236}">
                <a16:creationId xmlns:a16="http://schemas.microsoft.com/office/drawing/2014/main" id="{ACAE61C8-728C-F199-45E0-66B41620A99D}"/>
              </a:ext>
            </a:extLst>
          </p:cNvPr>
          <p:cNvSpPr>
            <a:spLocks noGrp="1"/>
          </p:cNvSpPr>
          <p:nvPr>
            <p:ph type="body" sz="quarter" idx="10"/>
          </p:nvPr>
        </p:nvSpPr>
        <p:spPr/>
        <p:txBody>
          <a:bodyPr/>
          <a:lstStyle/>
          <a:p>
            <a:pPr eaLnBrk="1" hangingPunct="1">
              <a:buFont typeface="Wingdings" pitchFamily="2" charset="2"/>
              <a:buNone/>
            </a:pPr>
            <a:r>
              <a:rPr lang="de-DE" altLang="en-US" sz="800"/>
              <a:t>Cytowane przez Richarda L. Petersona "Inside the Investor's Brain" (str. 9). </a:t>
            </a:r>
            <a:endParaRPr lang="de-DE" altLang="en-US" sz="800" dirty="0"/>
          </a:p>
        </p:txBody>
      </p:sp>
    </p:spTree>
    <p:extLst>
      <p:ext uri="{BB962C8B-B14F-4D97-AF65-F5344CB8AC3E}">
        <p14:creationId xmlns:p14="http://schemas.microsoft.com/office/powerpoint/2010/main" val="31012451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Bild 5" descr="shutterstock_107677109 o kopf.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24350" y="1362076"/>
            <a:ext cx="3627438" cy="442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d 6" descr="affen-kopf.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75250" y="1066800"/>
            <a:ext cx="1824038" cy="182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d 7" descr="iStock_000002552286Medium kopf.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316539" y="1066800"/>
            <a:ext cx="1679575"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764338" y="5527675"/>
            <a:ext cx="4635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ild 10" descr="dreamstime_l_13158422-frei.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686550" y="4846639"/>
            <a:ext cx="788988" cy="78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255618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8" presetClass="emph" presetSubtype="0" repeatCount="2000" fill="hold" nodeType="withEffect">
                                  <p:stCondLst>
                                    <p:cond delay="0"/>
                                  </p:stCondLst>
                                  <p:childTnLst>
                                    <p:animRot by="21600000">
                                      <p:cBhvr>
                                        <p:cTn id="10" dur="500" fill="hold"/>
                                        <p:tgtEl>
                                          <p:spTgt spid="11"/>
                                        </p:tgtEl>
                                        <p:attrNameLst>
                                          <p:attrName>r</p:attrName>
                                        </p:attrNameLst>
                                      </p:cBhvr>
                                    </p:animRot>
                                  </p:childTnLst>
                                </p:cTn>
                              </p:par>
                              <p:par>
                                <p:cTn id="11" presetID="2" presetClass="entr" presetSubtype="8"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1000" fill="hold"/>
                                        <p:tgtEl>
                                          <p:spTgt spid="10"/>
                                        </p:tgtEl>
                                        <p:attrNameLst>
                                          <p:attrName>ppt_x</p:attrName>
                                        </p:attrNameLst>
                                      </p:cBhvr>
                                      <p:tavLst>
                                        <p:tav tm="0">
                                          <p:val>
                                            <p:strVal val="0-#ppt_w/2"/>
                                          </p:val>
                                        </p:tav>
                                        <p:tav tm="100000">
                                          <p:val>
                                            <p:strVal val="#ppt_x"/>
                                          </p:val>
                                        </p:tav>
                                      </p:tavLst>
                                    </p:anim>
                                    <p:anim calcmode="lin" valueType="num">
                                      <p:cBhvr additive="base">
                                        <p:cTn id="14" dur="1000" fill="hold"/>
                                        <p:tgtEl>
                                          <p:spTgt spid="10"/>
                                        </p:tgtEl>
                                        <p:attrNameLst>
                                          <p:attrName>ppt_y</p:attrName>
                                        </p:attrNameLst>
                                      </p:cBhvr>
                                      <p:tavLst>
                                        <p:tav tm="0">
                                          <p:val>
                                            <p:strVal val="#ppt_y"/>
                                          </p:val>
                                        </p:tav>
                                        <p:tav tm="100000">
                                          <p:val>
                                            <p:strVal val="#ppt_y"/>
                                          </p:val>
                                        </p:tav>
                                      </p:tavLst>
                                    </p:anim>
                                  </p:childTnLst>
                                </p:cTn>
                              </p:par>
                              <p:par>
                                <p:cTn id="15" presetID="8" presetClass="emph" presetSubtype="0" accel="32000" decel="15000" fill="hold" nodeType="withEffect">
                                  <p:stCondLst>
                                    <p:cond delay="0"/>
                                  </p:stCondLst>
                                  <p:childTnLst>
                                    <p:animRot by="-3300000">
                                      <p:cBhvr>
                                        <p:cTn id="16" dur="1500" fill="hold"/>
                                        <p:tgtEl>
                                          <p:spTgt spid="7"/>
                                        </p:tgtEl>
                                        <p:attrNameLst>
                                          <p:attrName>r</p:attrName>
                                        </p:attrNameLst>
                                      </p:cBhvr>
                                    </p:animRot>
                                  </p:childTnLst>
                                </p:cTn>
                              </p:par>
                            </p:childTnLst>
                          </p:cTn>
                        </p:par>
                        <p:par>
                          <p:cTn id="17" fill="hold" nodeType="afterGroup">
                            <p:stCondLst>
                              <p:cond delay="1500"/>
                            </p:stCondLst>
                            <p:childTnLst>
                              <p:par>
                                <p:cTn id="18" presetID="1" presetClass="exit" presetSubtype="0" fill="hold" nodeType="afterEffect">
                                  <p:stCondLst>
                                    <p:cond delay="500"/>
                                  </p:stCondLst>
                                  <p:childTnLst>
                                    <p:set>
                                      <p:cBhvr>
                                        <p:cTn id="19" dur="1" fill="hold">
                                          <p:stCondLst>
                                            <p:cond delay="0"/>
                                          </p:stCondLst>
                                        </p:cTn>
                                        <p:tgtEl>
                                          <p:spTgt spid="7"/>
                                        </p:tgtEl>
                                        <p:attrNameLst>
                                          <p:attrName>style.visibility</p:attrName>
                                        </p:attrNameLst>
                                      </p:cBhvr>
                                      <p:to>
                                        <p:strVal val="hidden"/>
                                      </p:to>
                                    </p:set>
                                  </p:childTnLst>
                                </p:cTn>
                              </p:par>
                              <p:par>
                                <p:cTn id="20" presetID="1" presetClass="entr" presetSubtype="0" fill="hold" nodeType="withEffect">
                                  <p:stCondLst>
                                    <p:cond delay="500"/>
                                  </p:stCondLst>
                                  <p:childTnLst>
                                    <p:set>
                                      <p:cBhvr>
                                        <p:cTn id="21"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Bild 5" descr="shutterstock_107677109 o kopf.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24350" y="1362076"/>
            <a:ext cx="3627438" cy="442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d 6" descr="affen-kopf.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75250" y="1066800"/>
            <a:ext cx="1824038" cy="182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764338" y="5527675"/>
            <a:ext cx="4635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ild 10" descr="dreamstime_l_13158422-frei.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686550" y="4846639"/>
            <a:ext cx="788988" cy="78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fik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429250" y="1109664"/>
            <a:ext cx="1709738" cy="170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1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284913" y="5573713"/>
            <a:ext cx="463550" cy="10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Bild 10" descr="dreamstime_l_13158422-frei.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207125" y="4892675"/>
            <a:ext cx="788988"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30742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8" presetClass="emph" presetSubtype="0" repeatCount="2000" fill="hold" nodeType="withEffect">
                                  <p:stCondLst>
                                    <p:cond delay="0"/>
                                  </p:stCondLst>
                                  <p:childTnLst>
                                    <p:animRot by="21600000">
                                      <p:cBhvr>
                                        <p:cTn id="10" dur="500" fill="hold"/>
                                        <p:tgtEl>
                                          <p:spTgt spid="11"/>
                                        </p:tgtEl>
                                        <p:attrNameLst>
                                          <p:attrName>r</p:attrName>
                                        </p:attrNameLst>
                                      </p:cBhvr>
                                    </p:animRot>
                                  </p:childTnLst>
                                </p:cTn>
                              </p:par>
                              <p:par>
                                <p:cTn id="11" presetID="2" presetClass="entr" presetSubtype="8"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1000" fill="hold"/>
                                        <p:tgtEl>
                                          <p:spTgt spid="10"/>
                                        </p:tgtEl>
                                        <p:attrNameLst>
                                          <p:attrName>ppt_x</p:attrName>
                                        </p:attrNameLst>
                                      </p:cBhvr>
                                      <p:tavLst>
                                        <p:tav tm="0">
                                          <p:val>
                                            <p:strVal val="0-#ppt_w/2"/>
                                          </p:val>
                                        </p:tav>
                                        <p:tav tm="100000">
                                          <p:val>
                                            <p:strVal val="#ppt_x"/>
                                          </p:val>
                                        </p:tav>
                                      </p:tavLst>
                                    </p:anim>
                                    <p:anim calcmode="lin" valueType="num">
                                      <p:cBhvr additive="base">
                                        <p:cTn id="14" dur="1000" fill="hold"/>
                                        <p:tgtEl>
                                          <p:spTgt spid="10"/>
                                        </p:tgtEl>
                                        <p:attrNameLst>
                                          <p:attrName>ppt_y</p:attrName>
                                        </p:attrNameLst>
                                      </p:cBhvr>
                                      <p:tavLst>
                                        <p:tav tm="0">
                                          <p:val>
                                            <p:strVal val="#ppt_y"/>
                                          </p:val>
                                        </p:tav>
                                        <p:tav tm="100000">
                                          <p:val>
                                            <p:strVal val="#ppt_y"/>
                                          </p:val>
                                        </p:tav>
                                      </p:tavLst>
                                    </p:anim>
                                  </p:childTnLst>
                                </p:cTn>
                              </p:par>
                              <p:par>
                                <p:cTn id="15" presetID="8" presetClass="emph" presetSubtype="0" accel="27333" decel="27333" fill="hold" nodeType="withEffect">
                                  <p:stCondLst>
                                    <p:cond delay="0"/>
                                  </p:stCondLst>
                                  <p:childTnLst>
                                    <p:animRot by="-3300000">
                                      <p:cBhvr>
                                        <p:cTn id="16" dur="1500" fill="hold"/>
                                        <p:tgtEl>
                                          <p:spTgt spid="7"/>
                                        </p:tgtEl>
                                        <p:attrNameLst>
                                          <p:attrName>r</p:attrName>
                                        </p:attrNameLst>
                                      </p:cBhvr>
                                    </p:animRot>
                                  </p:childTnLst>
                                </p:cTn>
                              </p:par>
                            </p:childTnLst>
                          </p:cTn>
                        </p:par>
                        <p:par>
                          <p:cTn id="17" fill="hold" nodeType="afterGroup">
                            <p:stCondLst>
                              <p:cond delay="1500"/>
                            </p:stCondLst>
                            <p:childTnLst>
                              <p:par>
                                <p:cTn id="18" presetID="2" presetClass="entr" presetSubtype="8"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additive="base">
                                        <p:cTn id="20" dur="1000" fill="hold"/>
                                        <p:tgtEl>
                                          <p:spTgt spid="13"/>
                                        </p:tgtEl>
                                        <p:attrNameLst>
                                          <p:attrName>ppt_x</p:attrName>
                                        </p:attrNameLst>
                                      </p:cBhvr>
                                      <p:tavLst>
                                        <p:tav tm="0">
                                          <p:val>
                                            <p:strVal val="0-#ppt_w/2"/>
                                          </p:val>
                                        </p:tav>
                                        <p:tav tm="100000">
                                          <p:val>
                                            <p:strVal val="#ppt_x"/>
                                          </p:val>
                                        </p:tav>
                                      </p:tavLst>
                                    </p:anim>
                                    <p:anim calcmode="lin" valueType="num">
                                      <p:cBhvr additive="base">
                                        <p:cTn id="21" dur="1000" fill="hold"/>
                                        <p:tgtEl>
                                          <p:spTgt spid="13"/>
                                        </p:tgtEl>
                                        <p:attrNameLst>
                                          <p:attrName>ppt_y</p:attrName>
                                        </p:attrNameLst>
                                      </p:cBhvr>
                                      <p:tavLst>
                                        <p:tav tm="0">
                                          <p:val>
                                            <p:strVal val="#ppt_y"/>
                                          </p:val>
                                        </p:tav>
                                        <p:tav tm="100000">
                                          <p:val>
                                            <p:strVal val="#ppt_y"/>
                                          </p:val>
                                        </p:tav>
                                      </p:tavLst>
                                    </p:anim>
                                  </p:childTnLst>
                                </p:cTn>
                              </p:par>
                              <p:par>
                                <p:cTn id="22" presetID="8" presetClass="emph" presetSubtype="0" repeatCount="2000" fill="hold" nodeType="withEffect">
                                  <p:stCondLst>
                                    <p:cond delay="0"/>
                                  </p:stCondLst>
                                  <p:childTnLst>
                                    <p:animRot by="21600000">
                                      <p:cBhvr>
                                        <p:cTn id="23" dur="400" fill="hold"/>
                                        <p:tgtEl>
                                          <p:spTgt spid="13"/>
                                        </p:tgtEl>
                                        <p:attrNameLst>
                                          <p:attrName>r</p:attrName>
                                        </p:attrNameLst>
                                      </p:cBhvr>
                                    </p:animRot>
                                  </p:childTnLst>
                                </p:cTn>
                              </p:par>
                              <p:par>
                                <p:cTn id="24" presetID="2" presetClass="entr" presetSubtype="8"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 calcmode="lin" valueType="num">
                                      <p:cBhvr additive="base">
                                        <p:cTn id="26" dur="1000" fill="hold"/>
                                        <p:tgtEl>
                                          <p:spTgt spid="12"/>
                                        </p:tgtEl>
                                        <p:attrNameLst>
                                          <p:attrName>ppt_x</p:attrName>
                                        </p:attrNameLst>
                                      </p:cBhvr>
                                      <p:tavLst>
                                        <p:tav tm="0">
                                          <p:val>
                                            <p:strVal val="0-#ppt_w/2"/>
                                          </p:val>
                                        </p:tav>
                                        <p:tav tm="100000">
                                          <p:val>
                                            <p:strVal val="#ppt_x"/>
                                          </p:val>
                                        </p:tav>
                                      </p:tavLst>
                                    </p:anim>
                                    <p:anim calcmode="lin" valueType="num">
                                      <p:cBhvr additive="base">
                                        <p:cTn id="27" dur="1000" fill="hold"/>
                                        <p:tgtEl>
                                          <p:spTgt spid="12"/>
                                        </p:tgtEl>
                                        <p:attrNameLst>
                                          <p:attrName>ppt_y</p:attrName>
                                        </p:attrNameLst>
                                      </p:cBhvr>
                                      <p:tavLst>
                                        <p:tav tm="0">
                                          <p:val>
                                            <p:strVal val="#ppt_y"/>
                                          </p:val>
                                        </p:tav>
                                        <p:tav tm="100000">
                                          <p:val>
                                            <p:strVal val="#ppt_y"/>
                                          </p:val>
                                        </p:tav>
                                      </p:tavLst>
                                    </p:anim>
                                  </p:childTnLst>
                                </p:cTn>
                              </p:par>
                              <p:par>
                                <p:cTn id="28" presetID="2" presetClass="exit" presetSubtype="2" fill="hold" nodeType="withEffect">
                                  <p:stCondLst>
                                    <p:cond delay="900"/>
                                  </p:stCondLst>
                                  <p:childTnLst>
                                    <p:anim calcmode="lin" valueType="num">
                                      <p:cBhvr additive="base">
                                        <p:cTn id="29" dur="1000"/>
                                        <p:tgtEl>
                                          <p:spTgt spid="11"/>
                                        </p:tgtEl>
                                        <p:attrNameLst>
                                          <p:attrName>ppt_x</p:attrName>
                                        </p:attrNameLst>
                                      </p:cBhvr>
                                      <p:tavLst>
                                        <p:tav tm="0">
                                          <p:val>
                                            <p:strVal val="ppt_x"/>
                                          </p:val>
                                        </p:tav>
                                        <p:tav tm="100000">
                                          <p:val>
                                            <p:strVal val="1+ppt_w/2"/>
                                          </p:val>
                                        </p:tav>
                                      </p:tavLst>
                                    </p:anim>
                                    <p:anim calcmode="lin" valueType="num">
                                      <p:cBhvr additive="base">
                                        <p:cTn id="30" dur="1000"/>
                                        <p:tgtEl>
                                          <p:spTgt spid="11"/>
                                        </p:tgtEl>
                                        <p:attrNameLst>
                                          <p:attrName>ppt_y</p:attrName>
                                        </p:attrNameLst>
                                      </p:cBhvr>
                                      <p:tavLst>
                                        <p:tav tm="0">
                                          <p:val>
                                            <p:strVal val="ppt_y"/>
                                          </p:val>
                                        </p:tav>
                                        <p:tav tm="100000">
                                          <p:val>
                                            <p:strVal val="ppt_y"/>
                                          </p:val>
                                        </p:tav>
                                      </p:tavLst>
                                    </p:anim>
                                    <p:set>
                                      <p:cBhvr>
                                        <p:cTn id="31" dur="1" fill="hold">
                                          <p:stCondLst>
                                            <p:cond delay="999"/>
                                          </p:stCondLst>
                                        </p:cTn>
                                        <p:tgtEl>
                                          <p:spTgt spid="11"/>
                                        </p:tgtEl>
                                        <p:attrNameLst>
                                          <p:attrName>style.visibility</p:attrName>
                                        </p:attrNameLst>
                                      </p:cBhvr>
                                      <p:to>
                                        <p:strVal val="hidden"/>
                                      </p:to>
                                    </p:set>
                                  </p:childTnLst>
                                </p:cTn>
                              </p:par>
                              <p:par>
                                <p:cTn id="32" presetID="8" presetClass="emph" presetSubtype="0" repeatCount="2000" fill="hold" nodeType="withEffect">
                                  <p:stCondLst>
                                    <p:cond delay="900"/>
                                  </p:stCondLst>
                                  <p:childTnLst>
                                    <p:animRot by="21600000">
                                      <p:cBhvr>
                                        <p:cTn id="33" dur="1000" fill="hold"/>
                                        <p:tgtEl>
                                          <p:spTgt spid="11"/>
                                        </p:tgtEl>
                                        <p:attrNameLst>
                                          <p:attrName>r</p:attrName>
                                        </p:attrNameLst>
                                      </p:cBhvr>
                                    </p:animRot>
                                  </p:childTnLst>
                                </p:cTn>
                              </p:par>
                              <p:par>
                                <p:cTn id="34" presetID="2" presetClass="exit" presetSubtype="2" fill="hold" nodeType="withEffect">
                                  <p:stCondLst>
                                    <p:cond delay="900"/>
                                  </p:stCondLst>
                                  <p:childTnLst>
                                    <p:anim calcmode="lin" valueType="num">
                                      <p:cBhvr additive="base">
                                        <p:cTn id="35" dur="1000"/>
                                        <p:tgtEl>
                                          <p:spTgt spid="10"/>
                                        </p:tgtEl>
                                        <p:attrNameLst>
                                          <p:attrName>ppt_x</p:attrName>
                                        </p:attrNameLst>
                                      </p:cBhvr>
                                      <p:tavLst>
                                        <p:tav tm="0">
                                          <p:val>
                                            <p:strVal val="ppt_x"/>
                                          </p:val>
                                        </p:tav>
                                        <p:tav tm="100000">
                                          <p:val>
                                            <p:strVal val="1+ppt_w/2"/>
                                          </p:val>
                                        </p:tav>
                                      </p:tavLst>
                                    </p:anim>
                                    <p:anim calcmode="lin" valueType="num">
                                      <p:cBhvr additive="base">
                                        <p:cTn id="36" dur="1000"/>
                                        <p:tgtEl>
                                          <p:spTgt spid="10"/>
                                        </p:tgtEl>
                                        <p:attrNameLst>
                                          <p:attrName>ppt_y</p:attrName>
                                        </p:attrNameLst>
                                      </p:cBhvr>
                                      <p:tavLst>
                                        <p:tav tm="0">
                                          <p:val>
                                            <p:strVal val="ppt_y"/>
                                          </p:val>
                                        </p:tav>
                                        <p:tav tm="100000">
                                          <p:val>
                                            <p:strVal val="ppt_y"/>
                                          </p:val>
                                        </p:tav>
                                      </p:tavLst>
                                    </p:anim>
                                    <p:set>
                                      <p:cBhvr>
                                        <p:cTn id="37" dur="1" fill="hold">
                                          <p:stCondLst>
                                            <p:cond delay="999"/>
                                          </p:stCondLst>
                                        </p:cTn>
                                        <p:tgtEl>
                                          <p:spTgt spid="10"/>
                                        </p:tgtEl>
                                        <p:attrNameLst>
                                          <p:attrName>style.visibility</p:attrName>
                                        </p:attrNameLst>
                                      </p:cBhvr>
                                      <p:to>
                                        <p:strVal val="hidden"/>
                                      </p:to>
                                    </p:set>
                                  </p:childTnLst>
                                </p:cTn>
                              </p:par>
                              <p:par>
                                <p:cTn id="38" presetID="1" presetClass="exit" presetSubtype="0" fill="hold" nodeType="withEffect">
                                  <p:stCondLst>
                                    <p:cond delay="1000"/>
                                  </p:stCondLst>
                                  <p:childTnLst>
                                    <p:set>
                                      <p:cBhvr>
                                        <p:cTn id="39" dur="1" fill="hold">
                                          <p:stCondLst>
                                            <p:cond delay="0"/>
                                          </p:stCondLst>
                                        </p:cTn>
                                        <p:tgtEl>
                                          <p:spTgt spid="7"/>
                                        </p:tgtEl>
                                        <p:attrNameLst>
                                          <p:attrName>style.visibility</p:attrName>
                                        </p:attrNameLst>
                                      </p:cBhvr>
                                      <p:to>
                                        <p:strVal val="hidden"/>
                                      </p:to>
                                    </p:set>
                                  </p:childTnLst>
                                </p:cTn>
                              </p:par>
                              <p:par>
                                <p:cTn id="40" presetID="1" presetClass="entr" presetSubtype="0" fill="hold" nodeType="withEffect">
                                  <p:stCondLst>
                                    <p:cond delay="1000"/>
                                  </p:stCondLst>
                                  <p:childTnLst>
                                    <p:set>
                                      <p:cBhvr>
                                        <p:cTn id="41"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gleich 5"/>
          <p:cNvSpPr/>
          <p:nvPr/>
        </p:nvSpPr>
        <p:spPr>
          <a:xfrm>
            <a:off x="4254500" y="3297238"/>
            <a:ext cx="1035050" cy="704850"/>
          </a:xfrm>
          <a:prstGeom prst="mathNotEqual">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solidFill>
                <a:schemeClr val="tx1"/>
              </a:solidFill>
            </a:endParaRPr>
          </a:p>
        </p:txBody>
      </p:sp>
      <p:sp>
        <p:nvSpPr>
          <p:cNvPr id="8" name="Minus 7"/>
          <p:cNvSpPr/>
          <p:nvPr/>
        </p:nvSpPr>
        <p:spPr>
          <a:xfrm>
            <a:off x="7151689" y="3244851"/>
            <a:ext cx="884237" cy="809625"/>
          </a:xfrm>
          <a:prstGeom prst="mathMinus">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grpSp>
        <p:nvGrpSpPr>
          <p:cNvPr id="47108" name="Gruppieren 6"/>
          <p:cNvGrpSpPr>
            <a:grpSpLocks/>
          </p:cNvGrpSpPr>
          <p:nvPr/>
        </p:nvGrpSpPr>
        <p:grpSpPr bwMode="auto">
          <a:xfrm>
            <a:off x="2649538" y="2822576"/>
            <a:ext cx="1522412" cy="1520825"/>
            <a:chOff x="5543475" y="4846140"/>
            <a:chExt cx="788789" cy="788789"/>
          </a:xfrm>
        </p:grpSpPr>
        <p:pic>
          <p:nvPicPr>
            <p:cNvPr id="47120" name="Grafik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21072" y="5528362"/>
              <a:ext cx="463258" cy="10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21" name="Bild 10" descr="dreamstime_l_13158422-frei.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43475" y="4846140"/>
              <a:ext cx="788789" cy="788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109" name="Gruppieren 10"/>
          <p:cNvGrpSpPr>
            <a:grpSpLocks/>
          </p:cNvGrpSpPr>
          <p:nvPr/>
        </p:nvGrpSpPr>
        <p:grpSpPr bwMode="auto">
          <a:xfrm>
            <a:off x="5403851" y="2484439"/>
            <a:ext cx="1522413" cy="1520825"/>
            <a:chOff x="5543475" y="4846140"/>
            <a:chExt cx="788789" cy="788789"/>
          </a:xfrm>
        </p:grpSpPr>
        <p:pic>
          <p:nvPicPr>
            <p:cNvPr id="47118" name="Grafik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21072" y="5528362"/>
              <a:ext cx="463258" cy="10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9" name="Bild 10" descr="dreamstime_l_13158422-frei.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43475" y="4846140"/>
              <a:ext cx="788789" cy="788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110" name="Gruppieren 13"/>
          <p:cNvGrpSpPr>
            <a:grpSpLocks/>
          </p:cNvGrpSpPr>
          <p:nvPr/>
        </p:nvGrpSpPr>
        <p:grpSpPr bwMode="auto">
          <a:xfrm>
            <a:off x="5686426" y="3141663"/>
            <a:ext cx="1522413" cy="1522412"/>
            <a:chOff x="5543475" y="4846140"/>
            <a:chExt cx="788789" cy="788789"/>
          </a:xfrm>
        </p:grpSpPr>
        <p:pic>
          <p:nvPicPr>
            <p:cNvPr id="47116" name="Grafik 1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21072" y="5528362"/>
              <a:ext cx="463258" cy="10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7" name="Bild 10" descr="dreamstime_l_13158422-frei.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43475" y="4846140"/>
              <a:ext cx="788789" cy="788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111" name="Gruppieren 16"/>
          <p:cNvGrpSpPr>
            <a:grpSpLocks/>
          </p:cNvGrpSpPr>
          <p:nvPr/>
        </p:nvGrpSpPr>
        <p:grpSpPr bwMode="auto">
          <a:xfrm>
            <a:off x="8016876" y="2840039"/>
            <a:ext cx="1522413" cy="1520825"/>
            <a:chOff x="5543475" y="4846140"/>
            <a:chExt cx="788789" cy="788789"/>
          </a:xfrm>
        </p:grpSpPr>
        <p:pic>
          <p:nvPicPr>
            <p:cNvPr id="47114" name="Grafik 1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21072" y="5528362"/>
              <a:ext cx="463258" cy="10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5" name="Bild 10" descr="dreamstime_l_13158422-frei.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43475" y="4846140"/>
              <a:ext cx="788789" cy="788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7113" name="Rectangle 3"/>
          <p:cNvSpPr>
            <a:spLocks noChangeArrowheads="1"/>
          </p:cNvSpPr>
          <p:nvPr/>
        </p:nvSpPr>
        <p:spPr bwMode="auto">
          <a:xfrm>
            <a:off x="1497014" y="625475"/>
            <a:ext cx="78501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spcBef>
                <a:spcPct val="0"/>
              </a:spcBef>
              <a:buClrTx/>
              <a:buFontTx/>
              <a:buNone/>
            </a:pPr>
            <a:r>
              <a:rPr lang="de-DE" altLang="en-US" sz="2200">
                <a:solidFill>
                  <a:schemeClr val="tx2"/>
                </a:solidFill>
              </a:rPr>
              <a:t>Loss aversion</a:t>
            </a:r>
          </a:p>
        </p:txBody>
      </p:sp>
    </p:spTree>
    <p:extLst>
      <p:ext uri="{BB962C8B-B14F-4D97-AF65-F5344CB8AC3E}">
        <p14:creationId xmlns:p14="http://schemas.microsoft.com/office/powerpoint/2010/main" val="2562305872"/>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2"/>
          <p:cNvSpPr>
            <a:spLocks noChangeArrowheads="1"/>
          </p:cNvSpPr>
          <p:nvPr/>
        </p:nvSpPr>
        <p:spPr bwMode="auto">
          <a:xfrm>
            <a:off x="1303375" y="1743076"/>
            <a:ext cx="9217025" cy="4473574"/>
          </a:xfrm>
          <a:prstGeom prst="rect">
            <a:avLst/>
          </a:prstGeom>
          <a:solidFill>
            <a:srgbClr val="DEDFE0"/>
          </a:solidFill>
          <a:ln>
            <a:noFill/>
          </a:ln>
          <a:effectLst/>
          <a:extLs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endParaRPr lang="en-US" altLang="en-US"/>
          </a:p>
        </p:txBody>
      </p:sp>
      <p:sp>
        <p:nvSpPr>
          <p:cNvPr id="36868" name="Rectangle 3"/>
          <p:cNvSpPr>
            <a:spLocks noGrp="1" noChangeArrowheads="1"/>
          </p:cNvSpPr>
          <p:nvPr>
            <p:ph type="title"/>
          </p:nvPr>
        </p:nvSpPr>
        <p:spPr>
          <a:xfrm>
            <a:off x="398770" y="637185"/>
            <a:ext cx="9944006" cy="791565"/>
          </a:xfrm>
        </p:spPr>
        <p:txBody>
          <a:bodyPr/>
          <a:lstStyle/>
          <a:p>
            <a:pPr eaLnBrk="1" hangingPunct="1"/>
            <a:r>
              <a:rPr lang="en-US" altLang="en-US"/>
              <a:t>Klasyfikacja typowych źródeł wzorców zachowań  </a:t>
            </a:r>
          </a:p>
        </p:txBody>
      </p:sp>
      <p:sp>
        <p:nvSpPr>
          <p:cNvPr id="3" name="Text Placeholder 2">
            <a:extLst>
              <a:ext uri="{FF2B5EF4-FFF2-40B4-BE49-F238E27FC236}">
                <a16:creationId xmlns:a16="http://schemas.microsoft.com/office/drawing/2014/main" id="{40B561B9-5039-2FAA-B26A-9D6DF40172D1}"/>
              </a:ext>
            </a:extLst>
          </p:cNvPr>
          <p:cNvSpPr>
            <a:spLocks noGrp="1"/>
          </p:cNvSpPr>
          <p:nvPr>
            <p:ph type="body" sz="quarter" idx="26"/>
          </p:nvPr>
        </p:nvSpPr>
        <p:spPr/>
        <p:txBody>
          <a:bodyPr/>
          <a:lstStyle/>
          <a:p>
            <a:pPr eaLnBrk="1" hangingPunct="1">
              <a:spcBef>
                <a:spcPct val="100000"/>
              </a:spcBef>
              <a:buClrTx/>
              <a:buFontTx/>
              <a:buNone/>
            </a:pPr>
            <a:r>
              <a:rPr lang="de-DE" altLang="en-US" sz="800"/>
              <a:t>Ilustracja: AllianzGI Capital Market Analysis, na podstawie David Hirschleifer "Investor Psychology and Asset Pricing" (2001) </a:t>
            </a:r>
            <a:endParaRPr lang="de-DE" altLang="en-US" sz="800" dirty="0"/>
          </a:p>
        </p:txBody>
      </p:sp>
      <p:pic>
        <p:nvPicPr>
          <p:cNvPr id="36870" name="Picture 5" descr="Schaubild1_eng"/>
          <p:cNvPicPr>
            <a:picLocks noChangeAspect="1" noChangeArrowheads="1"/>
          </p:cNvPicPr>
          <p:nvPr/>
        </p:nvPicPr>
        <p:blipFill>
          <a:blip r:embed="rId3">
            <a:extLst>
              <a:ext uri="{28A0092B-C50C-407E-A947-70E740481C1C}">
                <a14:useLocalDpi xmlns:a14="http://schemas.microsoft.com/office/drawing/2010/main" val="0"/>
              </a:ext>
            </a:extLst>
          </a:blip>
          <a:srcRect t="9212"/>
          <a:stretch>
            <a:fillRect/>
          </a:stretch>
        </p:blipFill>
        <p:spPr bwMode="auto">
          <a:xfrm>
            <a:off x="1470419" y="1910556"/>
            <a:ext cx="8785225" cy="425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1" name="Text Box 6"/>
          <p:cNvSpPr txBox="1">
            <a:spLocks noChangeArrowheads="1"/>
          </p:cNvSpPr>
          <p:nvPr/>
        </p:nvSpPr>
        <p:spPr bwMode="auto">
          <a:xfrm>
            <a:off x="1289086" y="1428750"/>
            <a:ext cx="9232900" cy="4318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36000" rIns="72000" bIns="72000" anchor="ctr"/>
          <a:lstStyle>
            <a:lvl1pPr eaLnBrk="0" hangingPunct="0">
              <a:buClr>
                <a:schemeClr val="tx2"/>
              </a:buClr>
              <a:buFont typeface="Wingdings" pitchFamily="2" charset="2"/>
              <a:buChar char="§"/>
              <a:defRPr sz="1400">
                <a:solidFill>
                  <a:schemeClr val="tx1"/>
                </a:solidFill>
                <a:latin typeface="Arial" charset="0"/>
              </a:defRPr>
            </a:lvl1pPr>
            <a:lvl2pPr marL="742950" indent="-285750" eaLnBrk="0" hangingPunct="0">
              <a:buClr>
                <a:schemeClr val="tx2"/>
              </a:buClr>
              <a:buChar char="-"/>
              <a:defRPr sz="1400">
                <a:solidFill>
                  <a:schemeClr val="tx1"/>
                </a:solidFill>
                <a:latin typeface="Arial" charset="0"/>
              </a:defRPr>
            </a:lvl2pPr>
            <a:lvl3pPr marL="1143000" indent="-228600" eaLnBrk="0" hangingPunct="0">
              <a:buClr>
                <a:schemeClr val="tx2"/>
              </a:buClr>
              <a:buChar char="-"/>
              <a:defRPr sz="1400">
                <a:solidFill>
                  <a:schemeClr val="tx1"/>
                </a:solidFill>
                <a:latin typeface="Arial" charset="0"/>
              </a:defRPr>
            </a:lvl3pPr>
            <a:lvl4pPr marL="1600200" indent="-228600" eaLnBrk="0" hangingPunct="0">
              <a:buClr>
                <a:schemeClr val="tx2"/>
              </a:buClr>
              <a:buChar char="-"/>
              <a:defRPr sz="1400">
                <a:solidFill>
                  <a:schemeClr val="tx1"/>
                </a:solidFill>
                <a:latin typeface="Arial" charset="0"/>
              </a:defRPr>
            </a:lvl4pPr>
            <a:lvl5pPr marL="2057400" indent="-228600" eaLnBrk="0" hangingPunct="0">
              <a:buClr>
                <a:schemeClr val="tx2"/>
              </a:buClr>
              <a:buChar char="-"/>
              <a:defRPr sz="1400">
                <a:solidFill>
                  <a:schemeClr val="tx1"/>
                </a:solidFill>
                <a:latin typeface="Arial" charset="0"/>
              </a:defRPr>
            </a:lvl5pPr>
            <a:lvl6pPr marL="2514600" indent="-228600" eaLnBrk="0" fontAlgn="base" hangingPunct="0">
              <a:spcBef>
                <a:spcPct val="50000"/>
              </a:spcBef>
              <a:spcAft>
                <a:spcPct val="0"/>
              </a:spcAft>
              <a:buClr>
                <a:schemeClr val="tx2"/>
              </a:buClr>
              <a:buChar char="-"/>
              <a:defRPr sz="1400">
                <a:solidFill>
                  <a:schemeClr val="tx1"/>
                </a:solidFill>
                <a:latin typeface="Arial" charset="0"/>
              </a:defRPr>
            </a:lvl6pPr>
            <a:lvl7pPr marL="2971800" indent="-228600" eaLnBrk="0" fontAlgn="base" hangingPunct="0">
              <a:spcBef>
                <a:spcPct val="50000"/>
              </a:spcBef>
              <a:spcAft>
                <a:spcPct val="0"/>
              </a:spcAft>
              <a:buClr>
                <a:schemeClr val="tx2"/>
              </a:buClr>
              <a:buChar char="-"/>
              <a:defRPr sz="1400">
                <a:solidFill>
                  <a:schemeClr val="tx1"/>
                </a:solidFill>
                <a:latin typeface="Arial" charset="0"/>
              </a:defRPr>
            </a:lvl7pPr>
            <a:lvl8pPr marL="3429000" indent="-228600" eaLnBrk="0" fontAlgn="base" hangingPunct="0">
              <a:spcBef>
                <a:spcPct val="50000"/>
              </a:spcBef>
              <a:spcAft>
                <a:spcPct val="0"/>
              </a:spcAft>
              <a:buClr>
                <a:schemeClr val="tx2"/>
              </a:buClr>
              <a:buChar char="-"/>
              <a:defRPr sz="1400">
                <a:solidFill>
                  <a:schemeClr val="tx1"/>
                </a:solidFill>
                <a:latin typeface="Arial" charset="0"/>
              </a:defRPr>
            </a:lvl8pPr>
            <a:lvl9pPr marL="3886200" indent="-228600" eaLnBrk="0" fontAlgn="base" hangingPunct="0">
              <a:spcBef>
                <a:spcPct val="50000"/>
              </a:spcBef>
              <a:spcAft>
                <a:spcPct val="0"/>
              </a:spcAft>
              <a:buClr>
                <a:schemeClr val="tx2"/>
              </a:buClr>
              <a:buChar char="-"/>
              <a:defRPr sz="1400">
                <a:solidFill>
                  <a:schemeClr val="tx1"/>
                </a:solidFill>
                <a:latin typeface="Arial" charset="0"/>
              </a:defRPr>
            </a:lvl9pPr>
          </a:lstStyle>
          <a:p>
            <a:pPr eaLnBrk="1" hangingPunct="1">
              <a:buClrTx/>
              <a:buFontTx/>
              <a:buNone/>
            </a:pPr>
            <a:r>
              <a:rPr lang="en-US" altLang="en-US" b="1">
                <a:solidFill>
                  <a:schemeClr val="bg1"/>
                </a:solidFill>
              </a:rPr>
              <a:t>Ludzie są skłonni trzymać się uprzedzeń, które nie są racjonalne.</a:t>
            </a:r>
          </a:p>
        </p:txBody>
      </p:sp>
      <p:sp>
        <p:nvSpPr>
          <p:cNvPr id="2" name="Oval 1">
            <a:extLst>
              <a:ext uri="{FF2B5EF4-FFF2-40B4-BE49-F238E27FC236}">
                <a16:creationId xmlns:a16="http://schemas.microsoft.com/office/drawing/2014/main" id="{0FD16D1D-29F3-452D-71D7-23BB928C8119}"/>
              </a:ext>
            </a:extLst>
          </p:cNvPr>
          <p:cNvSpPr/>
          <p:nvPr/>
        </p:nvSpPr>
        <p:spPr bwMode="auto">
          <a:xfrm>
            <a:off x="1525626" y="3431733"/>
            <a:ext cx="2136942" cy="776748"/>
          </a:xfrm>
          <a:prstGeom prst="ellipse">
            <a:avLst/>
          </a:prstGeom>
          <a:noFill/>
          <a:ln w="1905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a:spcBef>
                <a:spcPts val="360"/>
              </a:spcBef>
              <a:spcAft>
                <a:spcPts val="360"/>
              </a:spcAft>
              <a:tabLst/>
            </a:pPr>
            <a:endParaRPr lang="de-DE" dirty="0" err="1">
              <a:solidFill>
                <a:schemeClr val="bg1"/>
              </a:solidFill>
              <a:latin typeface="Arial" charset="0"/>
            </a:endParaRPr>
          </a:p>
        </p:txBody>
      </p:sp>
      <p:sp>
        <p:nvSpPr>
          <p:cNvPr id="4" name="Oval 3">
            <a:extLst>
              <a:ext uri="{FF2B5EF4-FFF2-40B4-BE49-F238E27FC236}">
                <a16:creationId xmlns:a16="http://schemas.microsoft.com/office/drawing/2014/main" id="{7DC74479-0430-C59A-86E7-A46B304BBDDD}"/>
              </a:ext>
            </a:extLst>
          </p:cNvPr>
          <p:cNvSpPr/>
          <p:nvPr/>
        </p:nvSpPr>
        <p:spPr bwMode="auto">
          <a:xfrm>
            <a:off x="3726090" y="3434275"/>
            <a:ext cx="2136942" cy="679580"/>
          </a:xfrm>
          <a:prstGeom prst="ellipse">
            <a:avLst/>
          </a:prstGeom>
          <a:noFill/>
          <a:ln w="1905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a:spcBef>
                <a:spcPts val="360"/>
              </a:spcBef>
              <a:spcAft>
                <a:spcPts val="360"/>
              </a:spcAft>
              <a:tabLst/>
            </a:pPr>
            <a:endParaRPr lang="de-DE" dirty="0" err="1">
              <a:solidFill>
                <a:schemeClr val="bg1"/>
              </a:solidFill>
              <a:latin typeface="Arial" charset="0"/>
            </a:endParaRPr>
          </a:p>
        </p:txBody>
      </p:sp>
      <p:sp>
        <p:nvSpPr>
          <p:cNvPr id="5" name="Oval 4">
            <a:extLst>
              <a:ext uri="{FF2B5EF4-FFF2-40B4-BE49-F238E27FC236}">
                <a16:creationId xmlns:a16="http://schemas.microsoft.com/office/drawing/2014/main" id="{9807EC08-D4EF-F782-1426-B07DE970B7C2}"/>
              </a:ext>
            </a:extLst>
          </p:cNvPr>
          <p:cNvSpPr/>
          <p:nvPr/>
        </p:nvSpPr>
        <p:spPr bwMode="auto">
          <a:xfrm>
            <a:off x="3699879" y="4071631"/>
            <a:ext cx="2136942" cy="632347"/>
          </a:xfrm>
          <a:prstGeom prst="ellipse">
            <a:avLst/>
          </a:prstGeom>
          <a:noFill/>
          <a:ln w="1905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a:spcBef>
                <a:spcPts val="360"/>
              </a:spcBef>
              <a:spcAft>
                <a:spcPts val="360"/>
              </a:spcAft>
              <a:tabLst/>
            </a:pPr>
            <a:endParaRPr lang="de-DE" dirty="0" err="1">
              <a:solidFill>
                <a:schemeClr val="bg1"/>
              </a:solidFill>
              <a:latin typeface="Arial" charset="0"/>
            </a:endParaRPr>
          </a:p>
        </p:txBody>
      </p:sp>
      <p:sp>
        <p:nvSpPr>
          <p:cNvPr id="6" name="Oval 5">
            <a:extLst>
              <a:ext uri="{FF2B5EF4-FFF2-40B4-BE49-F238E27FC236}">
                <a16:creationId xmlns:a16="http://schemas.microsoft.com/office/drawing/2014/main" id="{08E6A83F-822A-1FB5-A9EB-6578B4EE9556}"/>
              </a:ext>
            </a:extLst>
          </p:cNvPr>
          <p:cNvSpPr/>
          <p:nvPr/>
        </p:nvSpPr>
        <p:spPr bwMode="auto">
          <a:xfrm>
            <a:off x="1511337" y="2747311"/>
            <a:ext cx="2136942" cy="776748"/>
          </a:xfrm>
          <a:prstGeom prst="ellipse">
            <a:avLst/>
          </a:prstGeom>
          <a:noFill/>
          <a:ln w="1905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a:spcBef>
                <a:spcPts val="360"/>
              </a:spcBef>
              <a:spcAft>
                <a:spcPts val="360"/>
              </a:spcAft>
              <a:tabLst/>
            </a:pPr>
            <a:endParaRPr lang="de-DE" dirty="0" err="1">
              <a:solidFill>
                <a:schemeClr val="bg1"/>
              </a:solidFill>
              <a:latin typeface="Arial" charset="0"/>
            </a:endParaRPr>
          </a:p>
        </p:txBody>
      </p:sp>
      <p:sp>
        <p:nvSpPr>
          <p:cNvPr id="7" name="Oval 6">
            <a:extLst>
              <a:ext uri="{FF2B5EF4-FFF2-40B4-BE49-F238E27FC236}">
                <a16:creationId xmlns:a16="http://schemas.microsoft.com/office/drawing/2014/main" id="{C026AFEF-845D-7E10-CA4C-6F641C2A6F39}"/>
              </a:ext>
            </a:extLst>
          </p:cNvPr>
          <p:cNvSpPr/>
          <p:nvPr/>
        </p:nvSpPr>
        <p:spPr bwMode="auto">
          <a:xfrm>
            <a:off x="8034957" y="4023410"/>
            <a:ext cx="2136942" cy="776748"/>
          </a:xfrm>
          <a:prstGeom prst="ellipse">
            <a:avLst/>
          </a:prstGeom>
          <a:noFill/>
          <a:ln w="1905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a:spcBef>
                <a:spcPts val="360"/>
              </a:spcBef>
              <a:spcAft>
                <a:spcPts val="360"/>
              </a:spcAft>
              <a:tabLst/>
            </a:pPr>
            <a:endParaRPr lang="de-DE" dirty="0" err="1">
              <a:solidFill>
                <a:schemeClr val="bg1"/>
              </a:solidFill>
              <a:latin typeface="Arial" charset="0"/>
            </a:endParaRPr>
          </a:p>
        </p:txBody>
      </p:sp>
      <p:sp>
        <p:nvSpPr>
          <p:cNvPr id="8" name="Oval 7">
            <a:extLst>
              <a:ext uri="{FF2B5EF4-FFF2-40B4-BE49-F238E27FC236}">
                <a16:creationId xmlns:a16="http://schemas.microsoft.com/office/drawing/2014/main" id="{CF2576E2-B7B7-0091-D783-CCFB7863B53A}"/>
              </a:ext>
            </a:extLst>
          </p:cNvPr>
          <p:cNvSpPr/>
          <p:nvPr/>
        </p:nvSpPr>
        <p:spPr bwMode="auto">
          <a:xfrm>
            <a:off x="3687588" y="5563401"/>
            <a:ext cx="2136942" cy="527189"/>
          </a:xfrm>
          <a:prstGeom prst="ellipse">
            <a:avLst/>
          </a:prstGeom>
          <a:noFill/>
          <a:ln w="1905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a:spcBef>
                <a:spcPts val="360"/>
              </a:spcBef>
              <a:spcAft>
                <a:spcPts val="360"/>
              </a:spcAft>
              <a:tabLst/>
            </a:pPr>
            <a:endParaRPr lang="de-DE" dirty="0" err="1">
              <a:solidFill>
                <a:schemeClr val="bg1"/>
              </a:solidFill>
              <a:latin typeface="Arial" charset="0"/>
            </a:endParaRPr>
          </a:p>
        </p:txBody>
      </p:sp>
      <p:sp>
        <p:nvSpPr>
          <p:cNvPr id="9" name="Oval 8">
            <a:extLst>
              <a:ext uri="{FF2B5EF4-FFF2-40B4-BE49-F238E27FC236}">
                <a16:creationId xmlns:a16="http://schemas.microsoft.com/office/drawing/2014/main" id="{D7C43C81-2794-8B01-008C-0047AC2100FF}"/>
              </a:ext>
            </a:extLst>
          </p:cNvPr>
          <p:cNvSpPr/>
          <p:nvPr/>
        </p:nvSpPr>
        <p:spPr bwMode="auto">
          <a:xfrm>
            <a:off x="5818748" y="4027319"/>
            <a:ext cx="2136942" cy="776748"/>
          </a:xfrm>
          <a:prstGeom prst="ellipse">
            <a:avLst/>
          </a:prstGeom>
          <a:noFill/>
          <a:ln w="1905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a:spcBef>
                <a:spcPts val="360"/>
              </a:spcBef>
              <a:spcAft>
                <a:spcPts val="360"/>
              </a:spcAft>
              <a:tabLst/>
            </a:pPr>
            <a:endParaRPr lang="de-DE" dirty="0" err="1">
              <a:solidFill>
                <a:schemeClr val="bg1"/>
              </a:solidFill>
              <a:latin typeface="Arial" charset="0"/>
            </a:endParaRPr>
          </a:p>
        </p:txBody>
      </p:sp>
    </p:spTree>
    <p:extLst>
      <p:ext uri="{BB962C8B-B14F-4D97-AF65-F5344CB8AC3E}">
        <p14:creationId xmlns:p14="http://schemas.microsoft.com/office/powerpoint/2010/main" val="270098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7" grpId="0" animBg="1"/>
      <p:bldP spid="8"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ASYMASTER" val="DB 16_9"/>
  <p:tag name="DEFAULTLANGUAGEID" val="20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glish_16x9_master_template_AllianzGI_02-23">
  <a:themeElements>
    <a:clrScheme name="AllianzGI_02-23">
      <a:dk1>
        <a:srgbClr val="003781"/>
      </a:dk1>
      <a:lt1>
        <a:srgbClr val="FFFFFF"/>
      </a:lt1>
      <a:dk2>
        <a:srgbClr val="003781"/>
      </a:dk2>
      <a:lt2>
        <a:srgbClr val="414141"/>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7F7F7F"/>
      </a:folHlink>
    </a:clrScheme>
    <a:fontScheme name="AllianzG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cap="flat" cmpd="sng" algn="ctr">
          <a:solidFill>
            <a:schemeClr val="accent5"/>
          </a:solidFill>
          <a:prstDash val="solid"/>
          <a:round/>
          <a:headEnd type="none" w="med" len="med"/>
          <a:tailEnd type="none" w="med" len="med"/>
        </a:ln>
        <a:effectLst/>
      </a:spPr>
      <a:bodyPr lIns="72000" tIns="72000" rIns="72000" bIns="72000" rtlCol="0" anchor="t"/>
      <a:lstStyle>
        <a:defPPr algn="l">
          <a:spcBef>
            <a:spcPts val="360"/>
          </a:spcBef>
          <a:spcAft>
            <a:spcPts val="360"/>
          </a:spcAft>
          <a:defRPr sz="1200" dirty="0" err="1" smtClean="0"/>
        </a:defPPr>
      </a:lstStyle>
    </a:spDef>
    <a:lnDef>
      <a:spPr bwMode="auto">
        <a:noFill/>
        <a:ln w="19050" cap="flat" cmpd="sng" algn="ctr">
          <a:solidFill>
            <a:schemeClr val="accent5"/>
          </a:solidFill>
          <a:prstDash val="solid"/>
          <a:round/>
          <a:headEnd type="none" w="med" len="med"/>
          <a:tailEnd type="none" w="med" len="med"/>
        </a:ln>
        <a:effectLst/>
      </a:spPr>
      <a:bodyPr/>
      <a:lstStyle/>
    </a:lnDef>
    <a:txDef>
      <a:spPr>
        <a:noFill/>
      </a:spPr>
      <a:bodyPr wrap="none" lIns="0" tIns="0" rIns="0" bIns="0" rtlCol="0">
        <a:spAutoFit/>
      </a:bodyPr>
      <a:lstStyle>
        <a:defPPr algn="l">
          <a:spcBef>
            <a:spcPts val="360"/>
          </a:spcBef>
          <a:spcAft>
            <a:spcPts val="360"/>
          </a:spcAft>
          <a:buClr>
            <a:schemeClr val="tx2"/>
          </a:buClr>
          <a:tabLst/>
          <a:defRPr sz="1200" dirty="0" err="1" smtClean="0"/>
        </a:defPPr>
      </a:lstStyle>
    </a:txDef>
  </a:objectDefaults>
  <a:extraClrSchemeLst>
    <a:extraClrScheme>
      <a:clrScheme name="AllianzGI_02-2023">
        <a:dk1>
          <a:srgbClr val="003781"/>
        </a:dk1>
        <a:lt1>
          <a:srgbClr val="FFFFFF"/>
        </a:lt1>
        <a:dk2>
          <a:srgbClr val="003781"/>
        </a:dk2>
        <a:lt2>
          <a:srgbClr val="414141"/>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CFCFCF"/>
        </a:folHlink>
      </a:clrScheme>
      <a:clrMap bg1="lt1" tx1="dk1" bg2="lt2" tx2="dk2" accent1="accent1" accent2="accent2" accent3="accent3" accent4="accent4" accent5="accent5" accent6="accent6" hlink="hlink" folHlink="folHlink"/>
    </a:extraClrScheme>
  </a:extraClrSchemeLst>
  <a:custClrLst>
    <a:custClr name="Purple">
      <a:srgbClr val="A6276F"/>
    </a:custClr>
    <a:custClr name="Red">
      <a:srgbClr val="F62459"/>
    </a:custClr>
    <a:custClr name="Orange">
      <a:srgbClr val="F86200"/>
    </a:custClr>
    <a:custClr name="Yellow">
      <a:srgbClr val="FAB600"/>
    </a:custClr>
    <a:custClr name="Dark Blue 80%">
      <a:srgbClr val="415576"/>
    </a:custClr>
    <a:custClr name="Blue 1 80%">
      <a:srgbClr val="3381A8"/>
    </a:custClr>
    <a:custClr name="Blue 2 80%">
      <a:srgbClr val="3395C2"/>
    </a:custClr>
    <a:custClr name="Blue 3 80%">
      <a:srgbClr val="42B3DC"/>
    </a:custClr>
    <a:custClr name="Blue 4 80%">
      <a:srgbClr val="C4E1EB"/>
    </a:custClr>
    <a:custClr name="Bright Green">
      <a:srgbClr val="5FCD8A"/>
    </a:custClr>
    <a:custClr name="Purple 80%">
      <a:srgbClr val="B8528C"/>
    </a:custClr>
    <a:custClr name="Red 80%">
      <a:srgbClr val="F8507A"/>
    </a:custClr>
    <a:custClr name="Orange 80%">
      <a:srgbClr val="F98133"/>
    </a:custClr>
    <a:custClr name="Yellow 80%">
      <a:srgbClr val="FBC533"/>
    </a:custClr>
    <a:custClr name="Dark Blue 60%">
      <a:srgbClr val="718098"/>
    </a:custClr>
    <a:custClr name="Blue 1 60%">
      <a:srgbClr val="66A0BE"/>
    </a:custClr>
    <a:custClr name="Blue 2 60%">
      <a:srgbClr val="66AFD1"/>
    </a:custClr>
    <a:custClr name="Blue 3 60%">
      <a:srgbClr val="71C6E5"/>
    </a:custClr>
    <a:custClr name="Blue 4 60%">
      <a:srgbClr val="D3E9F0"/>
    </a:custClr>
    <a:custClr name="Bright Green 80%">
      <a:srgbClr val="7FD7A1"/>
    </a:custClr>
    <a:custClr name="Purple 60%">
      <a:srgbClr val="CA7DA9"/>
    </a:custClr>
    <a:custClr name="Red 60%">
      <a:srgbClr val="FA7C9B"/>
    </a:custClr>
    <a:custClr name="Orange 60%">
      <a:srgbClr val="FBA166"/>
    </a:custClr>
    <a:custClr name="Yellow 60%">
      <a:srgbClr val="FCD366"/>
    </a:custClr>
    <a:custClr name="Dark Blue 40%">
      <a:srgbClr val="A0AABB"/>
    </a:custClr>
    <a:custClr name="Blue 1 40%">
      <a:srgbClr val="99C0D3"/>
    </a:custClr>
    <a:custClr name="Blue 2 40%">
      <a:srgbClr val="99CAE1"/>
    </a:custClr>
    <a:custClr name="Blue 3 40%">
      <a:srgbClr val="A1D9ED"/>
    </a:custClr>
    <a:custClr name="Blue 4 40%">
      <a:srgbClr val="E1F0F5"/>
    </a:custClr>
    <a:custClr name="Bright Green 60%">
      <a:srgbClr val="9FE1B9"/>
    </a:custClr>
    <a:custClr name="Purple 40%">
      <a:srgbClr val="DBA9C5"/>
    </a:custClr>
    <a:custClr name="Red 40%">
      <a:srgbClr val="FBA7BD"/>
    </a:custClr>
    <a:custClr name="Orange 40%">
      <a:srgbClr val="FCC099"/>
    </a:custClr>
    <a:custClr name="Yellow 40%">
      <a:srgbClr val="FDE299"/>
    </a:custClr>
    <a:custClr name="Dark Blue 20%">
      <a:srgbClr val="D0D5DD"/>
    </a:custClr>
    <a:custClr name="Blue 1 20%">
      <a:srgbClr val="CCDFE9"/>
    </a:custClr>
    <a:custClr name="Blue 2 20%">
      <a:srgbClr val="CCE4F0"/>
    </a:custClr>
    <a:custClr name="Blue 3 20%">
      <a:srgbClr val="D0ECF6"/>
    </a:custClr>
    <a:custClr name="Blue 4 20%">
      <a:srgbClr val="F0F8FA"/>
    </a:custClr>
    <a:custClr name="Bright Green 40">
      <a:srgbClr val="BFEBD0"/>
    </a:custClr>
    <a:custClr name="Purple 20%">
      <a:srgbClr val="EDD4E2"/>
    </a:custClr>
    <a:custClr name="Red 20%">
      <a:srgbClr val="FDD3DE"/>
    </a:custClr>
    <a:custClr name="Orange 20%">
      <a:srgbClr val="FEE0CC"/>
    </a:custClr>
    <a:custClr name="Yellow 20%">
      <a:srgbClr val="FEF0CC"/>
    </a:custClr>
    <a:custClr name="Dark Green">
      <a:srgbClr val="00908D"/>
    </a:custClr>
    <a:custClr name="Dark Green 80%">
      <a:srgbClr val="33A6A4"/>
    </a:custClr>
    <a:custClr name="Dark Green 60%">
      <a:srgbClr val="7FC7C6"/>
    </a:custClr>
    <a:custClr name="Dark Green 40%">
      <a:srgbClr val="99D3D1"/>
    </a:custClr>
    <a:custClr name="Dark Green 20%">
      <a:srgbClr val="CCE9E8"/>
    </a:custClr>
    <a:custClr name="Bright Green 20%">
      <a:srgbClr val="DFF5E8"/>
    </a:custClr>
  </a:custClrLst>
</a:theme>
</file>

<file path=ppt/theme/theme2.xml><?xml version="1.0" encoding="utf-8"?>
<a:theme xmlns:a="http://schemas.openxmlformats.org/drawingml/2006/main" name="Larissa">
  <a:themeElements>
    <a:clrScheme name="AllianzGI_02-2023">
      <a:dk1>
        <a:srgbClr val="003781"/>
      </a:dk1>
      <a:lt1>
        <a:srgbClr val="FFFFFF"/>
      </a:lt1>
      <a:dk2>
        <a:srgbClr val="003781"/>
      </a:dk2>
      <a:lt2>
        <a:srgbClr val="414141"/>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CFCFC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llianzGI_02-2023">
        <a:dk1>
          <a:srgbClr val="003781"/>
        </a:dk1>
        <a:lt1>
          <a:srgbClr val="FFFFFF"/>
        </a:lt1>
        <a:dk2>
          <a:srgbClr val="003781"/>
        </a:dk2>
        <a:lt2>
          <a:srgbClr val="414141"/>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CFCFCF"/>
        </a:folHlink>
      </a:clrScheme>
      <a:clrMap bg1="lt1" tx1="dk1" bg2="lt2" tx2="dk2" accent1="accent1" accent2="accent2" accent3="accent3" accent4="accent4" accent5="accent5" accent6="accent6" hlink="hlink" folHlink="folHlink"/>
    </a:extraClrScheme>
  </a:extraClrSchemeLst>
  <a:custClrLst>
    <a:custClr name="Purple">
      <a:srgbClr val="A6276F"/>
    </a:custClr>
    <a:custClr name="Red">
      <a:srgbClr val="F62459"/>
    </a:custClr>
    <a:custClr name="Orange">
      <a:srgbClr val="F86200"/>
    </a:custClr>
    <a:custClr name="Yellow">
      <a:srgbClr val="FAB600"/>
    </a:custClr>
    <a:custClr name="Dark Blue 80%">
      <a:srgbClr val="415576"/>
    </a:custClr>
    <a:custClr name="Blue 1 80%">
      <a:srgbClr val="3381A8"/>
    </a:custClr>
    <a:custClr name="Blue 2 80%">
      <a:srgbClr val="3395C2"/>
    </a:custClr>
    <a:custClr name="Blue 3 80%">
      <a:srgbClr val="42B3DC"/>
    </a:custClr>
    <a:custClr name="Blue 4 80%">
      <a:srgbClr val="C4E1EB"/>
    </a:custClr>
    <a:custClr name="Bright Green">
      <a:srgbClr val="5FCD8A"/>
    </a:custClr>
    <a:custClr name="Purple 80%">
      <a:srgbClr val="B8528C"/>
    </a:custClr>
    <a:custClr name="Red 80%">
      <a:srgbClr val="F8507A"/>
    </a:custClr>
    <a:custClr name="Orange 80%">
      <a:srgbClr val="F98133"/>
    </a:custClr>
    <a:custClr name="Yellow 80%">
      <a:srgbClr val="FBC533"/>
    </a:custClr>
    <a:custClr name="Dark Blue 60%">
      <a:srgbClr val="718098"/>
    </a:custClr>
    <a:custClr name="Blue 1 60%">
      <a:srgbClr val="66A0BE"/>
    </a:custClr>
    <a:custClr name="Blue 2 60%">
      <a:srgbClr val="66AFD1"/>
    </a:custClr>
    <a:custClr name="Blue 3 60%">
      <a:srgbClr val="71C6E5"/>
    </a:custClr>
    <a:custClr name="Blue 4 60%">
      <a:srgbClr val="D3E9F0"/>
    </a:custClr>
    <a:custClr name="Bright Green 80%">
      <a:srgbClr val="7FD7A1"/>
    </a:custClr>
    <a:custClr name="Purple 60%">
      <a:srgbClr val="CA7DA9"/>
    </a:custClr>
    <a:custClr name="Red 60%">
      <a:srgbClr val="FA7C9B"/>
    </a:custClr>
    <a:custClr name="Orange 60%">
      <a:srgbClr val="FBA166"/>
    </a:custClr>
    <a:custClr name="Yellow 60%">
      <a:srgbClr val="FCD366"/>
    </a:custClr>
    <a:custClr name="Dark Blue 40%">
      <a:srgbClr val="A0AABB"/>
    </a:custClr>
    <a:custClr name="Blue 1 40%">
      <a:srgbClr val="99C0D3"/>
    </a:custClr>
    <a:custClr name="Blue 2 40%">
      <a:srgbClr val="99CAE1"/>
    </a:custClr>
    <a:custClr name="Blue 3 40%">
      <a:srgbClr val="A1D9ED"/>
    </a:custClr>
    <a:custClr name="Blue 4 40%">
      <a:srgbClr val="E1F0F5"/>
    </a:custClr>
    <a:custClr name="Bright Green 60%">
      <a:srgbClr val="9FE1B9"/>
    </a:custClr>
    <a:custClr name="Purple 40%">
      <a:srgbClr val="DBA9C5"/>
    </a:custClr>
    <a:custClr name="Red 40%">
      <a:srgbClr val="FBA7BD"/>
    </a:custClr>
    <a:custClr name="Orange 40%">
      <a:srgbClr val="FCC099"/>
    </a:custClr>
    <a:custClr name="Yellow 40%">
      <a:srgbClr val="FDE299"/>
    </a:custClr>
    <a:custClr name="Dark Blue 20%">
      <a:srgbClr val="D0D5DD"/>
    </a:custClr>
    <a:custClr name="Blue 1 20%">
      <a:srgbClr val="CCDFE9"/>
    </a:custClr>
    <a:custClr name="Blue 2 20%">
      <a:srgbClr val="CCE4F0"/>
    </a:custClr>
    <a:custClr name="Blue 3 20%">
      <a:srgbClr val="D0ECF6"/>
    </a:custClr>
    <a:custClr name="Blue 4 20%">
      <a:srgbClr val="F0F8FA"/>
    </a:custClr>
    <a:custClr name="Bright Green 40">
      <a:srgbClr val="BFEBD0"/>
    </a:custClr>
    <a:custClr name="Purple 20%">
      <a:srgbClr val="EDD4E2"/>
    </a:custClr>
    <a:custClr name="Red 20%">
      <a:srgbClr val="FDD3DE"/>
    </a:custClr>
    <a:custClr name="Orange 20%">
      <a:srgbClr val="FEE0CC"/>
    </a:custClr>
    <a:custClr name="Yellow 20%">
      <a:srgbClr val="FEF0CC"/>
    </a:custClr>
    <a:custClr name="Dark Green">
      <a:srgbClr val="00908D"/>
    </a:custClr>
    <a:custClr name="Dark Green 80%">
      <a:srgbClr val="33A6A4"/>
    </a:custClr>
    <a:custClr name="Dark Green 60%">
      <a:srgbClr val="7FC7C6"/>
    </a:custClr>
    <a:custClr name="Dark Green 40%">
      <a:srgbClr val="99D3D1"/>
    </a:custClr>
    <a:custClr name="Dark Green 20%">
      <a:srgbClr val="CCE9E8"/>
    </a:custClr>
    <a:custClr name="Bright Green 20%">
      <a:srgbClr val="DFF5E8"/>
    </a:custClr>
  </a:custClr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llianzGI_02-2023">
        <a:dk1>
          <a:srgbClr val="003781"/>
        </a:dk1>
        <a:lt1>
          <a:srgbClr val="FFFFFF"/>
        </a:lt1>
        <a:dk2>
          <a:srgbClr val="003781"/>
        </a:dk2>
        <a:lt2>
          <a:srgbClr val="414141"/>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CFCFCF"/>
        </a:folHlink>
      </a:clrScheme>
      <a:clrMap bg1="lt1" tx1="dk1" bg2="lt2" tx2="dk2" accent1="accent1" accent2="accent2" accent3="accent3" accent4="accent4" accent5="accent5" accent6="accent6" hlink="hlink" folHlink="folHlink"/>
    </a:extraClrScheme>
  </a:extraClrSchemeLst>
  <a:custClrLst>
    <a:custClr name="Purple">
      <a:srgbClr val="A6276F"/>
    </a:custClr>
    <a:custClr name="Red">
      <a:srgbClr val="F62459"/>
    </a:custClr>
    <a:custClr name="Orange">
      <a:srgbClr val="F86200"/>
    </a:custClr>
    <a:custClr name="Yellow">
      <a:srgbClr val="FAB600"/>
    </a:custClr>
    <a:custClr name="Dark Blue 80%">
      <a:srgbClr val="415576"/>
    </a:custClr>
    <a:custClr name="Blue 1 80%">
      <a:srgbClr val="3381A8"/>
    </a:custClr>
    <a:custClr name="Blue 2 80%">
      <a:srgbClr val="3395C2"/>
    </a:custClr>
    <a:custClr name="Blue 3 80%">
      <a:srgbClr val="42B3DC"/>
    </a:custClr>
    <a:custClr name="Blue 4 80%">
      <a:srgbClr val="C4E1EB"/>
    </a:custClr>
    <a:custClr name="Bright Green">
      <a:srgbClr val="5FCD8A"/>
    </a:custClr>
    <a:custClr name="Purple 80%">
      <a:srgbClr val="B8528C"/>
    </a:custClr>
    <a:custClr name="Red 80%">
      <a:srgbClr val="F8507A"/>
    </a:custClr>
    <a:custClr name="Orange 80%">
      <a:srgbClr val="F98133"/>
    </a:custClr>
    <a:custClr name="Yellow 80%">
      <a:srgbClr val="FBC533"/>
    </a:custClr>
    <a:custClr name="Dark Blue 60%">
      <a:srgbClr val="718098"/>
    </a:custClr>
    <a:custClr name="Blue 1 60%">
      <a:srgbClr val="66A0BE"/>
    </a:custClr>
    <a:custClr name="Blue 2 60%">
      <a:srgbClr val="66AFD1"/>
    </a:custClr>
    <a:custClr name="Blue 3 60%">
      <a:srgbClr val="71C6E5"/>
    </a:custClr>
    <a:custClr name="Blue 4 60%">
      <a:srgbClr val="D3E9F0"/>
    </a:custClr>
    <a:custClr name="Bright Green 80%">
      <a:srgbClr val="7FD7A1"/>
    </a:custClr>
    <a:custClr name="Purple 60%">
      <a:srgbClr val="CA7DA9"/>
    </a:custClr>
    <a:custClr name="Red 60%">
      <a:srgbClr val="FA7C9B"/>
    </a:custClr>
    <a:custClr name="Orange 60%">
      <a:srgbClr val="FBA166"/>
    </a:custClr>
    <a:custClr name="Yellow 60%">
      <a:srgbClr val="FCD366"/>
    </a:custClr>
    <a:custClr name="Dark Blue 40%">
      <a:srgbClr val="A0AABB"/>
    </a:custClr>
    <a:custClr name="Blue 1 40%">
      <a:srgbClr val="99C0D3"/>
    </a:custClr>
    <a:custClr name="Blue 2 40%">
      <a:srgbClr val="99CAE1"/>
    </a:custClr>
    <a:custClr name="Blue 3 40%">
      <a:srgbClr val="A1D9ED"/>
    </a:custClr>
    <a:custClr name="Blue 4 40%">
      <a:srgbClr val="E1F0F5"/>
    </a:custClr>
    <a:custClr name="Bright Green 60%">
      <a:srgbClr val="9FE1B9"/>
    </a:custClr>
    <a:custClr name="Purple 40%">
      <a:srgbClr val="DBA9C5"/>
    </a:custClr>
    <a:custClr name="Red 40%">
      <a:srgbClr val="FBA7BD"/>
    </a:custClr>
    <a:custClr name="Orange 40%">
      <a:srgbClr val="FCC099"/>
    </a:custClr>
    <a:custClr name="Yellow 40%">
      <a:srgbClr val="FDE299"/>
    </a:custClr>
    <a:custClr name="Dark Blue 20%">
      <a:srgbClr val="D0D5DD"/>
    </a:custClr>
    <a:custClr name="Blue 1 20%">
      <a:srgbClr val="CCDFE9"/>
    </a:custClr>
    <a:custClr name="Blue 2 20%">
      <a:srgbClr val="CCE4F0"/>
    </a:custClr>
    <a:custClr name="Blue 3 20%">
      <a:srgbClr val="D0ECF6"/>
    </a:custClr>
    <a:custClr name="Blue 4 20%">
      <a:srgbClr val="F0F8FA"/>
    </a:custClr>
    <a:custClr name="Bright Green 40">
      <a:srgbClr val="BFEBD0"/>
    </a:custClr>
    <a:custClr name="Purple 20%">
      <a:srgbClr val="EDD4E2"/>
    </a:custClr>
    <a:custClr name="Red 20%">
      <a:srgbClr val="FDD3DE"/>
    </a:custClr>
    <a:custClr name="Orange 20%">
      <a:srgbClr val="FEE0CC"/>
    </a:custClr>
    <a:custClr name="Yellow 20%">
      <a:srgbClr val="FEF0CC"/>
    </a:custClr>
    <a:custClr name="Dark Green">
      <a:srgbClr val="00908D"/>
    </a:custClr>
    <a:custClr name="Dark Green 80%">
      <a:srgbClr val="33A6A4"/>
    </a:custClr>
    <a:custClr name="Dark Green 60%">
      <a:srgbClr val="7FC7C6"/>
    </a:custClr>
    <a:custClr name="Dark Green 40%">
      <a:srgbClr val="99D3D1"/>
    </a:custClr>
    <a:custClr name="Dark Green 20%">
      <a:srgbClr val="CCE9E8"/>
    </a:custClr>
    <a:custClr name="Bright Green 20%">
      <a:srgbClr val="DFF5E8"/>
    </a:custClr>
  </a:custClr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DEDE106E5A6B74A80DE96C57A65B785" ma:contentTypeVersion="14" ma:contentTypeDescription="Create a new document." ma:contentTypeScope="" ma:versionID="44a28a7a7cc60a9a1d59d39c3b737df7">
  <xsd:schema xmlns:xsd="http://www.w3.org/2001/XMLSchema" xmlns:xs="http://www.w3.org/2001/XMLSchema" xmlns:p="http://schemas.microsoft.com/office/2006/metadata/properties" xmlns:ns2="7a5bdbfe-5c04-428a-8f22-d6c319c964b8" xmlns:ns3="f51b23d2-893b-4266-8876-e0bd99562a2b" targetNamespace="http://schemas.microsoft.com/office/2006/metadata/properties" ma:root="true" ma:fieldsID="19f1da509873dae22ea276affa7c94d8" ns2:_="" ns3:_="">
    <xsd:import namespace="7a5bdbfe-5c04-428a-8f22-d6c319c964b8"/>
    <xsd:import namespace="f51b23d2-893b-4266-8876-e0bd99562a2b"/>
    <xsd:element name="properties">
      <xsd:complexType>
        <xsd:sequence>
          <xsd:element name="documentManagement">
            <xsd:complexType>
              <xsd:all>
                <xsd:element ref="ns3:fd4014056ecd469d948491749f9119a0" minOccurs="0"/>
                <xsd:element ref="ns3:TaxCatchAll" minOccurs="0"/>
                <xsd:element ref="ns3:k4e1c828ceaa42368f9451e53768eb72" minOccurs="0"/>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5bdbfe-5c04-428a-8f22-d6c319c964b8"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7a1eaae-7a8c-4fb9-95e5-02576394bf43"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51b23d2-893b-4266-8876-e0bd99562a2b" elementFormDefault="qualified">
    <xsd:import namespace="http://schemas.microsoft.com/office/2006/documentManagement/types"/>
    <xsd:import namespace="http://schemas.microsoft.com/office/infopath/2007/PartnerControls"/>
    <xsd:element name="fd4014056ecd469d948491749f9119a0" ma:index="9" nillable="true" ma:displayName="Legal Entity_0" ma:hidden="true" ma:internalName="fd4014056ecd469d948491749f9119a0">
      <xsd:simpleType>
        <xsd:restriction base="dms:Note"/>
      </xsd:simpleType>
    </xsd:element>
    <xsd:element name="TaxCatchAll" ma:index="10" nillable="true" ma:displayName="Taxonomy Catch All Column" ma:description="" ma:hidden="true" ma:list="{10931d24-1fcd-4583-ab57-c2405bc1af00}" ma:internalName="TaxCatchAll" ma:showField="CatchAllData" ma:web="f51b23d2-893b-4266-8876-e0bd99562a2b">
      <xsd:complexType>
        <xsd:complexContent>
          <xsd:extension base="dms:MultiChoiceLookup">
            <xsd:sequence>
              <xsd:element name="Value" type="dms:Lookup" maxOccurs="unbounded" minOccurs="0" nillable="true"/>
            </xsd:sequence>
          </xsd:extension>
        </xsd:complexContent>
      </xsd:complexType>
    </xsd:element>
    <xsd:element name="k4e1c828ceaa42368f9451e53768eb72" ma:index="12" nillable="true" ma:displayName="Organizational Unit_0" ma:hidden="true" ma:internalName="k4e1c828ceaa42368f9451e53768eb72">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f51b23d2-893b-4266-8876-e0bd99562a2b">
      <Value>2</Value>
      <Value>1</Value>
    </TaxCatchAll>
    <k4e1c828ceaa42368f9451e53768eb72 xmlns="f51b23d2-893b-4266-8876-e0bd99562a2b" xsi:nil="true"/>
    <fd4014056ecd469d948491749f9119a0 xmlns="f51b23d2-893b-4266-8876-e0bd99562a2b" xsi:nil="true"/>
    <lcf76f155ced4ddcb4097134ff3c332f xmlns="7a5bdbfe-5c04-428a-8f22-d6c319c964b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15B4505-436E-4FC8-AAA0-7D0C415B8D91}">
  <ds:schemaRefs>
    <ds:schemaRef ds:uri="http://schemas.microsoft.com/sharepoint/v3/contenttype/forms"/>
  </ds:schemaRefs>
</ds:datastoreItem>
</file>

<file path=customXml/itemProps2.xml><?xml version="1.0" encoding="utf-8"?>
<ds:datastoreItem xmlns:ds="http://schemas.openxmlformats.org/officeDocument/2006/customXml" ds:itemID="{362EE9A8-3B09-475C-AECC-693D80438B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5bdbfe-5c04-428a-8f22-d6c319c964b8"/>
    <ds:schemaRef ds:uri="f51b23d2-893b-4266-8876-e0bd99562a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ABC672A-FCF8-4F20-BC98-44693401C1C3}">
  <ds:schemaRefs>
    <ds:schemaRef ds:uri="http://schemas.microsoft.com/office/2006/metadata/properties"/>
    <ds:schemaRef ds:uri="http://schemas.microsoft.com/office/infopath/2007/PartnerControls"/>
    <ds:schemaRef ds:uri="f51b23d2-893b-4266-8876-e0bd99562a2b"/>
    <ds:schemaRef ds:uri="7a5bdbfe-5c04-428a-8f22-d6c319c964b8"/>
  </ds:schemaRefs>
</ds:datastoreItem>
</file>

<file path=docProps/app.xml><?xml version="1.0" encoding="utf-8"?>
<Properties xmlns="http://schemas.openxmlformats.org/officeDocument/2006/extended-properties" xmlns:vt="http://schemas.openxmlformats.org/officeDocument/2006/docPropsVTypes">
  <Template>English_16x9_master_template_AllianzGI_05-18</Template>
  <TotalTime>112</TotalTime>
  <Words>5289</Words>
  <Application>Microsoft Office PowerPoint</Application>
  <PresentationFormat>Panoramiczny</PresentationFormat>
  <Paragraphs>298</Paragraphs>
  <Slides>27</Slides>
  <Notes>25</Notes>
  <HiddenSlides>0</HiddenSlides>
  <MMClips>0</MMClips>
  <ScaleCrop>false</ScaleCrop>
  <HeadingPairs>
    <vt:vector size="10" baseType="variant">
      <vt:variant>
        <vt:lpstr>Używane czcionki</vt:lpstr>
      </vt:variant>
      <vt:variant>
        <vt:i4>5</vt:i4>
      </vt:variant>
      <vt:variant>
        <vt:lpstr>Motyw</vt:lpstr>
      </vt:variant>
      <vt:variant>
        <vt:i4>1</vt:i4>
      </vt:variant>
      <vt:variant>
        <vt:lpstr>Linki</vt:lpstr>
      </vt:variant>
      <vt:variant>
        <vt:i4>1</vt:i4>
      </vt:variant>
      <vt:variant>
        <vt:lpstr>Osadzone serwery OLE</vt:lpstr>
      </vt:variant>
      <vt:variant>
        <vt:i4>2</vt:i4>
      </vt:variant>
      <vt:variant>
        <vt:lpstr>Tytuły slajdów</vt:lpstr>
      </vt:variant>
      <vt:variant>
        <vt:i4>27</vt:i4>
      </vt:variant>
    </vt:vector>
  </HeadingPairs>
  <TitlesOfParts>
    <vt:vector size="36" baseType="lpstr">
      <vt:lpstr>MS PGothic</vt:lpstr>
      <vt:lpstr>Allianz Neo Condensed Bold</vt:lpstr>
      <vt:lpstr>Arial</vt:lpstr>
      <vt:lpstr>Arial Narrow</vt:lpstr>
      <vt:lpstr>Wingdings</vt:lpstr>
      <vt:lpstr>English_16x9_master_template_AllianzGI_02-23</vt:lpstr>
      <vt:lpstr>file:///\\mm_cluster\DIT_ResearchEuS\GCMTR\Präsentationen\Chartlibrary\Input\Flickenteppich\Flickenteppich_NEU.xlsm!Aktien%20EUR%20&amp;%20USD!R78C4:R89C21</vt:lpstr>
      <vt:lpstr>think-cell Slide</vt:lpstr>
      <vt:lpstr>think-cell Folie</vt:lpstr>
      <vt:lpstr>Przechytrzyć siebie</vt:lpstr>
      <vt:lpstr>Ja i mój mózg</vt:lpstr>
      <vt:lpstr>Jaźń i mózg</vt:lpstr>
      <vt:lpstr>„Częściowo człowiek, częściowo małpa“*</vt:lpstr>
      <vt:lpstr>Prezentacja programu PowerPoint</vt:lpstr>
      <vt:lpstr>Prezentacja programu PowerPoint</vt:lpstr>
      <vt:lpstr>Prezentacja programu PowerPoint</vt:lpstr>
      <vt:lpstr>Prezentacja programu PowerPoint</vt:lpstr>
      <vt:lpstr>Klasyfikacja typowych źródeł wzorców zachowań  </vt:lpstr>
      <vt:lpstr>Awersja do strat</vt:lpstr>
      <vt:lpstr>Prezentacja programu PowerPoint</vt:lpstr>
      <vt:lpstr>Szczęście - Chciwość - Euforia - Strach</vt:lpstr>
      <vt:lpstr>Zbyt duża pewność siebie: Istnieją tylko dobrzy kierowcy!</vt:lpstr>
      <vt:lpstr>Iluzja kontroli i wiedzy Przykład: "Efekt indyka"</vt:lpstr>
      <vt:lpstr>Jakie jest ryzyko związane z „maszynką do robienia pieniędzy?</vt:lpstr>
      <vt:lpstr>Efekt ramowania – „Framing”</vt:lpstr>
      <vt:lpstr>Stado? Nie podążaj za tłumem</vt:lpstr>
      <vt:lpstr>Wskaźniki nastrojów jako przeciwwskaźniki</vt:lpstr>
      <vt:lpstr>Przeciwko strachowi i chciwości: Strategia Ulissesa</vt:lpstr>
      <vt:lpstr>Nie wkładaj wszystkich jajek do jednego koszyka</vt:lpstr>
      <vt:lpstr>Nigdy nie wkładaj wszystkich jajek do jednego koszyka</vt:lpstr>
      <vt:lpstr>"Multi Asset powraca"</vt:lpstr>
      <vt:lpstr>Multi Asset: radzenie sobie z awersją do strat</vt:lpstr>
      <vt:lpstr>Multi Asset jako rozwiązanie pozwalające przechytrzyć samego siebie</vt:lpstr>
      <vt:lpstr>Prezentacja programu PowerPoint</vt:lpstr>
      <vt:lpstr>Prezentacja programu PowerPoint</vt:lpstr>
      <vt:lpstr>Nota prawn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tsmart Yourself</dc:title>
  <dc:creator>Anja</dc:creator>
  <cp:keywords>, docId:7CA836BD05E21BC71CCC6D09D0CE41CC</cp:keywords>
  <cp:lastModifiedBy>Ruczaj, Urszula (TFI Allianz Polska SA)</cp:lastModifiedBy>
  <cp:revision>334</cp:revision>
  <cp:lastPrinted>2023-02-08T14:48:56Z</cp:lastPrinted>
  <dcterms:created xsi:type="dcterms:W3CDTF">2018-04-29T19:20:30Z</dcterms:created>
  <dcterms:modified xsi:type="dcterms:W3CDTF">2024-10-16T17:4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1609b90-44b7-4a75-a6a6-3abfa61ed0eb_Enabled">
    <vt:lpwstr>true</vt:lpwstr>
  </property>
  <property fmtid="{D5CDD505-2E9C-101B-9397-08002B2CF9AE}" pid="3" name="MSIP_Label_91609b90-44b7-4a75-a6a6-3abfa61ed0eb_SetDate">
    <vt:lpwstr>2023-05-22T10:38:08Z</vt:lpwstr>
  </property>
  <property fmtid="{D5CDD505-2E9C-101B-9397-08002B2CF9AE}" pid="4" name="MSIP_Label_91609b90-44b7-4a75-a6a6-3abfa61ed0eb_Method">
    <vt:lpwstr>Privileged</vt:lpwstr>
  </property>
  <property fmtid="{D5CDD505-2E9C-101B-9397-08002B2CF9AE}" pid="5" name="MSIP_Label_91609b90-44b7-4a75-a6a6-3abfa61ed0eb_Name">
    <vt:lpwstr>91609b90-44b7-4a75-a6a6-3abfa61ed0eb</vt:lpwstr>
  </property>
  <property fmtid="{D5CDD505-2E9C-101B-9397-08002B2CF9AE}" pid="6" name="MSIP_Label_91609b90-44b7-4a75-a6a6-3abfa61ed0eb_SiteId">
    <vt:lpwstr>a1eacbd5-fb0e-46f1-81e3-4965ea8e45bb</vt:lpwstr>
  </property>
  <property fmtid="{D5CDD505-2E9C-101B-9397-08002B2CF9AE}" pid="7" name="MSIP_Label_91609b90-44b7-4a75-a6a6-3abfa61ed0eb_ActionId">
    <vt:lpwstr>18f21c63-2462-4f0a-a3a0-9b0aa90cd378</vt:lpwstr>
  </property>
  <property fmtid="{D5CDD505-2E9C-101B-9397-08002B2CF9AE}" pid="8" name="MSIP_Label_91609b90-44b7-4a75-a6a6-3abfa61ed0eb_ContentBits">
    <vt:lpwstr>0</vt:lpwstr>
  </property>
  <property fmtid="{D5CDD505-2E9C-101B-9397-08002B2CF9AE}" pid="9" name="ContentTypeId">
    <vt:lpwstr>0x010100EDEDE106E5A6B74A80DE96C57A65B785</vt:lpwstr>
  </property>
  <property fmtid="{D5CDD505-2E9C-101B-9397-08002B2CF9AE}" pid="10" name="OrganizationalUnit">
    <vt:lpwstr>2;#Global Economics and Strategy [51000778]|a0762760-434e-4f7f-957d-8ef7f0d94ada</vt:lpwstr>
  </property>
  <property fmtid="{D5CDD505-2E9C-101B-9397-08002B2CF9AE}" pid="11" name="fd4014056ecd469d948491749f9119a00">
    <vt:lpwstr>AllianzGI GmbH/Head Offic [DE0571]|6c982981-4a56-4aee-93b5-54f402e1b496</vt:lpwstr>
  </property>
  <property fmtid="{D5CDD505-2E9C-101B-9397-08002B2CF9AE}" pid="12" name="k4e1c828ceaa42368f9451e53768eb720">
    <vt:lpwstr>Global Economics and Strategy [51000778]|a0762760-434e-4f7f-957d-8ef7f0d94ada</vt:lpwstr>
  </property>
  <property fmtid="{D5CDD505-2E9C-101B-9397-08002B2CF9AE}" pid="13" name="LegalEntity">
    <vt:lpwstr>1;#AllianzGI GmbH/Head Offic [DE0571]|6c982981-4a56-4aee-93b5-54f402e1b496</vt:lpwstr>
  </property>
  <property fmtid="{D5CDD505-2E9C-101B-9397-08002B2CF9AE}" pid="14" name="_ExtendedDescription">
    <vt:lpwstr/>
  </property>
  <property fmtid="{D5CDD505-2E9C-101B-9397-08002B2CF9AE}" pid="15" name="MediaServiceImageTags">
    <vt:lpwstr/>
  </property>
  <property fmtid="{D5CDD505-2E9C-101B-9397-08002B2CF9AE}" pid="16" name="MSIP_Label_ce5f591a-3248-43e9-9b70-1ad50135772d_Enabled">
    <vt:lpwstr>true</vt:lpwstr>
  </property>
  <property fmtid="{D5CDD505-2E9C-101B-9397-08002B2CF9AE}" pid="17" name="MSIP_Label_ce5f591a-3248-43e9-9b70-1ad50135772d_SetDate">
    <vt:lpwstr>2024-10-16T14:49:37Z</vt:lpwstr>
  </property>
  <property fmtid="{D5CDD505-2E9C-101B-9397-08002B2CF9AE}" pid="18" name="MSIP_Label_ce5f591a-3248-43e9-9b70-1ad50135772d_Method">
    <vt:lpwstr>Privileged</vt:lpwstr>
  </property>
  <property fmtid="{D5CDD505-2E9C-101B-9397-08002B2CF9AE}" pid="19" name="MSIP_Label_ce5f591a-3248-43e9-9b70-1ad50135772d_Name">
    <vt:lpwstr>ce5f591a-3248-43e9-9b70-1ad50135772d</vt:lpwstr>
  </property>
  <property fmtid="{D5CDD505-2E9C-101B-9397-08002B2CF9AE}" pid="20" name="MSIP_Label_ce5f591a-3248-43e9-9b70-1ad50135772d_SiteId">
    <vt:lpwstr>6e06e42d-6925-47c6-b9e7-9581c7ca302a</vt:lpwstr>
  </property>
  <property fmtid="{D5CDD505-2E9C-101B-9397-08002B2CF9AE}" pid="21" name="MSIP_Label_ce5f591a-3248-43e9-9b70-1ad50135772d_ActionId">
    <vt:lpwstr>88d42d57-fe9e-41b4-a6ab-88514579752f</vt:lpwstr>
  </property>
  <property fmtid="{D5CDD505-2E9C-101B-9397-08002B2CF9AE}" pid="22" name="MSIP_Label_ce5f591a-3248-43e9-9b70-1ad50135772d_ContentBits">
    <vt:lpwstr>0</vt:lpwstr>
  </property>
</Properties>
</file>